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5.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19.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20.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4" r:id="rId2"/>
  </p:sldMasterIdLst>
  <p:notesMasterIdLst>
    <p:notesMasterId r:id="rId39"/>
  </p:notesMasterIdLst>
  <p:sldIdLst>
    <p:sldId id="517" r:id="rId3"/>
    <p:sldId id="518" r:id="rId4"/>
    <p:sldId id="461" r:id="rId5"/>
    <p:sldId id="472" r:id="rId6"/>
    <p:sldId id="464" r:id="rId7"/>
    <p:sldId id="463" r:id="rId8"/>
    <p:sldId id="473" r:id="rId9"/>
    <p:sldId id="499" r:id="rId10"/>
    <p:sldId id="467" r:id="rId11"/>
    <p:sldId id="465" r:id="rId12"/>
    <p:sldId id="508" r:id="rId13"/>
    <p:sldId id="509" r:id="rId14"/>
    <p:sldId id="483" r:id="rId15"/>
    <p:sldId id="485" r:id="rId16"/>
    <p:sldId id="488" r:id="rId17"/>
    <p:sldId id="489" r:id="rId18"/>
    <p:sldId id="490" r:id="rId19"/>
    <p:sldId id="491" r:id="rId20"/>
    <p:sldId id="492" r:id="rId21"/>
    <p:sldId id="493" r:id="rId22"/>
    <p:sldId id="494" r:id="rId23"/>
    <p:sldId id="495" r:id="rId24"/>
    <p:sldId id="496" r:id="rId25"/>
    <p:sldId id="497" r:id="rId26"/>
    <p:sldId id="498" r:id="rId27"/>
    <p:sldId id="500" r:id="rId28"/>
    <p:sldId id="502" r:id="rId29"/>
    <p:sldId id="504" r:id="rId30"/>
    <p:sldId id="506" r:id="rId31"/>
    <p:sldId id="510" r:id="rId32"/>
    <p:sldId id="511" r:id="rId33"/>
    <p:sldId id="512" r:id="rId34"/>
    <p:sldId id="513" r:id="rId35"/>
    <p:sldId id="514" r:id="rId36"/>
    <p:sldId id="515" r:id="rId37"/>
    <p:sldId id="516" r:id="rId38"/>
  </p:sldIdLst>
  <p:sldSz cx="12192000" cy="6858000"/>
  <p:notesSz cx="6858000" cy="9926638"/>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70AA"/>
    <a:srgbClr val="B0C7E2"/>
    <a:srgbClr val="4478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23" autoAdjust="0"/>
    <p:restoredTop sz="74362" autoAdjust="0"/>
  </p:normalViewPr>
  <p:slideViewPr>
    <p:cSldViewPr snapToGrid="0">
      <p:cViewPr varScale="1">
        <p:scale>
          <a:sx n="65" d="100"/>
          <a:sy n="65" d="100"/>
        </p:scale>
        <p:origin x="1210" y="5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111377-7A9B-4BA1-8F0D-78E61738D854}"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tr-TR"/>
        </a:p>
      </dgm:t>
    </dgm:pt>
    <dgm:pt modelId="{522CA0F4-1403-49C9-B5CA-A29B3703BDFD}">
      <dgm:prSet custT="1">
        <dgm:style>
          <a:lnRef idx="2">
            <a:schemeClr val="accent1"/>
          </a:lnRef>
          <a:fillRef idx="1">
            <a:schemeClr val="lt1"/>
          </a:fillRef>
          <a:effectRef idx="0">
            <a:schemeClr val="accent1"/>
          </a:effectRef>
          <a:fontRef idx="minor">
            <a:schemeClr val="dk1"/>
          </a:fontRef>
        </dgm:style>
      </dgm:prSet>
      <dgm:spPr/>
      <dgm:t>
        <a:bodyPr/>
        <a:lstStyle/>
        <a:p>
          <a:pPr algn="just" rtl="0"/>
          <a:r>
            <a:rPr lang="tr-TR" sz="2400" b="1" u="none" dirty="0" smtClean="0"/>
            <a:t>Teknoloji Odaklı Sanayi Hamlesi Programı kapsamında </a:t>
          </a:r>
        </a:p>
        <a:p>
          <a:pPr algn="just" rtl="0"/>
          <a:r>
            <a:rPr lang="tr-TR" sz="2400" b="1" u="none" dirty="0" smtClean="0"/>
            <a:t>Türkiye’de orta-yüksek ve yüksek teknoloji seviyeli sektörlerdeki katma değeri yüksek ürünlerin ve </a:t>
          </a:r>
        </a:p>
        <a:p>
          <a:pPr algn="just" rtl="0"/>
          <a:r>
            <a:rPr lang="tr-TR" sz="2400" b="1" u="none" dirty="0" smtClean="0"/>
            <a:t>bu sektörlerin gelişimi için kritik önemi haiz ürünlerin üretimini artırmaya yönelik</a:t>
          </a:r>
          <a:endParaRPr lang="tr-TR" sz="2000" u="none" dirty="0">
            <a:solidFill>
              <a:srgbClr val="FFC000"/>
            </a:solidFill>
          </a:endParaRPr>
        </a:p>
      </dgm:t>
    </dgm:pt>
    <dgm:pt modelId="{9511C184-4E09-49F3-99D2-FFB5EC81AC24}" type="parTrans" cxnId="{6C678CB7-32A1-47D6-8D17-2492A6C32163}">
      <dgm:prSet/>
      <dgm:spPr/>
      <dgm:t>
        <a:bodyPr/>
        <a:lstStyle/>
        <a:p>
          <a:pPr algn="just"/>
          <a:endParaRPr lang="tr-TR"/>
        </a:p>
      </dgm:t>
    </dgm:pt>
    <dgm:pt modelId="{F11F1821-4621-4B78-8349-B370D1ED35B3}" type="sibTrans" cxnId="{6C678CB7-32A1-47D6-8D17-2492A6C32163}">
      <dgm:prSet/>
      <dgm:spPr/>
      <dgm:t>
        <a:bodyPr/>
        <a:lstStyle/>
        <a:p>
          <a:pPr algn="just"/>
          <a:endParaRPr lang="tr-TR"/>
        </a:p>
      </dgm:t>
    </dgm:pt>
    <dgm:pt modelId="{74D7606F-B2C4-491B-9212-E1E8267D6188}">
      <dgm:prSet custT="1">
        <dgm:style>
          <a:lnRef idx="2">
            <a:schemeClr val="accent1"/>
          </a:lnRef>
          <a:fillRef idx="1">
            <a:schemeClr val="lt1"/>
          </a:fillRef>
          <a:effectRef idx="0">
            <a:schemeClr val="accent1"/>
          </a:effectRef>
          <a:fontRef idx="minor">
            <a:schemeClr val="dk1"/>
          </a:fontRef>
        </dgm:style>
      </dgm:prSet>
      <dgm:spPr/>
      <dgm:t>
        <a:bodyPr/>
        <a:lstStyle/>
        <a:p>
          <a:pPr algn="l" rtl="0"/>
          <a:r>
            <a:rPr lang="tr-TR" sz="2400" b="1" u="none" dirty="0" smtClean="0"/>
            <a:t>KOBİ’lere ait yatırım projelerinin desteklenmesidir.</a:t>
          </a:r>
          <a:endParaRPr lang="tr-TR" sz="2800" b="1" u="none" dirty="0"/>
        </a:p>
      </dgm:t>
    </dgm:pt>
    <dgm:pt modelId="{78739B65-8A67-4F39-8ED2-F06039C430DE}" type="parTrans" cxnId="{5987CF08-E551-423C-9209-83C841C135FA}">
      <dgm:prSet/>
      <dgm:spPr/>
      <dgm:t>
        <a:bodyPr/>
        <a:lstStyle/>
        <a:p>
          <a:pPr algn="just"/>
          <a:endParaRPr lang="tr-TR"/>
        </a:p>
      </dgm:t>
    </dgm:pt>
    <dgm:pt modelId="{BC7C975F-DDFD-442D-A2EE-238F58FD749B}" type="sibTrans" cxnId="{5987CF08-E551-423C-9209-83C841C135FA}">
      <dgm:prSet/>
      <dgm:spPr/>
      <dgm:t>
        <a:bodyPr/>
        <a:lstStyle/>
        <a:p>
          <a:pPr algn="just"/>
          <a:endParaRPr lang="tr-TR"/>
        </a:p>
      </dgm:t>
    </dgm:pt>
    <dgm:pt modelId="{42B6BF81-0840-4F2E-83AF-FF4EFB2CA4EE}" type="pres">
      <dgm:prSet presAssocID="{5C111377-7A9B-4BA1-8F0D-78E61738D854}" presName="Name0" presStyleCnt="0">
        <dgm:presLayoutVars>
          <dgm:dir/>
          <dgm:resizeHandles val="exact"/>
        </dgm:presLayoutVars>
      </dgm:prSet>
      <dgm:spPr/>
      <dgm:t>
        <a:bodyPr/>
        <a:lstStyle/>
        <a:p>
          <a:endParaRPr lang="tr-TR"/>
        </a:p>
      </dgm:t>
    </dgm:pt>
    <dgm:pt modelId="{9F918478-FCEF-4F06-8BB5-ECDC4C274354}" type="pres">
      <dgm:prSet presAssocID="{522CA0F4-1403-49C9-B5CA-A29B3703BDFD}" presName="node" presStyleLbl="node1" presStyleIdx="0" presStyleCnt="2" custScaleX="270546" custLinFactNeighborX="-1520" custLinFactNeighborY="532">
        <dgm:presLayoutVars>
          <dgm:bulletEnabled val="1"/>
        </dgm:presLayoutVars>
      </dgm:prSet>
      <dgm:spPr/>
      <dgm:t>
        <a:bodyPr/>
        <a:lstStyle/>
        <a:p>
          <a:endParaRPr lang="tr-TR"/>
        </a:p>
      </dgm:t>
    </dgm:pt>
    <dgm:pt modelId="{238E140D-9CF2-4B72-BC89-D2C9FD59427E}" type="pres">
      <dgm:prSet presAssocID="{F11F1821-4621-4B78-8349-B370D1ED35B3}" presName="sibTrans" presStyleLbl="sibTrans2D1" presStyleIdx="0" presStyleCnt="1" custScaleX="176763"/>
      <dgm:spPr/>
      <dgm:t>
        <a:bodyPr/>
        <a:lstStyle/>
        <a:p>
          <a:endParaRPr lang="tr-TR"/>
        </a:p>
      </dgm:t>
    </dgm:pt>
    <dgm:pt modelId="{7F5F4D1F-C1F0-4372-AAE8-16237DC6AAB5}" type="pres">
      <dgm:prSet presAssocID="{F11F1821-4621-4B78-8349-B370D1ED35B3}" presName="connectorText" presStyleLbl="sibTrans2D1" presStyleIdx="0" presStyleCnt="1"/>
      <dgm:spPr/>
      <dgm:t>
        <a:bodyPr/>
        <a:lstStyle/>
        <a:p>
          <a:endParaRPr lang="tr-TR"/>
        </a:p>
      </dgm:t>
    </dgm:pt>
    <dgm:pt modelId="{58771618-7CB8-4D5A-B60D-FC784BBAD5DA}" type="pres">
      <dgm:prSet presAssocID="{74D7606F-B2C4-491B-9212-E1E8267D6188}" presName="node" presStyleLbl="node1" presStyleIdx="1" presStyleCnt="2" custLinFactNeighborX="-12513" custLinFactNeighborY="59018">
        <dgm:presLayoutVars>
          <dgm:bulletEnabled val="1"/>
        </dgm:presLayoutVars>
      </dgm:prSet>
      <dgm:spPr/>
      <dgm:t>
        <a:bodyPr/>
        <a:lstStyle/>
        <a:p>
          <a:endParaRPr lang="tr-TR"/>
        </a:p>
      </dgm:t>
    </dgm:pt>
  </dgm:ptLst>
  <dgm:cxnLst>
    <dgm:cxn modelId="{6C678CB7-32A1-47D6-8D17-2492A6C32163}" srcId="{5C111377-7A9B-4BA1-8F0D-78E61738D854}" destId="{522CA0F4-1403-49C9-B5CA-A29B3703BDFD}" srcOrd="0" destOrd="0" parTransId="{9511C184-4E09-49F3-99D2-FFB5EC81AC24}" sibTransId="{F11F1821-4621-4B78-8349-B370D1ED35B3}"/>
    <dgm:cxn modelId="{31C27920-3BFC-44D6-BC5E-4889C5936198}" type="presOf" srcId="{F11F1821-4621-4B78-8349-B370D1ED35B3}" destId="{238E140D-9CF2-4B72-BC89-D2C9FD59427E}" srcOrd="0" destOrd="0" presId="urn:microsoft.com/office/officeart/2005/8/layout/process1"/>
    <dgm:cxn modelId="{B2A6F0DC-2987-4350-ADB2-A14A8ED53154}" type="presOf" srcId="{522CA0F4-1403-49C9-B5CA-A29B3703BDFD}" destId="{9F918478-FCEF-4F06-8BB5-ECDC4C274354}" srcOrd="0" destOrd="0" presId="urn:microsoft.com/office/officeart/2005/8/layout/process1"/>
    <dgm:cxn modelId="{BC70A303-8FB4-41DD-8B31-D8A562DB0CBF}" type="presOf" srcId="{5C111377-7A9B-4BA1-8F0D-78E61738D854}" destId="{42B6BF81-0840-4F2E-83AF-FF4EFB2CA4EE}" srcOrd="0" destOrd="0" presId="urn:microsoft.com/office/officeart/2005/8/layout/process1"/>
    <dgm:cxn modelId="{496E77B4-2CC6-403A-9A58-C0E6218BB6BB}" type="presOf" srcId="{F11F1821-4621-4B78-8349-B370D1ED35B3}" destId="{7F5F4D1F-C1F0-4372-AAE8-16237DC6AAB5}" srcOrd="1" destOrd="0" presId="urn:microsoft.com/office/officeart/2005/8/layout/process1"/>
    <dgm:cxn modelId="{C923A703-28A0-42C2-9B80-64D48168664A}" type="presOf" srcId="{74D7606F-B2C4-491B-9212-E1E8267D6188}" destId="{58771618-7CB8-4D5A-B60D-FC784BBAD5DA}" srcOrd="0" destOrd="0" presId="urn:microsoft.com/office/officeart/2005/8/layout/process1"/>
    <dgm:cxn modelId="{5987CF08-E551-423C-9209-83C841C135FA}" srcId="{5C111377-7A9B-4BA1-8F0D-78E61738D854}" destId="{74D7606F-B2C4-491B-9212-E1E8267D6188}" srcOrd="1" destOrd="0" parTransId="{78739B65-8A67-4F39-8ED2-F06039C430DE}" sibTransId="{BC7C975F-DDFD-442D-A2EE-238F58FD749B}"/>
    <dgm:cxn modelId="{C69902C3-0E39-4EAB-8A6D-D2F456EB9501}" type="presParOf" srcId="{42B6BF81-0840-4F2E-83AF-FF4EFB2CA4EE}" destId="{9F918478-FCEF-4F06-8BB5-ECDC4C274354}" srcOrd="0" destOrd="0" presId="urn:microsoft.com/office/officeart/2005/8/layout/process1"/>
    <dgm:cxn modelId="{82384D67-155A-4335-92D0-7C612E5780E8}" type="presParOf" srcId="{42B6BF81-0840-4F2E-83AF-FF4EFB2CA4EE}" destId="{238E140D-9CF2-4B72-BC89-D2C9FD59427E}" srcOrd="1" destOrd="0" presId="urn:microsoft.com/office/officeart/2005/8/layout/process1"/>
    <dgm:cxn modelId="{66A7B9C5-E93D-4050-B113-46BDC3387E65}" type="presParOf" srcId="{238E140D-9CF2-4B72-BC89-D2C9FD59427E}" destId="{7F5F4D1F-C1F0-4372-AAE8-16237DC6AAB5}" srcOrd="0" destOrd="0" presId="urn:microsoft.com/office/officeart/2005/8/layout/process1"/>
    <dgm:cxn modelId="{469BFDBD-E132-47E9-B2E1-98F721AA8A75}" type="presParOf" srcId="{42B6BF81-0840-4F2E-83AF-FF4EFB2CA4EE}" destId="{58771618-7CB8-4D5A-B60D-FC784BBAD5DA}"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D2B730-91FA-46CD-8DAC-7D496E9EF55B}" type="doc">
      <dgm:prSet loTypeId="urn:microsoft.com/office/officeart/2008/layout/VerticalCurvedList" loCatId="list" qsTypeId="urn:microsoft.com/office/officeart/2005/8/quickstyle/simple1" qsCatId="simple" csTypeId="urn:microsoft.com/office/officeart/2005/8/colors/accent1_1" csCatId="accent1" phldr="1"/>
      <dgm:spPr/>
      <dgm:t>
        <a:bodyPr/>
        <a:lstStyle/>
        <a:p>
          <a:endParaRPr lang="tr-TR"/>
        </a:p>
      </dgm:t>
    </dgm:pt>
    <dgm:pt modelId="{537BD2E9-1167-4AB9-A8F9-4A5B06C9FCF9}">
      <dgm:prSet phldrT="[Metin]" custT="1"/>
      <dgm:spPr/>
      <dgm:t>
        <a:bodyPr/>
        <a:lstStyle/>
        <a:p>
          <a:r>
            <a:rPr lang="tr-TR" sz="2500" dirty="0" smtClean="0"/>
            <a:t>KOSGEB Veri </a:t>
          </a:r>
          <a:r>
            <a:rPr lang="tr-TR" sz="2500" dirty="0" err="1" smtClean="0"/>
            <a:t>Tabanı’nda</a:t>
          </a:r>
          <a:r>
            <a:rPr lang="tr-TR" sz="2500" dirty="0" smtClean="0"/>
            <a:t> kayıtlı ve aktif durumda olan,</a:t>
          </a:r>
          <a:endParaRPr lang="tr-TR" sz="2500" dirty="0"/>
        </a:p>
      </dgm:t>
    </dgm:pt>
    <dgm:pt modelId="{D77DF73F-1BA6-4D52-8218-696CCDC55F9B}" type="parTrans" cxnId="{FAB6BB83-77CA-42D5-B4A2-D79FEA93B058}">
      <dgm:prSet/>
      <dgm:spPr/>
      <dgm:t>
        <a:bodyPr/>
        <a:lstStyle/>
        <a:p>
          <a:endParaRPr lang="tr-TR" sz="2500"/>
        </a:p>
      </dgm:t>
    </dgm:pt>
    <dgm:pt modelId="{F8E5182D-2624-4626-BC5E-BE9784C1BA7D}" type="sibTrans" cxnId="{FAB6BB83-77CA-42D5-B4A2-D79FEA93B058}">
      <dgm:prSet/>
      <dgm:spPr/>
      <dgm:t>
        <a:bodyPr/>
        <a:lstStyle/>
        <a:p>
          <a:endParaRPr lang="tr-TR" sz="2500"/>
        </a:p>
      </dgm:t>
    </dgm:pt>
    <dgm:pt modelId="{5A740333-ADA7-4133-9122-DEB0D8A5F486}">
      <dgm:prSet phldrT="[Metin]" custT="1"/>
      <dgm:spPr/>
      <dgm:t>
        <a:bodyPr/>
        <a:lstStyle/>
        <a:p>
          <a:r>
            <a:rPr lang="tr-TR" sz="2500" dirty="0" smtClean="0"/>
            <a:t>KOBİ Bilgi Beyannamesi güncel olan,</a:t>
          </a:r>
          <a:endParaRPr lang="tr-TR" sz="2500" dirty="0"/>
        </a:p>
      </dgm:t>
    </dgm:pt>
    <dgm:pt modelId="{0F0EFB8E-EFB9-4FEE-B8B7-18A7F7A48A39}" type="parTrans" cxnId="{7E97FCC2-D881-43CA-BACF-553F0213F5A7}">
      <dgm:prSet/>
      <dgm:spPr/>
      <dgm:t>
        <a:bodyPr/>
        <a:lstStyle/>
        <a:p>
          <a:endParaRPr lang="tr-TR" sz="2500"/>
        </a:p>
      </dgm:t>
    </dgm:pt>
    <dgm:pt modelId="{E82C740D-02B3-4C91-A422-2D8915C3974F}" type="sibTrans" cxnId="{7E97FCC2-D881-43CA-BACF-553F0213F5A7}">
      <dgm:prSet/>
      <dgm:spPr/>
      <dgm:t>
        <a:bodyPr/>
        <a:lstStyle/>
        <a:p>
          <a:endParaRPr lang="tr-TR" sz="2500"/>
        </a:p>
      </dgm:t>
    </dgm:pt>
    <dgm:pt modelId="{A0A882F6-4BEE-4F8F-9668-2DDE5B83FEC3}">
      <dgm:prSet custT="1"/>
      <dgm:spPr/>
      <dgm:t>
        <a:bodyPr/>
        <a:lstStyle/>
        <a:p>
          <a:r>
            <a:rPr lang="tr-TR" sz="2500" dirty="0" smtClean="0"/>
            <a:t>Bakanlığa ön başvuruda bulunup kesin başvuru yapmaya davet edilerek Portal üzerinden KOSGEB’e yönlendirilen, </a:t>
          </a:r>
          <a:endParaRPr lang="tr-TR" sz="2500" dirty="0"/>
        </a:p>
      </dgm:t>
    </dgm:pt>
    <dgm:pt modelId="{DDB48437-C353-4CE3-B950-4E0AE2FFBBBD}" type="parTrans" cxnId="{51D67E5C-A844-4371-B796-C26564188312}">
      <dgm:prSet/>
      <dgm:spPr/>
      <dgm:t>
        <a:bodyPr/>
        <a:lstStyle/>
        <a:p>
          <a:endParaRPr lang="tr-TR" sz="2500"/>
        </a:p>
      </dgm:t>
    </dgm:pt>
    <dgm:pt modelId="{FCDA1A1D-CDFB-45CA-B3DB-7FE102AB8422}" type="sibTrans" cxnId="{51D67E5C-A844-4371-B796-C26564188312}">
      <dgm:prSet/>
      <dgm:spPr/>
      <dgm:t>
        <a:bodyPr/>
        <a:lstStyle/>
        <a:p>
          <a:endParaRPr lang="tr-TR" sz="2500"/>
        </a:p>
      </dgm:t>
    </dgm:pt>
    <dgm:pt modelId="{C25DF7FD-0449-4B30-8B4B-B2BA3B97880F}">
      <dgm:prSet custT="1"/>
      <dgm:spPr/>
      <dgm:t>
        <a:bodyPr/>
        <a:lstStyle/>
        <a:p>
          <a:r>
            <a:rPr lang="tr-TR" sz="2500" dirty="0" smtClean="0"/>
            <a:t>Türkiye’de yerleşik sermaye şirketi statüsünde olan,</a:t>
          </a:r>
          <a:endParaRPr lang="tr-TR" sz="2500" dirty="0"/>
        </a:p>
      </dgm:t>
    </dgm:pt>
    <dgm:pt modelId="{21773798-99BA-43BE-8775-3D503E5DEBBC}" type="parTrans" cxnId="{1CE1CC20-622D-4774-B236-D3CB9FF7FD1F}">
      <dgm:prSet/>
      <dgm:spPr/>
      <dgm:t>
        <a:bodyPr/>
        <a:lstStyle/>
        <a:p>
          <a:endParaRPr lang="tr-TR" sz="2500"/>
        </a:p>
      </dgm:t>
    </dgm:pt>
    <dgm:pt modelId="{83B39314-9EF8-470F-A898-7CBC66417B0B}" type="sibTrans" cxnId="{1CE1CC20-622D-4774-B236-D3CB9FF7FD1F}">
      <dgm:prSet/>
      <dgm:spPr/>
      <dgm:t>
        <a:bodyPr/>
        <a:lstStyle/>
        <a:p>
          <a:endParaRPr lang="tr-TR" sz="2500"/>
        </a:p>
      </dgm:t>
    </dgm:pt>
    <dgm:pt modelId="{2DCFF71B-4309-493C-A229-B2BB7724E18D}" type="pres">
      <dgm:prSet presAssocID="{28D2B730-91FA-46CD-8DAC-7D496E9EF55B}" presName="Name0" presStyleCnt="0">
        <dgm:presLayoutVars>
          <dgm:chMax val="7"/>
          <dgm:chPref val="7"/>
          <dgm:dir/>
        </dgm:presLayoutVars>
      </dgm:prSet>
      <dgm:spPr/>
      <dgm:t>
        <a:bodyPr/>
        <a:lstStyle/>
        <a:p>
          <a:endParaRPr lang="tr-TR"/>
        </a:p>
      </dgm:t>
    </dgm:pt>
    <dgm:pt modelId="{74AEBF00-FD1F-481B-B1D1-7C37CA780E00}" type="pres">
      <dgm:prSet presAssocID="{28D2B730-91FA-46CD-8DAC-7D496E9EF55B}" presName="Name1" presStyleCnt="0"/>
      <dgm:spPr/>
    </dgm:pt>
    <dgm:pt modelId="{7B626749-A4BC-4C3D-9371-56B6329CD8CC}" type="pres">
      <dgm:prSet presAssocID="{28D2B730-91FA-46CD-8DAC-7D496E9EF55B}" presName="cycle" presStyleCnt="0"/>
      <dgm:spPr/>
    </dgm:pt>
    <dgm:pt modelId="{961EA65B-4EC7-434D-9C47-43FF852901F6}" type="pres">
      <dgm:prSet presAssocID="{28D2B730-91FA-46CD-8DAC-7D496E9EF55B}" presName="srcNode" presStyleLbl="node1" presStyleIdx="0" presStyleCnt="4"/>
      <dgm:spPr/>
    </dgm:pt>
    <dgm:pt modelId="{63AC3FBD-CF9E-41BD-91DB-72403EE4297E}" type="pres">
      <dgm:prSet presAssocID="{28D2B730-91FA-46CD-8DAC-7D496E9EF55B}" presName="conn" presStyleLbl="parChTrans1D2" presStyleIdx="0" presStyleCnt="1"/>
      <dgm:spPr/>
      <dgm:t>
        <a:bodyPr/>
        <a:lstStyle/>
        <a:p>
          <a:endParaRPr lang="tr-TR"/>
        </a:p>
      </dgm:t>
    </dgm:pt>
    <dgm:pt modelId="{47BEFA3E-8CF1-4C2D-9EF5-E14AAD4A7C2F}" type="pres">
      <dgm:prSet presAssocID="{28D2B730-91FA-46CD-8DAC-7D496E9EF55B}" presName="extraNode" presStyleLbl="node1" presStyleIdx="0" presStyleCnt="4"/>
      <dgm:spPr/>
    </dgm:pt>
    <dgm:pt modelId="{0783FB1C-EEC4-49E5-9F13-737E2BDAD5DD}" type="pres">
      <dgm:prSet presAssocID="{28D2B730-91FA-46CD-8DAC-7D496E9EF55B}" presName="dstNode" presStyleLbl="node1" presStyleIdx="0" presStyleCnt="4"/>
      <dgm:spPr/>
    </dgm:pt>
    <dgm:pt modelId="{85E63987-7293-41BE-87CC-35C9432AF470}" type="pres">
      <dgm:prSet presAssocID="{A0A882F6-4BEE-4F8F-9668-2DDE5B83FEC3}" presName="text_1" presStyleLbl="node1" presStyleIdx="0" presStyleCnt="4" custScaleX="99618" custScaleY="130338" custLinFactNeighborY="4224">
        <dgm:presLayoutVars>
          <dgm:bulletEnabled val="1"/>
        </dgm:presLayoutVars>
      </dgm:prSet>
      <dgm:spPr/>
      <dgm:t>
        <a:bodyPr/>
        <a:lstStyle/>
        <a:p>
          <a:endParaRPr lang="tr-TR"/>
        </a:p>
      </dgm:t>
    </dgm:pt>
    <dgm:pt modelId="{EBD19DE2-38AE-4110-979E-1D6ADFE261BA}" type="pres">
      <dgm:prSet presAssocID="{A0A882F6-4BEE-4F8F-9668-2DDE5B83FEC3}" presName="accent_1" presStyleCnt="0"/>
      <dgm:spPr/>
    </dgm:pt>
    <dgm:pt modelId="{0EA6DFC3-57A4-4A06-BD2C-ECBE8E2EEA09}" type="pres">
      <dgm:prSet presAssocID="{A0A882F6-4BEE-4F8F-9668-2DDE5B83FEC3}" presName="accentRepeatNode" presStyleLbl="solidFgAcc1" presStyleIdx="0" presStyleCnt="4" custLinFactNeighborY="3380"/>
      <dgm:spPr/>
    </dgm:pt>
    <dgm:pt modelId="{5EF6E550-7900-4637-91BA-73A86F2DA42F}" type="pres">
      <dgm:prSet presAssocID="{537BD2E9-1167-4AB9-A8F9-4A5B06C9FCF9}" presName="text_2" presStyleLbl="node1" presStyleIdx="1" presStyleCnt="4" custScaleX="100043" custLinFactNeighborY="1062">
        <dgm:presLayoutVars>
          <dgm:bulletEnabled val="1"/>
        </dgm:presLayoutVars>
      </dgm:prSet>
      <dgm:spPr/>
      <dgm:t>
        <a:bodyPr/>
        <a:lstStyle/>
        <a:p>
          <a:endParaRPr lang="tr-TR"/>
        </a:p>
      </dgm:t>
    </dgm:pt>
    <dgm:pt modelId="{5593A796-0EFB-4171-B5DD-C60131C2068D}" type="pres">
      <dgm:prSet presAssocID="{537BD2E9-1167-4AB9-A8F9-4A5B06C9FCF9}" presName="accent_2" presStyleCnt="0"/>
      <dgm:spPr/>
    </dgm:pt>
    <dgm:pt modelId="{9547A633-2BA7-4CF6-B46B-B072721D1678}" type="pres">
      <dgm:prSet presAssocID="{537BD2E9-1167-4AB9-A8F9-4A5B06C9FCF9}" presName="accentRepeatNode" presStyleLbl="solidFgAcc1" presStyleIdx="1" presStyleCnt="4" custLinFactNeighborX="-5070" custLinFactNeighborY="-8450"/>
      <dgm:spPr/>
    </dgm:pt>
    <dgm:pt modelId="{52710EEA-0E58-4E41-BE23-6DF954D5BBBF}" type="pres">
      <dgm:prSet presAssocID="{5A740333-ADA7-4133-9122-DEB0D8A5F486}" presName="text_3" presStyleLbl="node1" presStyleIdx="2" presStyleCnt="4" custLinFactNeighborY="-11075">
        <dgm:presLayoutVars>
          <dgm:bulletEnabled val="1"/>
        </dgm:presLayoutVars>
      </dgm:prSet>
      <dgm:spPr/>
      <dgm:t>
        <a:bodyPr/>
        <a:lstStyle/>
        <a:p>
          <a:endParaRPr lang="tr-TR"/>
        </a:p>
      </dgm:t>
    </dgm:pt>
    <dgm:pt modelId="{459B91CC-483B-421E-8DAA-D8226A156B84}" type="pres">
      <dgm:prSet presAssocID="{5A740333-ADA7-4133-9122-DEB0D8A5F486}" presName="accent_3" presStyleCnt="0"/>
      <dgm:spPr/>
    </dgm:pt>
    <dgm:pt modelId="{02FEF9F5-7E97-47F8-991F-3ACC38A7EF34}" type="pres">
      <dgm:prSet presAssocID="{5A740333-ADA7-4133-9122-DEB0D8A5F486}" presName="accentRepeatNode" presStyleLbl="solidFgAcc1" presStyleIdx="2" presStyleCnt="4" custLinFactNeighborY="-9712"/>
      <dgm:spPr/>
    </dgm:pt>
    <dgm:pt modelId="{83F7988E-075F-48A5-BFBD-CA34F47C0635}" type="pres">
      <dgm:prSet presAssocID="{C25DF7FD-0449-4B30-8B4B-B2BA3B97880F}" presName="text_4" presStyleLbl="node1" presStyleIdx="3" presStyleCnt="4" custLinFactNeighborY="-15850">
        <dgm:presLayoutVars>
          <dgm:bulletEnabled val="1"/>
        </dgm:presLayoutVars>
      </dgm:prSet>
      <dgm:spPr/>
      <dgm:t>
        <a:bodyPr/>
        <a:lstStyle/>
        <a:p>
          <a:endParaRPr lang="tr-TR"/>
        </a:p>
      </dgm:t>
    </dgm:pt>
    <dgm:pt modelId="{89663C8C-655A-4BA0-AF93-643CDC9C6BD5}" type="pres">
      <dgm:prSet presAssocID="{C25DF7FD-0449-4B30-8B4B-B2BA3B97880F}" presName="accent_4" presStyleCnt="0"/>
      <dgm:spPr/>
    </dgm:pt>
    <dgm:pt modelId="{8EAF64B9-3E09-4B57-BB23-BF31D37DE8D2}" type="pres">
      <dgm:prSet presAssocID="{C25DF7FD-0449-4B30-8B4B-B2BA3B97880F}" presName="accentRepeatNode" presStyleLbl="solidFgAcc1" presStyleIdx="3" presStyleCnt="4" custLinFactNeighborY="-6760"/>
      <dgm:spPr/>
    </dgm:pt>
  </dgm:ptLst>
  <dgm:cxnLst>
    <dgm:cxn modelId="{51D67E5C-A844-4371-B796-C26564188312}" srcId="{28D2B730-91FA-46CD-8DAC-7D496E9EF55B}" destId="{A0A882F6-4BEE-4F8F-9668-2DDE5B83FEC3}" srcOrd="0" destOrd="0" parTransId="{DDB48437-C353-4CE3-B950-4E0AE2FFBBBD}" sibTransId="{FCDA1A1D-CDFB-45CA-B3DB-7FE102AB8422}"/>
    <dgm:cxn modelId="{43F7DD82-D861-471C-8C57-DA464105D276}" type="presOf" srcId="{537BD2E9-1167-4AB9-A8F9-4A5B06C9FCF9}" destId="{5EF6E550-7900-4637-91BA-73A86F2DA42F}" srcOrd="0" destOrd="0" presId="urn:microsoft.com/office/officeart/2008/layout/VerticalCurvedList"/>
    <dgm:cxn modelId="{90A94F81-F38D-450E-9B7F-1EC3913C3B36}" type="presOf" srcId="{FCDA1A1D-CDFB-45CA-B3DB-7FE102AB8422}" destId="{63AC3FBD-CF9E-41BD-91DB-72403EE4297E}" srcOrd="0" destOrd="0" presId="urn:microsoft.com/office/officeart/2008/layout/VerticalCurvedList"/>
    <dgm:cxn modelId="{755DF6FC-BC41-469D-9D14-A32682B4820E}" type="presOf" srcId="{28D2B730-91FA-46CD-8DAC-7D496E9EF55B}" destId="{2DCFF71B-4309-493C-A229-B2BB7724E18D}" srcOrd="0" destOrd="0" presId="urn:microsoft.com/office/officeart/2008/layout/VerticalCurvedList"/>
    <dgm:cxn modelId="{7E97FCC2-D881-43CA-BACF-553F0213F5A7}" srcId="{28D2B730-91FA-46CD-8DAC-7D496E9EF55B}" destId="{5A740333-ADA7-4133-9122-DEB0D8A5F486}" srcOrd="2" destOrd="0" parTransId="{0F0EFB8E-EFB9-4FEE-B8B7-18A7F7A48A39}" sibTransId="{E82C740D-02B3-4C91-A422-2D8915C3974F}"/>
    <dgm:cxn modelId="{4FEAA051-0ED2-493C-8D3A-46BFF571E852}" type="presOf" srcId="{A0A882F6-4BEE-4F8F-9668-2DDE5B83FEC3}" destId="{85E63987-7293-41BE-87CC-35C9432AF470}" srcOrd="0" destOrd="0" presId="urn:microsoft.com/office/officeart/2008/layout/VerticalCurvedList"/>
    <dgm:cxn modelId="{C3E4503B-35D7-485D-B3E5-F953AEB627C0}" type="presOf" srcId="{C25DF7FD-0449-4B30-8B4B-B2BA3B97880F}" destId="{83F7988E-075F-48A5-BFBD-CA34F47C0635}" srcOrd="0" destOrd="0" presId="urn:microsoft.com/office/officeart/2008/layout/VerticalCurvedList"/>
    <dgm:cxn modelId="{C0AC3B89-35DF-4B05-93AA-D065E43B0C53}" type="presOf" srcId="{5A740333-ADA7-4133-9122-DEB0D8A5F486}" destId="{52710EEA-0E58-4E41-BE23-6DF954D5BBBF}" srcOrd="0" destOrd="0" presId="urn:microsoft.com/office/officeart/2008/layout/VerticalCurvedList"/>
    <dgm:cxn modelId="{FAB6BB83-77CA-42D5-B4A2-D79FEA93B058}" srcId="{28D2B730-91FA-46CD-8DAC-7D496E9EF55B}" destId="{537BD2E9-1167-4AB9-A8F9-4A5B06C9FCF9}" srcOrd="1" destOrd="0" parTransId="{D77DF73F-1BA6-4D52-8218-696CCDC55F9B}" sibTransId="{F8E5182D-2624-4626-BC5E-BE9784C1BA7D}"/>
    <dgm:cxn modelId="{1CE1CC20-622D-4774-B236-D3CB9FF7FD1F}" srcId="{28D2B730-91FA-46CD-8DAC-7D496E9EF55B}" destId="{C25DF7FD-0449-4B30-8B4B-B2BA3B97880F}" srcOrd="3" destOrd="0" parTransId="{21773798-99BA-43BE-8775-3D503E5DEBBC}" sibTransId="{83B39314-9EF8-470F-A898-7CBC66417B0B}"/>
    <dgm:cxn modelId="{E4F126C2-71C1-45A8-B4B8-358973D8ED02}" type="presParOf" srcId="{2DCFF71B-4309-493C-A229-B2BB7724E18D}" destId="{74AEBF00-FD1F-481B-B1D1-7C37CA780E00}" srcOrd="0" destOrd="0" presId="urn:microsoft.com/office/officeart/2008/layout/VerticalCurvedList"/>
    <dgm:cxn modelId="{8EE10983-0F0B-4746-8DB2-1C0D9ECA473D}" type="presParOf" srcId="{74AEBF00-FD1F-481B-B1D1-7C37CA780E00}" destId="{7B626749-A4BC-4C3D-9371-56B6329CD8CC}" srcOrd="0" destOrd="0" presId="urn:microsoft.com/office/officeart/2008/layout/VerticalCurvedList"/>
    <dgm:cxn modelId="{1238F867-F731-4C53-8367-894BFA3F8C45}" type="presParOf" srcId="{7B626749-A4BC-4C3D-9371-56B6329CD8CC}" destId="{961EA65B-4EC7-434D-9C47-43FF852901F6}" srcOrd="0" destOrd="0" presId="urn:microsoft.com/office/officeart/2008/layout/VerticalCurvedList"/>
    <dgm:cxn modelId="{0F6CF783-4F18-4CE2-81BF-868F268773CA}" type="presParOf" srcId="{7B626749-A4BC-4C3D-9371-56B6329CD8CC}" destId="{63AC3FBD-CF9E-41BD-91DB-72403EE4297E}" srcOrd="1" destOrd="0" presId="urn:microsoft.com/office/officeart/2008/layout/VerticalCurvedList"/>
    <dgm:cxn modelId="{8204B9ED-9CCE-4B90-A3FA-FF8EB77C11CB}" type="presParOf" srcId="{7B626749-A4BC-4C3D-9371-56B6329CD8CC}" destId="{47BEFA3E-8CF1-4C2D-9EF5-E14AAD4A7C2F}" srcOrd="2" destOrd="0" presId="urn:microsoft.com/office/officeart/2008/layout/VerticalCurvedList"/>
    <dgm:cxn modelId="{A6D0C660-B081-4BA5-A6F4-D802FEF7715F}" type="presParOf" srcId="{7B626749-A4BC-4C3D-9371-56B6329CD8CC}" destId="{0783FB1C-EEC4-49E5-9F13-737E2BDAD5DD}" srcOrd="3" destOrd="0" presId="urn:microsoft.com/office/officeart/2008/layout/VerticalCurvedList"/>
    <dgm:cxn modelId="{467CA041-374D-494C-8D9F-4BABE5AC8E5D}" type="presParOf" srcId="{74AEBF00-FD1F-481B-B1D1-7C37CA780E00}" destId="{85E63987-7293-41BE-87CC-35C9432AF470}" srcOrd="1" destOrd="0" presId="urn:microsoft.com/office/officeart/2008/layout/VerticalCurvedList"/>
    <dgm:cxn modelId="{4308D339-64CE-4B3C-8FFA-578126330C06}" type="presParOf" srcId="{74AEBF00-FD1F-481B-B1D1-7C37CA780E00}" destId="{EBD19DE2-38AE-4110-979E-1D6ADFE261BA}" srcOrd="2" destOrd="0" presId="urn:microsoft.com/office/officeart/2008/layout/VerticalCurvedList"/>
    <dgm:cxn modelId="{3A1831C9-0177-4167-BF94-8A98C49CCF13}" type="presParOf" srcId="{EBD19DE2-38AE-4110-979E-1D6ADFE261BA}" destId="{0EA6DFC3-57A4-4A06-BD2C-ECBE8E2EEA09}" srcOrd="0" destOrd="0" presId="urn:microsoft.com/office/officeart/2008/layout/VerticalCurvedList"/>
    <dgm:cxn modelId="{7ABA51CA-79DF-45F2-82F4-4CD87A5F2693}" type="presParOf" srcId="{74AEBF00-FD1F-481B-B1D1-7C37CA780E00}" destId="{5EF6E550-7900-4637-91BA-73A86F2DA42F}" srcOrd="3" destOrd="0" presId="urn:microsoft.com/office/officeart/2008/layout/VerticalCurvedList"/>
    <dgm:cxn modelId="{78FF431A-0CC8-42DF-8ECF-4DED261F7421}" type="presParOf" srcId="{74AEBF00-FD1F-481B-B1D1-7C37CA780E00}" destId="{5593A796-0EFB-4171-B5DD-C60131C2068D}" srcOrd="4" destOrd="0" presId="urn:microsoft.com/office/officeart/2008/layout/VerticalCurvedList"/>
    <dgm:cxn modelId="{9687E9E5-DB26-4461-AFF2-12FCB29711A4}" type="presParOf" srcId="{5593A796-0EFB-4171-B5DD-C60131C2068D}" destId="{9547A633-2BA7-4CF6-B46B-B072721D1678}" srcOrd="0" destOrd="0" presId="urn:microsoft.com/office/officeart/2008/layout/VerticalCurvedList"/>
    <dgm:cxn modelId="{B4A389CF-70F3-4321-BA5C-95901E004C6E}" type="presParOf" srcId="{74AEBF00-FD1F-481B-B1D1-7C37CA780E00}" destId="{52710EEA-0E58-4E41-BE23-6DF954D5BBBF}" srcOrd="5" destOrd="0" presId="urn:microsoft.com/office/officeart/2008/layout/VerticalCurvedList"/>
    <dgm:cxn modelId="{17FAEFEB-548D-495F-B818-9C75DD65E7FE}" type="presParOf" srcId="{74AEBF00-FD1F-481B-B1D1-7C37CA780E00}" destId="{459B91CC-483B-421E-8DAA-D8226A156B84}" srcOrd="6" destOrd="0" presId="urn:microsoft.com/office/officeart/2008/layout/VerticalCurvedList"/>
    <dgm:cxn modelId="{F98F482F-018C-4C54-B47D-EF2E381A21C2}" type="presParOf" srcId="{459B91CC-483B-421E-8DAA-D8226A156B84}" destId="{02FEF9F5-7E97-47F8-991F-3ACC38A7EF34}" srcOrd="0" destOrd="0" presId="urn:microsoft.com/office/officeart/2008/layout/VerticalCurvedList"/>
    <dgm:cxn modelId="{C4D89F4D-2E7C-4CDA-8AFB-1092A00DE3EC}" type="presParOf" srcId="{74AEBF00-FD1F-481B-B1D1-7C37CA780E00}" destId="{83F7988E-075F-48A5-BFBD-CA34F47C0635}" srcOrd="7" destOrd="0" presId="urn:microsoft.com/office/officeart/2008/layout/VerticalCurvedList"/>
    <dgm:cxn modelId="{1F27D38A-ABF0-465A-8E2A-1DF3B13893B1}" type="presParOf" srcId="{74AEBF00-FD1F-481B-B1D1-7C37CA780E00}" destId="{89663C8C-655A-4BA0-AF93-643CDC9C6BD5}" srcOrd="8" destOrd="0" presId="urn:microsoft.com/office/officeart/2008/layout/VerticalCurvedList"/>
    <dgm:cxn modelId="{DD7CE4EE-B16B-46BF-9FFE-CDC4AA562F27}" type="presParOf" srcId="{89663C8C-655A-4BA0-AF93-643CDC9C6BD5}" destId="{8EAF64B9-3E09-4B57-BB23-BF31D37DE8D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6537064-96D8-4BAF-8E58-C51CC4C5FB53}" type="doc">
      <dgm:prSet loTypeId="urn:microsoft.com/office/officeart/2011/layout/TabList" loCatId="list" qsTypeId="urn:microsoft.com/office/officeart/2005/8/quickstyle/simple1" qsCatId="simple" csTypeId="urn:microsoft.com/office/officeart/2005/8/colors/colorful1#1" csCatId="colorful" phldr="1"/>
      <dgm:spPr/>
      <dgm:t>
        <a:bodyPr/>
        <a:lstStyle/>
        <a:p>
          <a:endParaRPr lang="tr-TR"/>
        </a:p>
      </dgm:t>
    </dgm:pt>
    <dgm:pt modelId="{C28E4A02-583C-4455-85DD-0737A7CEB51D}">
      <dgm:prSet phldrT="[Metin]" custT="1"/>
      <dgm:spPr/>
      <dgm:t>
        <a:bodyPr/>
        <a:lstStyle/>
        <a:p>
          <a:r>
            <a:rPr lang="tr-TR" sz="1800" dirty="0" smtClean="0"/>
            <a:t>Bakanlık tarafından kesin başvuru yapmaya davet edilerek KOSGEB’e yönlendirilen İşletme sayısı</a:t>
          </a:r>
          <a:endParaRPr lang="tr-TR" sz="1800" dirty="0"/>
        </a:p>
      </dgm:t>
    </dgm:pt>
    <dgm:pt modelId="{CD980542-0980-4AB1-B23C-F3E06F9C7A21}" type="parTrans" cxnId="{95675CAB-C38D-4C05-B8B1-8EBD75600421}">
      <dgm:prSet/>
      <dgm:spPr/>
      <dgm:t>
        <a:bodyPr/>
        <a:lstStyle/>
        <a:p>
          <a:endParaRPr lang="tr-TR" sz="1800"/>
        </a:p>
      </dgm:t>
    </dgm:pt>
    <dgm:pt modelId="{CC4DA96C-3259-45D3-BDBE-37F1143D9FD9}" type="sibTrans" cxnId="{95675CAB-C38D-4C05-B8B1-8EBD75600421}">
      <dgm:prSet/>
      <dgm:spPr/>
      <dgm:t>
        <a:bodyPr/>
        <a:lstStyle/>
        <a:p>
          <a:endParaRPr lang="tr-TR" sz="1800"/>
        </a:p>
      </dgm:t>
    </dgm:pt>
    <dgm:pt modelId="{180AE903-CACD-4D4E-9229-1E94289A6A31}">
      <dgm:prSet phldrT="[Metin]" custT="1"/>
      <dgm:spPr/>
      <dgm:t>
        <a:bodyPr anchor="ctr"/>
        <a:lstStyle/>
        <a:p>
          <a:pPr algn="ctr"/>
          <a:r>
            <a:rPr lang="tr-TR" sz="2400" b="1" dirty="0" smtClean="0"/>
            <a:t>124</a:t>
          </a:r>
          <a:endParaRPr lang="tr-TR" sz="2400" b="1" dirty="0"/>
        </a:p>
      </dgm:t>
    </dgm:pt>
    <dgm:pt modelId="{E9021866-B9E0-41D7-8C1E-EE40CF16932B}" type="parTrans" cxnId="{85040CA8-0B8B-497C-B5EB-2BF6D13CE8BD}">
      <dgm:prSet/>
      <dgm:spPr/>
      <dgm:t>
        <a:bodyPr/>
        <a:lstStyle/>
        <a:p>
          <a:endParaRPr lang="tr-TR"/>
        </a:p>
      </dgm:t>
    </dgm:pt>
    <dgm:pt modelId="{6BF34241-EFA4-4390-97C9-1D2D784A5D30}" type="sibTrans" cxnId="{85040CA8-0B8B-497C-B5EB-2BF6D13CE8BD}">
      <dgm:prSet/>
      <dgm:spPr/>
      <dgm:t>
        <a:bodyPr/>
        <a:lstStyle/>
        <a:p>
          <a:endParaRPr lang="tr-TR"/>
        </a:p>
      </dgm:t>
    </dgm:pt>
    <dgm:pt modelId="{D5940494-BF2E-48C5-BF32-4881AF20E2B7}">
      <dgm:prSet custT="1"/>
      <dgm:spPr/>
      <dgm:t>
        <a:bodyPr/>
        <a:lstStyle/>
        <a:p>
          <a:r>
            <a:rPr lang="tr-TR" sz="1800" dirty="0" smtClean="0"/>
            <a:t>Stratejik Ürün Destek Programı Başvuru Formunu taslak olarak dolduran işletme sayısı</a:t>
          </a:r>
          <a:endParaRPr lang="tr-TR" sz="1800" dirty="0"/>
        </a:p>
      </dgm:t>
    </dgm:pt>
    <dgm:pt modelId="{CE5007C4-37B2-4E58-9A4E-659610206238}" type="parTrans" cxnId="{64452AAA-0031-426D-B57D-FD0CCE477583}">
      <dgm:prSet/>
      <dgm:spPr/>
      <dgm:t>
        <a:bodyPr/>
        <a:lstStyle/>
        <a:p>
          <a:endParaRPr lang="tr-TR"/>
        </a:p>
      </dgm:t>
    </dgm:pt>
    <dgm:pt modelId="{D562D186-130A-482C-B39C-28E2F09BD16D}" type="sibTrans" cxnId="{64452AAA-0031-426D-B57D-FD0CCE477583}">
      <dgm:prSet/>
      <dgm:spPr/>
      <dgm:t>
        <a:bodyPr/>
        <a:lstStyle/>
        <a:p>
          <a:endParaRPr lang="tr-TR"/>
        </a:p>
      </dgm:t>
    </dgm:pt>
    <dgm:pt modelId="{759242A9-0BB0-429A-A5B4-703403D53FE4}">
      <dgm:prSet custT="1"/>
      <dgm:spPr/>
      <dgm:t>
        <a:bodyPr anchor="ctr"/>
        <a:lstStyle/>
        <a:p>
          <a:pPr algn="ctr"/>
          <a:r>
            <a:rPr lang="tr-TR" sz="2400" b="1" dirty="0" smtClean="0">
              <a:solidFill>
                <a:schemeClr val="tx1"/>
              </a:solidFill>
            </a:rPr>
            <a:t>82</a:t>
          </a:r>
          <a:endParaRPr lang="tr-TR" sz="2400" b="1" dirty="0">
            <a:solidFill>
              <a:schemeClr val="tx1"/>
            </a:solidFill>
          </a:endParaRPr>
        </a:p>
      </dgm:t>
    </dgm:pt>
    <dgm:pt modelId="{FFCCFD3E-22C4-440D-8371-31A659125228}" type="parTrans" cxnId="{BC096913-D8C1-4D7B-A14C-FCCC57D21E37}">
      <dgm:prSet/>
      <dgm:spPr/>
      <dgm:t>
        <a:bodyPr/>
        <a:lstStyle/>
        <a:p>
          <a:endParaRPr lang="tr-TR"/>
        </a:p>
      </dgm:t>
    </dgm:pt>
    <dgm:pt modelId="{6374DA5F-936B-4F97-B2AB-74079F006402}" type="sibTrans" cxnId="{BC096913-D8C1-4D7B-A14C-FCCC57D21E37}">
      <dgm:prSet/>
      <dgm:spPr/>
      <dgm:t>
        <a:bodyPr/>
        <a:lstStyle/>
        <a:p>
          <a:endParaRPr lang="tr-TR"/>
        </a:p>
      </dgm:t>
    </dgm:pt>
    <dgm:pt modelId="{9974F265-0121-4E57-B84D-2816AE97F5D0}">
      <dgm:prSet phldrT="[Metin]" custT="1"/>
      <dgm:spPr/>
      <dgm:t>
        <a:bodyPr/>
        <a:lstStyle/>
        <a:p>
          <a:pPr algn="ctr"/>
          <a:r>
            <a:rPr lang="tr-TR" sz="1800" dirty="0" smtClean="0"/>
            <a:t>Başvurusunu onaylayan işletme sayısı</a:t>
          </a:r>
          <a:endParaRPr lang="tr-TR" sz="1800" dirty="0"/>
        </a:p>
      </dgm:t>
    </dgm:pt>
    <dgm:pt modelId="{4570E545-21EC-415F-96DA-73766D514317}" type="parTrans" cxnId="{24B6CCC4-376C-4BF5-8E00-B9825784B3EC}">
      <dgm:prSet/>
      <dgm:spPr/>
      <dgm:t>
        <a:bodyPr/>
        <a:lstStyle/>
        <a:p>
          <a:endParaRPr lang="tr-TR"/>
        </a:p>
      </dgm:t>
    </dgm:pt>
    <dgm:pt modelId="{582B8AE5-34F6-464D-B7F4-4A103D6F2179}" type="sibTrans" cxnId="{24B6CCC4-376C-4BF5-8E00-B9825784B3EC}">
      <dgm:prSet/>
      <dgm:spPr/>
      <dgm:t>
        <a:bodyPr/>
        <a:lstStyle/>
        <a:p>
          <a:endParaRPr lang="tr-TR"/>
        </a:p>
      </dgm:t>
    </dgm:pt>
    <dgm:pt modelId="{4F9F4394-7034-4564-944F-6A375EDDAAB6}" type="pres">
      <dgm:prSet presAssocID="{26537064-96D8-4BAF-8E58-C51CC4C5FB53}" presName="Name0" presStyleCnt="0">
        <dgm:presLayoutVars>
          <dgm:chMax/>
          <dgm:chPref val="3"/>
          <dgm:dir/>
          <dgm:animOne val="branch"/>
          <dgm:animLvl val="lvl"/>
        </dgm:presLayoutVars>
      </dgm:prSet>
      <dgm:spPr/>
      <dgm:t>
        <a:bodyPr/>
        <a:lstStyle/>
        <a:p>
          <a:endParaRPr lang="tr-TR"/>
        </a:p>
      </dgm:t>
    </dgm:pt>
    <dgm:pt modelId="{08466552-6252-4B06-B939-F49ACED8759C}" type="pres">
      <dgm:prSet presAssocID="{C28E4A02-583C-4455-85DD-0737A7CEB51D}" presName="composite" presStyleCnt="0"/>
      <dgm:spPr/>
    </dgm:pt>
    <dgm:pt modelId="{95B8DA3C-D412-4579-812A-8273BBDEADF9}" type="pres">
      <dgm:prSet presAssocID="{C28E4A02-583C-4455-85DD-0737A7CEB51D}" presName="FirstChild" presStyleLbl="revTx" presStyleIdx="0" presStyleCnt="3">
        <dgm:presLayoutVars>
          <dgm:chMax val="0"/>
          <dgm:chPref val="0"/>
          <dgm:bulletEnabled val="1"/>
        </dgm:presLayoutVars>
      </dgm:prSet>
      <dgm:spPr/>
      <dgm:t>
        <a:bodyPr/>
        <a:lstStyle/>
        <a:p>
          <a:endParaRPr lang="tr-TR"/>
        </a:p>
      </dgm:t>
    </dgm:pt>
    <dgm:pt modelId="{90D815E0-EC3F-4CD5-AF49-49F2CCAB85B8}" type="pres">
      <dgm:prSet presAssocID="{C28E4A02-583C-4455-85DD-0737A7CEB51D}" presName="Parent" presStyleLbl="alignNode1" presStyleIdx="0" presStyleCnt="3">
        <dgm:presLayoutVars>
          <dgm:chMax val="3"/>
          <dgm:chPref val="3"/>
          <dgm:bulletEnabled val="1"/>
        </dgm:presLayoutVars>
      </dgm:prSet>
      <dgm:spPr/>
      <dgm:t>
        <a:bodyPr/>
        <a:lstStyle/>
        <a:p>
          <a:endParaRPr lang="tr-TR"/>
        </a:p>
      </dgm:t>
    </dgm:pt>
    <dgm:pt modelId="{3E218F42-3EE3-4E3A-9322-3A839340BA79}" type="pres">
      <dgm:prSet presAssocID="{C28E4A02-583C-4455-85DD-0737A7CEB51D}" presName="Accent" presStyleLbl="parChTrans1D1" presStyleIdx="0" presStyleCnt="3"/>
      <dgm:spPr/>
    </dgm:pt>
    <dgm:pt modelId="{ABCB894E-540D-40A6-8A86-092FEFE144FB}" type="pres">
      <dgm:prSet presAssocID="{CC4DA96C-3259-45D3-BDBE-37F1143D9FD9}" presName="sibTrans" presStyleCnt="0"/>
      <dgm:spPr/>
    </dgm:pt>
    <dgm:pt modelId="{D7C701C9-E90F-4603-ABA7-2919F27E41A7}" type="pres">
      <dgm:prSet presAssocID="{D5940494-BF2E-48C5-BF32-4881AF20E2B7}" presName="composite" presStyleCnt="0"/>
      <dgm:spPr/>
    </dgm:pt>
    <dgm:pt modelId="{D63FDD98-E1A3-4145-88DC-94B06B432997}" type="pres">
      <dgm:prSet presAssocID="{D5940494-BF2E-48C5-BF32-4881AF20E2B7}" presName="FirstChild" presStyleLbl="revTx" presStyleIdx="1" presStyleCnt="3">
        <dgm:presLayoutVars>
          <dgm:chMax val="0"/>
          <dgm:chPref val="0"/>
          <dgm:bulletEnabled val="1"/>
        </dgm:presLayoutVars>
      </dgm:prSet>
      <dgm:spPr/>
      <dgm:t>
        <a:bodyPr/>
        <a:lstStyle/>
        <a:p>
          <a:endParaRPr lang="tr-TR"/>
        </a:p>
      </dgm:t>
    </dgm:pt>
    <dgm:pt modelId="{E124EA48-D9D1-4CAC-B025-15B3BCA95C5F}" type="pres">
      <dgm:prSet presAssocID="{D5940494-BF2E-48C5-BF32-4881AF20E2B7}" presName="Parent" presStyleLbl="alignNode1" presStyleIdx="1" presStyleCnt="3">
        <dgm:presLayoutVars>
          <dgm:chMax val="3"/>
          <dgm:chPref val="3"/>
          <dgm:bulletEnabled val="1"/>
        </dgm:presLayoutVars>
      </dgm:prSet>
      <dgm:spPr/>
      <dgm:t>
        <a:bodyPr/>
        <a:lstStyle/>
        <a:p>
          <a:endParaRPr lang="tr-TR"/>
        </a:p>
      </dgm:t>
    </dgm:pt>
    <dgm:pt modelId="{DF325E02-DDFE-4BB8-9855-4C002C8F7D12}" type="pres">
      <dgm:prSet presAssocID="{D5940494-BF2E-48C5-BF32-4881AF20E2B7}" presName="Accent" presStyleLbl="parChTrans1D1" presStyleIdx="1" presStyleCnt="3"/>
      <dgm:spPr/>
    </dgm:pt>
    <dgm:pt modelId="{7A70F006-04F9-4F21-9C48-AD60F0B9DF9F}" type="pres">
      <dgm:prSet presAssocID="{D562D186-130A-482C-B39C-28E2F09BD16D}" presName="sibTrans" presStyleCnt="0"/>
      <dgm:spPr/>
    </dgm:pt>
    <dgm:pt modelId="{D9249B0A-2C0C-4084-925C-B4A4AE4F47E6}" type="pres">
      <dgm:prSet presAssocID="{9974F265-0121-4E57-B84D-2816AE97F5D0}" presName="composite" presStyleCnt="0"/>
      <dgm:spPr/>
    </dgm:pt>
    <dgm:pt modelId="{2EB1DF9C-ABED-425F-BF2D-376A9CABF73C}" type="pres">
      <dgm:prSet presAssocID="{9974F265-0121-4E57-B84D-2816AE97F5D0}" presName="FirstChild" presStyleLbl="revTx" presStyleIdx="2" presStyleCnt="3">
        <dgm:presLayoutVars>
          <dgm:chMax val="0"/>
          <dgm:chPref val="0"/>
          <dgm:bulletEnabled val="1"/>
        </dgm:presLayoutVars>
      </dgm:prSet>
      <dgm:spPr/>
    </dgm:pt>
    <dgm:pt modelId="{89F5AF2C-B637-496B-8441-0057B4767E5B}" type="pres">
      <dgm:prSet presAssocID="{9974F265-0121-4E57-B84D-2816AE97F5D0}" presName="Parent" presStyleLbl="alignNode1" presStyleIdx="2" presStyleCnt="3">
        <dgm:presLayoutVars>
          <dgm:chMax val="3"/>
          <dgm:chPref val="3"/>
          <dgm:bulletEnabled val="1"/>
        </dgm:presLayoutVars>
      </dgm:prSet>
      <dgm:spPr/>
      <dgm:t>
        <a:bodyPr/>
        <a:lstStyle/>
        <a:p>
          <a:endParaRPr lang="tr-TR"/>
        </a:p>
      </dgm:t>
    </dgm:pt>
    <dgm:pt modelId="{5165DC7C-0B91-4C52-80EF-FAF420B792FD}" type="pres">
      <dgm:prSet presAssocID="{9974F265-0121-4E57-B84D-2816AE97F5D0}" presName="Accent" presStyleLbl="parChTrans1D1" presStyleIdx="2" presStyleCnt="3"/>
      <dgm:spPr/>
    </dgm:pt>
  </dgm:ptLst>
  <dgm:cxnLst>
    <dgm:cxn modelId="{24B6CCC4-376C-4BF5-8E00-B9825784B3EC}" srcId="{26537064-96D8-4BAF-8E58-C51CC4C5FB53}" destId="{9974F265-0121-4E57-B84D-2816AE97F5D0}" srcOrd="2" destOrd="0" parTransId="{4570E545-21EC-415F-96DA-73766D514317}" sibTransId="{582B8AE5-34F6-464D-B7F4-4A103D6F2179}"/>
    <dgm:cxn modelId="{BC096913-D8C1-4D7B-A14C-FCCC57D21E37}" srcId="{D5940494-BF2E-48C5-BF32-4881AF20E2B7}" destId="{759242A9-0BB0-429A-A5B4-703403D53FE4}" srcOrd="0" destOrd="0" parTransId="{FFCCFD3E-22C4-440D-8371-31A659125228}" sibTransId="{6374DA5F-936B-4F97-B2AB-74079F006402}"/>
    <dgm:cxn modelId="{A730CAEA-3764-4205-B4B9-8EA5303DD4A5}" type="presOf" srcId="{C28E4A02-583C-4455-85DD-0737A7CEB51D}" destId="{90D815E0-EC3F-4CD5-AF49-49F2CCAB85B8}" srcOrd="0" destOrd="0" presId="urn:microsoft.com/office/officeart/2011/layout/TabList"/>
    <dgm:cxn modelId="{95675CAB-C38D-4C05-B8B1-8EBD75600421}" srcId="{26537064-96D8-4BAF-8E58-C51CC4C5FB53}" destId="{C28E4A02-583C-4455-85DD-0737A7CEB51D}" srcOrd="0" destOrd="0" parTransId="{CD980542-0980-4AB1-B23C-F3E06F9C7A21}" sibTransId="{CC4DA96C-3259-45D3-BDBE-37F1143D9FD9}"/>
    <dgm:cxn modelId="{4E73CA79-DB92-4FD2-A22E-236D6EC50A8D}" type="presOf" srcId="{D5940494-BF2E-48C5-BF32-4881AF20E2B7}" destId="{E124EA48-D9D1-4CAC-B025-15B3BCA95C5F}" srcOrd="0" destOrd="0" presId="urn:microsoft.com/office/officeart/2011/layout/TabList"/>
    <dgm:cxn modelId="{6C4292BE-CC59-4AD9-B27D-A360935D45B7}" type="presOf" srcId="{9974F265-0121-4E57-B84D-2816AE97F5D0}" destId="{89F5AF2C-B637-496B-8441-0057B4767E5B}" srcOrd="0" destOrd="0" presId="urn:microsoft.com/office/officeart/2011/layout/TabList"/>
    <dgm:cxn modelId="{552A43FA-A853-4B0A-9B40-E09290F2B79C}" type="presOf" srcId="{759242A9-0BB0-429A-A5B4-703403D53FE4}" destId="{D63FDD98-E1A3-4145-88DC-94B06B432997}" srcOrd="0" destOrd="0" presId="urn:microsoft.com/office/officeart/2011/layout/TabList"/>
    <dgm:cxn modelId="{64452AAA-0031-426D-B57D-FD0CCE477583}" srcId="{26537064-96D8-4BAF-8E58-C51CC4C5FB53}" destId="{D5940494-BF2E-48C5-BF32-4881AF20E2B7}" srcOrd="1" destOrd="0" parTransId="{CE5007C4-37B2-4E58-9A4E-659610206238}" sibTransId="{D562D186-130A-482C-B39C-28E2F09BD16D}"/>
    <dgm:cxn modelId="{885EBCE0-B702-464A-B098-433913C9D4DE}" type="presOf" srcId="{26537064-96D8-4BAF-8E58-C51CC4C5FB53}" destId="{4F9F4394-7034-4564-944F-6A375EDDAAB6}" srcOrd="0" destOrd="0" presId="urn:microsoft.com/office/officeart/2011/layout/TabList"/>
    <dgm:cxn modelId="{675373F6-0AD0-4F41-BAC6-34AFE2E4B5C1}" type="presOf" srcId="{180AE903-CACD-4D4E-9229-1E94289A6A31}" destId="{95B8DA3C-D412-4579-812A-8273BBDEADF9}" srcOrd="0" destOrd="0" presId="urn:microsoft.com/office/officeart/2011/layout/TabList"/>
    <dgm:cxn modelId="{85040CA8-0B8B-497C-B5EB-2BF6D13CE8BD}" srcId="{C28E4A02-583C-4455-85DD-0737A7CEB51D}" destId="{180AE903-CACD-4D4E-9229-1E94289A6A31}" srcOrd="0" destOrd="0" parTransId="{E9021866-B9E0-41D7-8C1E-EE40CF16932B}" sibTransId="{6BF34241-EFA4-4390-97C9-1D2D784A5D30}"/>
    <dgm:cxn modelId="{2A1EB30D-C73F-4BB4-9924-C25B7AF02D93}" type="presParOf" srcId="{4F9F4394-7034-4564-944F-6A375EDDAAB6}" destId="{08466552-6252-4B06-B939-F49ACED8759C}" srcOrd="0" destOrd="0" presId="urn:microsoft.com/office/officeart/2011/layout/TabList"/>
    <dgm:cxn modelId="{48C2B84E-16CC-401E-9A2F-87AE440257B4}" type="presParOf" srcId="{08466552-6252-4B06-B939-F49ACED8759C}" destId="{95B8DA3C-D412-4579-812A-8273BBDEADF9}" srcOrd="0" destOrd="0" presId="urn:microsoft.com/office/officeart/2011/layout/TabList"/>
    <dgm:cxn modelId="{2E601568-23F3-44AB-93E9-588B244E7097}" type="presParOf" srcId="{08466552-6252-4B06-B939-F49ACED8759C}" destId="{90D815E0-EC3F-4CD5-AF49-49F2CCAB85B8}" srcOrd="1" destOrd="0" presId="urn:microsoft.com/office/officeart/2011/layout/TabList"/>
    <dgm:cxn modelId="{CF33981B-F73A-49DE-8313-0747798131C5}" type="presParOf" srcId="{08466552-6252-4B06-B939-F49ACED8759C}" destId="{3E218F42-3EE3-4E3A-9322-3A839340BA79}" srcOrd="2" destOrd="0" presId="urn:microsoft.com/office/officeart/2011/layout/TabList"/>
    <dgm:cxn modelId="{2B0B6676-9EBB-441D-AB61-7A4A08354E75}" type="presParOf" srcId="{4F9F4394-7034-4564-944F-6A375EDDAAB6}" destId="{ABCB894E-540D-40A6-8A86-092FEFE144FB}" srcOrd="1" destOrd="0" presId="urn:microsoft.com/office/officeart/2011/layout/TabList"/>
    <dgm:cxn modelId="{9D6B7032-4AA8-4232-A6AA-E1E13361BBB8}" type="presParOf" srcId="{4F9F4394-7034-4564-944F-6A375EDDAAB6}" destId="{D7C701C9-E90F-4603-ABA7-2919F27E41A7}" srcOrd="2" destOrd="0" presId="urn:microsoft.com/office/officeart/2011/layout/TabList"/>
    <dgm:cxn modelId="{115F81EB-0DB6-45D0-96AA-48DA6AF6F651}" type="presParOf" srcId="{D7C701C9-E90F-4603-ABA7-2919F27E41A7}" destId="{D63FDD98-E1A3-4145-88DC-94B06B432997}" srcOrd="0" destOrd="0" presId="urn:microsoft.com/office/officeart/2011/layout/TabList"/>
    <dgm:cxn modelId="{87F5908D-0CFE-48C0-828B-8FDDE0E72069}" type="presParOf" srcId="{D7C701C9-E90F-4603-ABA7-2919F27E41A7}" destId="{E124EA48-D9D1-4CAC-B025-15B3BCA95C5F}" srcOrd="1" destOrd="0" presId="urn:microsoft.com/office/officeart/2011/layout/TabList"/>
    <dgm:cxn modelId="{7FA851B4-3181-4EAB-BC98-9B26FA91B7EB}" type="presParOf" srcId="{D7C701C9-E90F-4603-ABA7-2919F27E41A7}" destId="{DF325E02-DDFE-4BB8-9855-4C002C8F7D12}" srcOrd="2" destOrd="0" presId="urn:microsoft.com/office/officeart/2011/layout/TabList"/>
    <dgm:cxn modelId="{A5DAFEA6-0157-42C4-B78A-3EE6459D3B04}" type="presParOf" srcId="{4F9F4394-7034-4564-944F-6A375EDDAAB6}" destId="{7A70F006-04F9-4F21-9C48-AD60F0B9DF9F}" srcOrd="3" destOrd="0" presId="urn:microsoft.com/office/officeart/2011/layout/TabList"/>
    <dgm:cxn modelId="{D3E9F43F-1618-4760-AA3A-22D838292C77}" type="presParOf" srcId="{4F9F4394-7034-4564-944F-6A375EDDAAB6}" destId="{D9249B0A-2C0C-4084-925C-B4A4AE4F47E6}" srcOrd="4" destOrd="0" presId="urn:microsoft.com/office/officeart/2011/layout/TabList"/>
    <dgm:cxn modelId="{8CAB5826-7A78-4FFA-A884-95677ECCCD12}" type="presParOf" srcId="{D9249B0A-2C0C-4084-925C-B4A4AE4F47E6}" destId="{2EB1DF9C-ABED-425F-BF2D-376A9CABF73C}" srcOrd="0" destOrd="0" presId="urn:microsoft.com/office/officeart/2011/layout/TabList"/>
    <dgm:cxn modelId="{3EC8C981-57C5-4DEB-B60E-9E4AB7964CAB}" type="presParOf" srcId="{D9249B0A-2C0C-4084-925C-B4A4AE4F47E6}" destId="{89F5AF2C-B637-496B-8441-0057B4767E5B}" srcOrd="1" destOrd="0" presId="urn:microsoft.com/office/officeart/2011/layout/TabList"/>
    <dgm:cxn modelId="{B5F7CB4A-57D3-4FB7-A5DD-B824C3B9F5EF}" type="presParOf" srcId="{D9249B0A-2C0C-4084-925C-B4A4AE4F47E6}" destId="{5165DC7C-0B91-4C52-80EF-FAF420B792FD}" srcOrd="2" destOrd="0" presId="urn:microsoft.com/office/officeart/2011/layout/Tab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CE1E570-8203-49A3-913C-08104225223B}" type="doc">
      <dgm:prSet loTypeId="urn:microsoft.com/office/officeart/2005/8/layout/list1" loCatId="list" qsTypeId="urn:microsoft.com/office/officeart/2005/8/quickstyle/simple3" qsCatId="simple" csTypeId="urn:microsoft.com/office/officeart/2005/8/colors/colorful1" csCatId="colorful" phldr="1"/>
      <dgm:spPr/>
      <dgm:t>
        <a:bodyPr/>
        <a:lstStyle/>
        <a:p>
          <a:endParaRPr lang="tr-TR"/>
        </a:p>
      </dgm:t>
    </dgm:pt>
    <dgm:pt modelId="{E3977A1F-F84F-4BF4-8671-2F6EAD6E0AE2}">
      <dgm:prSet phldrT="[Metin]" custT="1"/>
      <dgm:spPr/>
      <dgm:t>
        <a:bodyPr/>
        <a:lstStyle/>
        <a:p>
          <a:r>
            <a:rPr kumimoji="0" lang="tr-TR" sz="1807" b="1" i="0" u="none" strike="noStrike" kern="1200" cap="none" spc="0" normalizeH="0" baseline="0" dirty="0" smtClean="0">
              <a:ln>
                <a:noFill/>
              </a:ln>
              <a:solidFill>
                <a:srgbClr val="002060"/>
              </a:solidFill>
              <a:effectLst/>
              <a:uLnTx/>
              <a:uFillTx/>
              <a:latin typeface="Calibri" pitchFamily="34" charset="0"/>
              <a:ea typeface="ヒラギノ角ゴ Pro W3" pitchFamily="1" charset="-128"/>
              <a:cs typeface="+mn-cs"/>
            </a:rPr>
            <a:t>KOSGEB ve diğer kamu kurum ve kuruluşları, kanunla kurulan vakıflar veya uluslararası fonlar tarafından desteklenen ar-ge ve yenilik projeleri sonucunda ortaya çıkan</a:t>
          </a:r>
          <a:endParaRPr kumimoji="0" lang="tr-TR" sz="1807" b="1" i="0" u="none" strike="noStrike" kern="1200" cap="none" spc="0" normalizeH="0" baseline="0" dirty="0">
            <a:ln>
              <a:noFill/>
            </a:ln>
            <a:solidFill>
              <a:srgbClr val="002060"/>
            </a:solidFill>
            <a:effectLst/>
            <a:uLnTx/>
            <a:uFillTx/>
            <a:latin typeface="Calibri" pitchFamily="34" charset="0"/>
            <a:ea typeface="ヒラギノ角ゴ Pro W3" pitchFamily="1" charset="-128"/>
            <a:cs typeface="+mn-cs"/>
          </a:endParaRPr>
        </a:p>
      </dgm:t>
    </dgm:pt>
    <dgm:pt modelId="{472A510C-435B-41E7-9884-14DA06F6EEA7}" type="parTrans" cxnId="{C3A63C75-2DF6-4BDB-B162-E58495AFC91D}">
      <dgm:prSet/>
      <dgm:spPr/>
      <dgm:t>
        <a:bodyPr/>
        <a:lstStyle/>
        <a:p>
          <a:endParaRPr lang="tr-TR" sz="1400">
            <a:solidFill>
              <a:schemeClr val="tx1"/>
            </a:solidFill>
          </a:endParaRPr>
        </a:p>
      </dgm:t>
    </dgm:pt>
    <dgm:pt modelId="{FAD2D3D1-E520-469A-9AB3-1C948BEC6A72}" type="sibTrans" cxnId="{C3A63C75-2DF6-4BDB-B162-E58495AFC91D}">
      <dgm:prSet/>
      <dgm:spPr/>
      <dgm:t>
        <a:bodyPr/>
        <a:lstStyle/>
        <a:p>
          <a:endParaRPr lang="tr-TR" sz="1400">
            <a:solidFill>
              <a:schemeClr val="tx1"/>
            </a:solidFill>
          </a:endParaRPr>
        </a:p>
      </dgm:t>
    </dgm:pt>
    <dgm:pt modelId="{C4CF81B8-F9B7-4C96-8D1F-DAAAAA7F9F30}">
      <dgm:prSet phldrT="[Metin]" custT="1"/>
      <dgm:spPr/>
      <dgm:t>
        <a:bodyPr/>
        <a:lstStyle/>
        <a:p>
          <a:r>
            <a:rPr kumimoji="0" lang="tr-TR" sz="1807" b="1" i="0" u="none" strike="noStrike" kern="1200" cap="none" spc="0" normalizeH="0" baseline="0" dirty="0" smtClean="0">
              <a:ln>
                <a:noFill/>
              </a:ln>
              <a:solidFill>
                <a:srgbClr val="002060"/>
              </a:solidFill>
              <a:effectLst/>
              <a:uLnTx/>
              <a:uFillTx/>
              <a:latin typeface="Calibri" pitchFamily="34" charset="0"/>
              <a:ea typeface="ヒラギノ角ゴ Pro W3" pitchFamily="1" charset="-128"/>
              <a:cs typeface="+mn-cs"/>
            </a:rPr>
            <a:t>Doktora çalışması neticesinde ortaya çıkan</a:t>
          </a:r>
          <a:endParaRPr kumimoji="0" lang="tr-TR" sz="1807" b="1" i="0" u="none" strike="noStrike" kern="1200" cap="none" spc="0" normalizeH="0" baseline="0" dirty="0">
            <a:ln>
              <a:noFill/>
            </a:ln>
            <a:solidFill>
              <a:srgbClr val="002060"/>
            </a:solidFill>
            <a:effectLst/>
            <a:uLnTx/>
            <a:uFillTx/>
            <a:latin typeface="Calibri" pitchFamily="34" charset="0"/>
            <a:ea typeface="ヒラギノ角ゴ Pro W3" pitchFamily="1" charset="-128"/>
            <a:cs typeface="+mn-cs"/>
          </a:endParaRPr>
        </a:p>
      </dgm:t>
    </dgm:pt>
    <dgm:pt modelId="{6C46E717-CD96-4B7F-8F40-176FDDD717B1}" type="parTrans" cxnId="{D54C14A7-CAE8-4818-AB64-4A0740795E10}">
      <dgm:prSet/>
      <dgm:spPr/>
      <dgm:t>
        <a:bodyPr/>
        <a:lstStyle/>
        <a:p>
          <a:endParaRPr lang="tr-TR" sz="1400">
            <a:solidFill>
              <a:schemeClr val="tx1"/>
            </a:solidFill>
          </a:endParaRPr>
        </a:p>
      </dgm:t>
    </dgm:pt>
    <dgm:pt modelId="{D92233EF-87E9-447D-B624-8C29ACAB7DA6}" type="sibTrans" cxnId="{D54C14A7-CAE8-4818-AB64-4A0740795E10}">
      <dgm:prSet/>
      <dgm:spPr/>
      <dgm:t>
        <a:bodyPr/>
        <a:lstStyle/>
        <a:p>
          <a:endParaRPr lang="tr-TR" sz="1400">
            <a:solidFill>
              <a:schemeClr val="tx1"/>
            </a:solidFill>
          </a:endParaRPr>
        </a:p>
      </dgm:t>
    </dgm:pt>
    <dgm:pt modelId="{CBD7EA20-9439-42D4-AA6E-2E951B5E5249}">
      <dgm:prSet phldrT="[Metin]" custT="1"/>
      <dgm:spPr/>
      <dgm:t>
        <a:bodyPr/>
        <a:lstStyle/>
        <a:p>
          <a:r>
            <a:rPr kumimoji="0" lang="tr-TR" sz="1807" b="1" i="0" u="none" strike="noStrike" kern="1200" cap="none" spc="0" normalizeH="0" baseline="0" dirty="0" smtClean="0">
              <a:ln>
                <a:noFill/>
              </a:ln>
              <a:solidFill>
                <a:srgbClr val="002060"/>
              </a:solidFill>
              <a:effectLst/>
              <a:uLnTx/>
              <a:uFillTx/>
              <a:latin typeface="Calibri" pitchFamily="34" charset="0"/>
              <a:ea typeface="ヒラギノ角ゴ Pro W3" pitchFamily="1" charset="-128"/>
              <a:cs typeface="+mn-cs"/>
            </a:rPr>
            <a:t>Teknolojik Ürün (TÜR) Deneyim belgesi alan</a:t>
          </a:r>
          <a:endParaRPr kumimoji="0" lang="tr-TR" sz="1807" b="1" i="0" u="none" strike="noStrike" kern="1200" cap="none" spc="0" normalizeH="0" baseline="0" dirty="0">
            <a:ln>
              <a:noFill/>
            </a:ln>
            <a:solidFill>
              <a:srgbClr val="002060"/>
            </a:solidFill>
            <a:effectLst/>
            <a:uLnTx/>
            <a:uFillTx/>
            <a:latin typeface="Calibri" pitchFamily="34" charset="0"/>
            <a:ea typeface="ヒラギノ角ゴ Pro W3" pitchFamily="1" charset="-128"/>
            <a:cs typeface="+mn-cs"/>
          </a:endParaRPr>
        </a:p>
      </dgm:t>
    </dgm:pt>
    <dgm:pt modelId="{0AEB285C-C96D-416B-B9F9-6A71B6987452}" type="parTrans" cxnId="{C438217A-AB73-47CD-BC1B-00A81EC92EA6}">
      <dgm:prSet/>
      <dgm:spPr/>
      <dgm:t>
        <a:bodyPr/>
        <a:lstStyle/>
        <a:p>
          <a:endParaRPr lang="tr-TR" sz="1400">
            <a:solidFill>
              <a:schemeClr val="tx1"/>
            </a:solidFill>
          </a:endParaRPr>
        </a:p>
      </dgm:t>
    </dgm:pt>
    <dgm:pt modelId="{07CBE44B-66B9-4AB0-8C8B-C60B20CA62AC}" type="sibTrans" cxnId="{C438217A-AB73-47CD-BC1B-00A81EC92EA6}">
      <dgm:prSet/>
      <dgm:spPr/>
      <dgm:t>
        <a:bodyPr/>
        <a:lstStyle/>
        <a:p>
          <a:endParaRPr lang="tr-TR" sz="1400">
            <a:solidFill>
              <a:schemeClr val="tx1"/>
            </a:solidFill>
          </a:endParaRPr>
        </a:p>
      </dgm:t>
    </dgm:pt>
    <dgm:pt modelId="{81006770-BDA9-4DFD-A775-539789042675}">
      <dgm:prSet custT="1"/>
      <dgm:spPr/>
      <dgm:t>
        <a:bodyPr/>
        <a:lstStyle/>
        <a:p>
          <a:r>
            <a:rPr kumimoji="0" lang="tr-TR" sz="1807" b="1" i="0" u="none" strike="noStrike" kern="1200" cap="none" spc="0" normalizeH="0" baseline="0" dirty="0" smtClean="0">
              <a:ln>
                <a:noFill/>
              </a:ln>
              <a:solidFill>
                <a:srgbClr val="002060"/>
              </a:solidFill>
              <a:effectLst/>
              <a:uLnTx/>
              <a:uFillTx/>
              <a:latin typeface="Calibri" pitchFamily="34" charset="0"/>
              <a:ea typeface="ヒラギノ角ゴ Pro W3" pitchFamily="1" charset="-128"/>
              <a:cs typeface="+mn-cs"/>
            </a:rPr>
            <a:t>Patent belgesi ile koruma altına alınan</a:t>
          </a:r>
          <a:endParaRPr kumimoji="0" lang="tr-TR" sz="1807" b="1" i="0" u="none" strike="noStrike" kern="1200" cap="none" spc="0" normalizeH="0" baseline="0" dirty="0">
            <a:ln>
              <a:noFill/>
            </a:ln>
            <a:solidFill>
              <a:srgbClr val="002060"/>
            </a:solidFill>
            <a:effectLst/>
            <a:uLnTx/>
            <a:uFillTx/>
            <a:latin typeface="Calibri" pitchFamily="34" charset="0"/>
            <a:ea typeface="ヒラギノ角ゴ Pro W3" pitchFamily="1" charset="-128"/>
            <a:cs typeface="+mn-cs"/>
          </a:endParaRPr>
        </a:p>
      </dgm:t>
    </dgm:pt>
    <dgm:pt modelId="{3D4F268A-102B-4280-980C-B3881E354069}" type="parTrans" cxnId="{8A6E1384-7857-4449-B063-2CE6E0778A2F}">
      <dgm:prSet/>
      <dgm:spPr/>
      <dgm:t>
        <a:bodyPr/>
        <a:lstStyle/>
        <a:p>
          <a:endParaRPr lang="tr-TR" sz="1400"/>
        </a:p>
      </dgm:t>
    </dgm:pt>
    <dgm:pt modelId="{BC3ABBF7-135F-4D21-A11D-1761E2FD367C}" type="sibTrans" cxnId="{8A6E1384-7857-4449-B063-2CE6E0778A2F}">
      <dgm:prSet/>
      <dgm:spPr/>
      <dgm:t>
        <a:bodyPr/>
        <a:lstStyle/>
        <a:p>
          <a:endParaRPr lang="tr-TR" sz="1400"/>
        </a:p>
      </dgm:t>
    </dgm:pt>
    <dgm:pt modelId="{215ED817-6CD5-4138-A679-36B16349C83B}" type="pres">
      <dgm:prSet presAssocID="{9CE1E570-8203-49A3-913C-08104225223B}" presName="linear" presStyleCnt="0">
        <dgm:presLayoutVars>
          <dgm:dir/>
          <dgm:animLvl val="lvl"/>
          <dgm:resizeHandles val="exact"/>
        </dgm:presLayoutVars>
      </dgm:prSet>
      <dgm:spPr/>
      <dgm:t>
        <a:bodyPr/>
        <a:lstStyle/>
        <a:p>
          <a:endParaRPr lang="tr-TR"/>
        </a:p>
      </dgm:t>
    </dgm:pt>
    <dgm:pt modelId="{7D77BC43-714A-4A40-845C-7A17C4053849}" type="pres">
      <dgm:prSet presAssocID="{E3977A1F-F84F-4BF4-8671-2F6EAD6E0AE2}" presName="parentLin" presStyleCnt="0"/>
      <dgm:spPr/>
    </dgm:pt>
    <dgm:pt modelId="{449F0D98-D30F-447E-9CC9-FDB82F1227D9}" type="pres">
      <dgm:prSet presAssocID="{E3977A1F-F84F-4BF4-8671-2F6EAD6E0AE2}" presName="parentLeftMargin" presStyleLbl="node1" presStyleIdx="0" presStyleCnt="4"/>
      <dgm:spPr/>
      <dgm:t>
        <a:bodyPr/>
        <a:lstStyle/>
        <a:p>
          <a:endParaRPr lang="tr-TR"/>
        </a:p>
      </dgm:t>
    </dgm:pt>
    <dgm:pt modelId="{382C1E50-B8C0-48B2-9675-BB92970F1D99}" type="pres">
      <dgm:prSet presAssocID="{E3977A1F-F84F-4BF4-8671-2F6EAD6E0AE2}" presName="parentText" presStyleLbl="node1" presStyleIdx="0" presStyleCnt="4" custScaleX="134051" custScaleY="165758">
        <dgm:presLayoutVars>
          <dgm:chMax val="0"/>
          <dgm:bulletEnabled val="1"/>
        </dgm:presLayoutVars>
      </dgm:prSet>
      <dgm:spPr/>
      <dgm:t>
        <a:bodyPr/>
        <a:lstStyle/>
        <a:p>
          <a:endParaRPr lang="tr-TR"/>
        </a:p>
      </dgm:t>
    </dgm:pt>
    <dgm:pt modelId="{A6AC1530-B4BA-4A37-BC44-C78C1A0140F4}" type="pres">
      <dgm:prSet presAssocID="{E3977A1F-F84F-4BF4-8671-2F6EAD6E0AE2}" presName="negativeSpace" presStyleCnt="0"/>
      <dgm:spPr/>
    </dgm:pt>
    <dgm:pt modelId="{E5339268-9CF3-49BA-AA2E-5607DEB5096B}" type="pres">
      <dgm:prSet presAssocID="{E3977A1F-F84F-4BF4-8671-2F6EAD6E0AE2}" presName="childText" presStyleLbl="conFgAcc1" presStyleIdx="0" presStyleCnt="4">
        <dgm:presLayoutVars>
          <dgm:bulletEnabled val="1"/>
        </dgm:presLayoutVars>
      </dgm:prSet>
      <dgm:spPr/>
    </dgm:pt>
    <dgm:pt modelId="{D23801D4-2000-4E24-9D32-8D02B8178244}" type="pres">
      <dgm:prSet presAssocID="{FAD2D3D1-E520-469A-9AB3-1C948BEC6A72}" presName="spaceBetweenRectangles" presStyleCnt="0"/>
      <dgm:spPr/>
    </dgm:pt>
    <dgm:pt modelId="{A5B816A0-E9ED-4CB7-AF8C-5EA87A23A7C1}" type="pres">
      <dgm:prSet presAssocID="{81006770-BDA9-4DFD-A775-539789042675}" presName="parentLin" presStyleCnt="0"/>
      <dgm:spPr/>
    </dgm:pt>
    <dgm:pt modelId="{B0553149-0CA6-4D5F-BED8-4E3627CD4EED}" type="pres">
      <dgm:prSet presAssocID="{81006770-BDA9-4DFD-A775-539789042675}" presName="parentLeftMargin" presStyleLbl="node1" presStyleIdx="0" presStyleCnt="4"/>
      <dgm:spPr/>
      <dgm:t>
        <a:bodyPr/>
        <a:lstStyle/>
        <a:p>
          <a:endParaRPr lang="tr-TR"/>
        </a:p>
      </dgm:t>
    </dgm:pt>
    <dgm:pt modelId="{061C9E25-F8DA-4E45-BB27-AD2A0109B756}" type="pres">
      <dgm:prSet presAssocID="{81006770-BDA9-4DFD-A775-539789042675}" presName="parentText" presStyleLbl="node1" presStyleIdx="1" presStyleCnt="4" custScaleX="134051">
        <dgm:presLayoutVars>
          <dgm:chMax val="0"/>
          <dgm:bulletEnabled val="1"/>
        </dgm:presLayoutVars>
      </dgm:prSet>
      <dgm:spPr/>
      <dgm:t>
        <a:bodyPr/>
        <a:lstStyle/>
        <a:p>
          <a:endParaRPr lang="tr-TR"/>
        </a:p>
      </dgm:t>
    </dgm:pt>
    <dgm:pt modelId="{CBAABA4B-D448-4ABD-B34E-B72F9F47ED43}" type="pres">
      <dgm:prSet presAssocID="{81006770-BDA9-4DFD-A775-539789042675}" presName="negativeSpace" presStyleCnt="0"/>
      <dgm:spPr/>
    </dgm:pt>
    <dgm:pt modelId="{EC807C1C-0F4D-45AA-9600-7EBC6B539E50}" type="pres">
      <dgm:prSet presAssocID="{81006770-BDA9-4DFD-A775-539789042675}" presName="childText" presStyleLbl="conFgAcc1" presStyleIdx="1" presStyleCnt="4">
        <dgm:presLayoutVars>
          <dgm:bulletEnabled val="1"/>
        </dgm:presLayoutVars>
      </dgm:prSet>
      <dgm:spPr/>
    </dgm:pt>
    <dgm:pt modelId="{D6E24D61-5332-420C-9619-D80259496E1F}" type="pres">
      <dgm:prSet presAssocID="{BC3ABBF7-135F-4D21-A11D-1761E2FD367C}" presName="spaceBetweenRectangles" presStyleCnt="0"/>
      <dgm:spPr/>
    </dgm:pt>
    <dgm:pt modelId="{14F10AE1-98B8-490B-AFC9-CE056D956919}" type="pres">
      <dgm:prSet presAssocID="{C4CF81B8-F9B7-4C96-8D1F-DAAAAA7F9F30}" presName="parentLin" presStyleCnt="0"/>
      <dgm:spPr/>
    </dgm:pt>
    <dgm:pt modelId="{59E391BC-DFEE-4C69-A3C1-4DD318BE6E93}" type="pres">
      <dgm:prSet presAssocID="{C4CF81B8-F9B7-4C96-8D1F-DAAAAA7F9F30}" presName="parentLeftMargin" presStyleLbl="node1" presStyleIdx="1" presStyleCnt="4"/>
      <dgm:spPr/>
      <dgm:t>
        <a:bodyPr/>
        <a:lstStyle/>
        <a:p>
          <a:endParaRPr lang="tr-TR"/>
        </a:p>
      </dgm:t>
    </dgm:pt>
    <dgm:pt modelId="{140BA81C-B9D2-46FA-AA47-C1BE71D2292D}" type="pres">
      <dgm:prSet presAssocID="{C4CF81B8-F9B7-4C96-8D1F-DAAAAA7F9F30}" presName="parentText" presStyleLbl="node1" presStyleIdx="2" presStyleCnt="4" custScaleX="134051">
        <dgm:presLayoutVars>
          <dgm:chMax val="0"/>
          <dgm:bulletEnabled val="1"/>
        </dgm:presLayoutVars>
      </dgm:prSet>
      <dgm:spPr/>
      <dgm:t>
        <a:bodyPr/>
        <a:lstStyle/>
        <a:p>
          <a:endParaRPr lang="tr-TR"/>
        </a:p>
      </dgm:t>
    </dgm:pt>
    <dgm:pt modelId="{36304BE7-A421-4087-B142-E2FD3000B212}" type="pres">
      <dgm:prSet presAssocID="{C4CF81B8-F9B7-4C96-8D1F-DAAAAA7F9F30}" presName="negativeSpace" presStyleCnt="0"/>
      <dgm:spPr/>
    </dgm:pt>
    <dgm:pt modelId="{FA7BE85E-8F22-4C9C-ABB0-F1A9F72EE6D8}" type="pres">
      <dgm:prSet presAssocID="{C4CF81B8-F9B7-4C96-8D1F-DAAAAA7F9F30}" presName="childText" presStyleLbl="conFgAcc1" presStyleIdx="2" presStyleCnt="4">
        <dgm:presLayoutVars>
          <dgm:bulletEnabled val="1"/>
        </dgm:presLayoutVars>
      </dgm:prSet>
      <dgm:spPr/>
    </dgm:pt>
    <dgm:pt modelId="{8F7A6DE2-74A7-4368-A887-D9EE86291553}" type="pres">
      <dgm:prSet presAssocID="{D92233EF-87E9-447D-B624-8C29ACAB7DA6}" presName="spaceBetweenRectangles" presStyleCnt="0"/>
      <dgm:spPr/>
    </dgm:pt>
    <dgm:pt modelId="{7F7EB43B-0019-4F06-B53A-C594EC62CC2A}" type="pres">
      <dgm:prSet presAssocID="{CBD7EA20-9439-42D4-AA6E-2E951B5E5249}" presName="parentLin" presStyleCnt="0"/>
      <dgm:spPr/>
    </dgm:pt>
    <dgm:pt modelId="{26582ADE-1DCE-4501-B576-460D30C797B1}" type="pres">
      <dgm:prSet presAssocID="{CBD7EA20-9439-42D4-AA6E-2E951B5E5249}" presName="parentLeftMargin" presStyleLbl="node1" presStyleIdx="2" presStyleCnt="4"/>
      <dgm:spPr/>
      <dgm:t>
        <a:bodyPr/>
        <a:lstStyle/>
        <a:p>
          <a:endParaRPr lang="tr-TR"/>
        </a:p>
      </dgm:t>
    </dgm:pt>
    <dgm:pt modelId="{2AFAAB8E-4F12-47AC-A205-2EB7A4B41780}" type="pres">
      <dgm:prSet presAssocID="{CBD7EA20-9439-42D4-AA6E-2E951B5E5249}" presName="parentText" presStyleLbl="node1" presStyleIdx="3" presStyleCnt="4" custScaleX="134051">
        <dgm:presLayoutVars>
          <dgm:chMax val="0"/>
          <dgm:bulletEnabled val="1"/>
        </dgm:presLayoutVars>
      </dgm:prSet>
      <dgm:spPr/>
      <dgm:t>
        <a:bodyPr/>
        <a:lstStyle/>
        <a:p>
          <a:endParaRPr lang="tr-TR"/>
        </a:p>
      </dgm:t>
    </dgm:pt>
    <dgm:pt modelId="{390BC7EC-A662-4D0F-B7F2-D692159BDFF1}" type="pres">
      <dgm:prSet presAssocID="{CBD7EA20-9439-42D4-AA6E-2E951B5E5249}" presName="negativeSpace" presStyleCnt="0"/>
      <dgm:spPr/>
    </dgm:pt>
    <dgm:pt modelId="{B8A77F5C-9777-443F-B954-838BD4C1E035}" type="pres">
      <dgm:prSet presAssocID="{CBD7EA20-9439-42D4-AA6E-2E951B5E5249}" presName="childText" presStyleLbl="conFgAcc1" presStyleIdx="3" presStyleCnt="4">
        <dgm:presLayoutVars>
          <dgm:bulletEnabled val="1"/>
        </dgm:presLayoutVars>
      </dgm:prSet>
      <dgm:spPr/>
    </dgm:pt>
  </dgm:ptLst>
  <dgm:cxnLst>
    <dgm:cxn modelId="{64BBBB27-6DD2-4762-89B1-6BFE581BD034}" type="presOf" srcId="{E3977A1F-F84F-4BF4-8671-2F6EAD6E0AE2}" destId="{449F0D98-D30F-447E-9CC9-FDB82F1227D9}" srcOrd="0" destOrd="0" presId="urn:microsoft.com/office/officeart/2005/8/layout/list1"/>
    <dgm:cxn modelId="{25C34D3A-F371-4399-879E-BC1D905ED65A}" type="presOf" srcId="{81006770-BDA9-4DFD-A775-539789042675}" destId="{B0553149-0CA6-4D5F-BED8-4E3627CD4EED}" srcOrd="0" destOrd="0" presId="urn:microsoft.com/office/officeart/2005/8/layout/list1"/>
    <dgm:cxn modelId="{C438217A-AB73-47CD-BC1B-00A81EC92EA6}" srcId="{9CE1E570-8203-49A3-913C-08104225223B}" destId="{CBD7EA20-9439-42D4-AA6E-2E951B5E5249}" srcOrd="3" destOrd="0" parTransId="{0AEB285C-C96D-416B-B9F9-6A71B6987452}" sibTransId="{07CBE44B-66B9-4AB0-8C8B-C60B20CA62AC}"/>
    <dgm:cxn modelId="{C3A63C75-2DF6-4BDB-B162-E58495AFC91D}" srcId="{9CE1E570-8203-49A3-913C-08104225223B}" destId="{E3977A1F-F84F-4BF4-8671-2F6EAD6E0AE2}" srcOrd="0" destOrd="0" parTransId="{472A510C-435B-41E7-9884-14DA06F6EEA7}" sibTransId="{FAD2D3D1-E520-469A-9AB3-1C948BEC6A72}"/>
    <dgm:cxn modelId="{6CE93B69-BD3B-4534-9A9D-34BFB36CA50C}" type="presOf" srcId="{E3977A1F-F84F-4BF4-8671-2F6EAD6E0AE2}" destId="{382C1E50-B8C0-48B2-9675-BB92970F1D99}" srcOrd="1" destOrd="0" presId="urn:microsoft.com/office/officeart/2005/8/layout/list1"/>
    <dgm:cxn modelId="{4AC82259-E95F-4F5B-A0A5-5CA5E1061AB7}" type="presOf" srcId="{CBD7EA20-9439-42D4-AA6E-2E951B5E5249}" destId="{2AFAAB8E-4F12-47AC-A205-2EB7A4B41780}" srcOrd="1" destOrd="0" presId="urn:microsoft.com/office/officeart/2005/8/layout/list1"/>
    <dgm:cxn modelId="{7A34C91A-C9B8-4740-B2C3-226B36AEE273}" type="presOf" srcId="{CBD7EA20-9439-42D4-AA6E-2E951B5E5249}" destId="{26582ADE-1DCE-4501-B576-460D30C797B1}" srcOrd="0" destOrd="0" presId="urn:microsoft.com/office/officeart/2005/8/layout/list1"/>
    <dgm:cxn modelId="{D54C14A7-CAE8-4818-AB64-4A0740795E10}" srcId="{9CE1E570-8203-49A3-913C-08104225223B}" destId="{C4CF81B8-F9B7-4C96-8D1F-DAAAAA7F9F30}" srcOrd="2" destOrd="0" parTransId="{6C46E717-CD96-4B7F-8F40-176FDDD717B1}" sibTransId="{D92233EF-87E9-447D-B624-8C29ACAB7DA6}"/>
    <dgm:cxn modelId="{5C489CB5-7ADB-464D-ADDE-23B49A2F7C65}" type="presOf" srcId="{9CE1E570-8203-49A3-913C-08104225223B}" destId="{215ED817-6CD5-4138-A679-36B16349C83B}" srcOrd="0" destOrd="0" presId="urn:microsoft.com/office/officeart/2005/8/layout/list1"/>
    <dgm:cxn modelId="{970EA4B2-5B65-45D9-AB15-3E69DEB10B86}" type="presOf" srcId="{C4CF81B8-F9B7-4C96-8D1F-DAAAAA7F9F30}" destId="{140BA81C-B9D2-46FA-AA47-C1BE71D2292D}" srcOrd="1" destOrd="0" presId="urn:microsoft.com/office/officeart/2005/8/layout/list1"/>
    <dgm:cxn modelId="{BDEFD268-2447-4296-811D-8D0FC458D95F}" type="presOf" srcId="{C4CF81B8-F9B7-4C96-8D1F-DAAAAA7F9F30}" destId="{59E391BC-DFEE-4C69-A3C1-4DD318BE6E93}" srcOrd="0" destOrd="0" presId="urn:microsoft.com/office/officeart/2005/8/layout/list1"/>
    <dgm:cxn modelId="{8A6E1384-7857-4449-B063-2CE6E0778A2F}" srcId="{9CE1E570-8203-49A3-913C-08104225223B}" destId="{81006770-BDA9-4DFD-A775-539789042675}" srcOrd="1" destOrd="0" parTransId="{3D4F268A-102B-4280-980C-B3881E354069}" sibTransId="{BC3ABBF7-135F-4D21-A11D-1761E2FD367C}"/>
    <dgm:cxn modelId="{C95F1C1D-F05F-4821-B57B-95081D34310D}" type="presOf" srcId="{81006770-BDA9-4DFD-A775-539789042675}" destId="{061C9E25-F8DA-4E45-BB27-AD2A0109B756}" srcOrd="1" destOrd="0" presId="urn:microsoft.com/office/officeart/2005/8/layout/list1"/>
    <dgm:cxn modelId="{1847C14D-52C5-4D0B-83CC-AAA52E90EC3B}" type="presParOf" srcId="{215ED817-6CD5-4138-A679-36B16349C83B}" destId="{7D77BC43-714A-4A40-845C-7A17C4053849}" srcOrd="0" destOrd="0" presId="urn:microsoft.com/office/officeart/2005/8/layout/list1"/>
    <dgm:cxn modelId="{036D8665-E8DA-46B7-9892-95A629351242}" type="presParOf" srcId="{7D77BC43-714A-4A40-845C-7A17C4053849}" destId="{449F0D98-D30F-447E-9CC9-FDB82F1227D9}" srcOrd="0" destOrd="0" presId="urn:microsoft.com/office/officeart/2005/8/layout/list1"/>
    <dgm:cxn modelId="{BB1BBA68-C0E4-462C-A435-AD18D609230E}" type="presParOf" srcId="{7D77BC43-714A-4A40-845C-7A17C4053849}" destId="{382C1E50-B8C0-48B2-9675-BB92970F1D99}" srcOrd="1" destOrd="0" presId="urn:microsoft.com/office/officeart/2005/8/layout/list1"/>
    <dgm:cxn modelId="{44BE3195-6DC6-4204-938D-D7CA8E2BB21C}" type="presParOf" srcId="{215ED817-6CD5-4138-A679-36B16349C83B}" destId="{A6AC1530-B4BA-4A37-BC44-C78C1A0140F4}" srcOrd="1" destOrd="0" presId="urn:microsoft.com/office/officeart/2005/8/layout/list1"/>
    <dgm:cxn modelId="{ACF986DD-9E40-4E0D-9B92-232EB220AE2C}" type="presParOf" srcId="{215ED817-6CD5-4138-A679-36B16349C83B}" destId="{E5339268-9CF3-49BA-AA2E-5607DEB5096B}" srcOrd="2" destOrd="0" presId="urn:microsoft.com/office/officeart/2005/8/layout/list1"/>
    <dgm:cxn modelId="{8836330A-CDA8-40F0-8146-109B63FF95BA}" type="presParOf" srcId="{215ED817-6CD5-4138-A679-36B16349C83B}" destId="{D23801D4-2000-4E24-9D32-8D02B8178244}" srcOrd="3" destOrd="0" presId="urn:microsoft.com/office/officeart/2005/8/layout/list1"/>
    <dgm:cxn modelId="{D45B3539-B143-4653-AAE2-39ED1081C285}" type="presParOf" srcId="{215ED817-6CD5-4138-A679-36B16349C83B}" destId="{A5B816A0-E9ED-4CB7-AF8C-5EA87A23A7C1}" srcOrd="4" destOrd="0" presId="urn:microsoft.com/office/officeart/2005/8/layout/list1"/>
    <dgm:cxn modelId="{28AA3AE1-8641-4EF1-852F-ACF26816CD24}" type="presParOf" srcId="{A5B816A0-E9ED-4CB7-AF8C-5EA87A23A7C1}" destId="{B0553149-0CA6-4D5F-BED8-4E3627CD4EED}" srcOrd="0" destOrd="0" presId="urn:microsoft.com/office/officeart/2005/8/layout/list1"/>
    <dgm:cxn modelId="{1B455C74-C002-4D6F-BD8C-45E94C75F056}" type="presParOf" srcId="{A5B816A0-E9ED-4CB7-AF8C-5EA87A23A7C1}" destId="{061C9E25-F8DA-4E45-BB27-AD2A0109B756}" srcOrd="1" destOrd="0" presId="urn:microsoft.com/office/officeart/2005/8/layout/list1"/>
    <dgm:cxn modelId="{DD722F2F-C481-44D1-AFB8-247460862A16}" type="presParOf" srcId="{215ED817-6CD5-4138-A679-36B16349C83B}" destId="{CBAABA4B-D448-4ABD-B34E-B72F9F47ED43}" srcOrd="5" destOrd="0" presId="urn:microsoft.com/office/officeart/2005/8/layout/list1"/>
    <dgm:cxn modelId="{4AE142E8-A640-4AA1-B73D-A75026DD45DF}" type="presParOf" srcId="{215ED817-6CD5-4138-A679-36B16349C83B}" destId="{EC807C1C-0F4D-45AA-9600-7EBC6B539E50}" srcOrd="6" destOrd="0" presId="urn:microsoft.com/office/officeart/2005/8/layout/list1"/>
    <dgm:cxn modelId="{CDBFDFA7-5408-4F37-B59D-CCBA08796AF0}" type="presParOf" srcId="{215ED817-6CD5-4138-A679-36B16349C83B}" destId="{D6E24D61-5332-420C-9619-D80259496E1F}" srcOrd="7" destOrd="0" presId="urn:microsoft.com/office/officeart/2005/8/layout/list1"/>
    <dgm:cxn modelId="{321B66E9-1830-434B-95AD-375C1ED4963C}" type="presParOf" srcId="{215ED817-6CD5-4138-A679-36B16349C83B}" destId="{14F10AE1-98B8-490B-AFC9-CE056D956919}" srcOrd="8" destOrd="0" presId="urn:microsoft.com/office/officeart/2005/8/layout/list1"/>
    <dgm:cxn modelId="{EF0CC476-0B9D-459B-AC4D-E238B84D57C4}" type="presParOf" srcId="{14F10AE1-98B8-490B-AFC9-CE056D956919}" destId="{59E391BC-DFEE-4C69-A3C1-4DD318BE6E93}" srcOrd="0" destOrd="0" presId="urn:microsoft.com/office/officeart/2005/8/layout/list1"/>
    <dgm:cxn modelId="{EFEFEBED-678B-45EB-8A73-72228BB2B4BA}" type="presParOf" srcId="{14F10AE1-98B8-490B-AFC9-CE056D956919}" destId="{140BA81C-B9D2-46FA-AA47-C1BE71D2292D}" srcOrd="1" destOrd="0" presId="urn:microsoft.com/office/officeart/2005/8/layout/list1"/>
    <dgm:cxn modelId="{FE6CB59C-4737-4469-80C0-D288528498FC}" type="presParOf" srcId="{215ED817-6CD5-4138-A679-36B16349C83B}" destId="{36304BE7-A421-4087-B142-E2FD3000B212}" srcOrd="9" destOrd="0" presId="urn:microsoft.com/office/officeart/2005/8/layout/list1"/>
    <dgm:cxn modelId="{F0737E82-DEC2-4525-A88B-279A080D7C80}" type="presParOf" srcId="{215ED817-6CD5-4138-A679-36B16349C83B}" destId="{FA7BE85E-8F22-4C9C-ABB0-F1A9F72EE6D8}" srcOrd="10" destOrd="0" presId="urn:microsoft.com/office/officeart/2005/8/layout/list1"/>
    <dgm:cxn modelId="{B6AAC20A-34F3-4D14-9DD7-460F1408EB48}" type="presParOf" srcId="{215ED817-6CD5-4138-A679-36B16349C83B}" destId="{8F7A6DE2-74A7-4368-A887-D9EE86291553}" srcOrd="11" destOrd="0" presId="urn:microsoft.com/office/officeart/2005/8/layout/list1"/>
    <dgm:cxn modelId="{AAB4C019-8686-4B7C-94B2-D14FEBF96498}" type="presParOf" srcId="{215ED817-6CD5-4138-A679-36B16349C83B}" destId="{7F7EB43B-0019-4F06-B53A-C594EC62CC2A}" srcOrd="12" destOrd="0" presId="urn:microsoft.com/office/officeart/2005/8/layout/list1"/>
    <dgm:cxn modelId="{AB366C1E-E6E1-471C-97D1-BB39F86AD100}" type="presParOf" srcId="{7F7EB43B-0019-4F06-B53A-C594EC62CC2A}" destId="{26582ADE-1DCE-4501-B576-460D30C797B1}" srcOrd="0" destOrd="0" presId="urn:microsoft.com/office/officeart/2005/8/layout/list1"/>
    <dgm:cxn modelId="{8374C6A5-1550-466E-8A23-163FE93B6F23}" type="presParOf" srcId="{7F7EB43B-0019-4F06-B53A-C594EC62CC2A}" destId="{2AFAAB8E-4F12-47AC-A205-2EB7A4B41780}" srcOrd="1" destOrd="0" presId="urn:microsoft.com/office/officeart/2005/8/layout/list1"/>
    <dgm:cxn modelId="{E92983D4-69EB-41D1-A1B1-2A87E1B02C8F}" type="presParOf" srcId="{215ED817-6CD5-4138-A679-36B16349C83B}" destId="{390BC7EC-A662-4D0F-B7F2-D692159BDFF1}" srcOrd="13" destOrd="0" presId="urn:microsoft.com/office/officeart/2005/8/layout/list1"/>
    <dgm:cxn modelId="{28E125DD-0F28-4059-963A-BA0340E19965}" type="presParOf" srcId="{215ED817-6CD5-4138-A679-36B16349C83B}" destId="{B8A77F5C-9777-443F-B954-838BD4C1E035}"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67E4D60-8391-4CC9-959C-237E75411724}" type="doc">
      <dgm:prSet loTypeId="urn:microsoft.com/office/officeart/2008/layout/RadialCluster" loCatId="relationship" qsTypeId="urn:microsoft.com/office/officeart/2005/8/quickstyle/simple2" qsCatId="simple" csTypeId="urn:microsoft.com/office/officeart/2005/8/colors/accent5_1" csCatId="accent5" phldr="1"/>
      <dgm:spPr/>
      <dgm:t>
        <a:bodyPr/>
        <a:lstStyle/>
        <a:p>
          <a:endParaRPr lang="tr-TR"/>
        </a:p>
      </dgm:t>
    </dgm:pt>
    <dgm:pt modelId="{11A79401-6D72-4D2F-98E7-8DBC17FB95F4}">
      <dgm:prSet phldrT="[Metin]"/>
      <dgm:spPr/>
      <dgm:t>
        <a:bodyPr/>
        <a:lstStyle/>
        <a:p>
          <a:r>
            <a:rPr lang="tr-TR" dirty="0" smtClean="0"/>
            <a:t>Destek Üst Limiti</a:t>
          </a:r>
        </a:p>
      </dgm:t>
    </dgm:pt>
    <dgm:pt modelId="{B00AB598-C561-48A8-AAC0-5338377C9314}" type="parTrans" cxnId="{231B4775-4FE3-47DA-AE25-3DAD06E4C892}">
      <dgm:prSet/>
      <dgm:spPr/>
      <dgm:t>
        <a:bodyPr/>
        <a:lstStyle/>
        <a:p>
          <a:endParaRPr lang="tr-TR"/>
        </a:p>
      </dgm:t>
    </dgm:pt>
    <dgm:pt modelId="{7E2FBC00-1642-471B-8613-A2BE2ED60461}" type="sibTrans" cxnId="{231B4775-4FE3-47DA-AE25-3DAD06E4C892}">
      <dgm:prSet/>
      <dgm:spPr/>
      <dgm:t>
        <a:bodyPr/>
        <a:lstStyle/>
        <a:p>
          <a:endParaRPr lang="tr-TR"/>
        </a:p>
      </dgm:t>
    </dgm:pt>
    <dgm:pt modelId="{1D48D9F9-F053-469F-A53D-1071ED744174}">
      <dgm:prSet phldrT="[Metin]" custT="1"/>
      <dgm:spPr/>
      <dgm:t>
        <a:bodyPr/>
        <a:lstStyle/>
        <a:p>
          <a:r>
            <a:rPr lang="tr-TR" sz="1200" b="1" u="sng" dirty="0" smtClean="0"/>
            <a:t>Düşük ve </a:t>
          </a:r>
        </a:p>
        <a:p>
          <a:r>
            <a:rPr lang="tr-TR" sz="1200" b="1" u="sng" dirty="0" smtClean="0"/>
            <a:t>Orta Düşük Teknoloji</a:t>
          </a:r>
        </a:p>
        <a:p>
          <a:endParaRPr lang="tr-TR" sz="1000" b="1" dirty="0" smtClean="0"/>
        </a:p>
        <a:p>
          <a:r>
            <a:rPr lang="tr-TR" sz="1200" b="1" dirty="0" smtClean="0"/>
            <a:t>Geri Ödemesiz </a:t>
          </a:r>
          <a:r>
            <a:rPr lang="tr-TR" sz="1200" dirty="0" smtClean="0"/>
            <a:t>300 Bin TL</a:t>
          </a:r>
        </a:p>
        <a:p>
          <a:r>
            <a:rPr lang="tr-TR" sz="1200" b="1" dirty="0" smtClean="0"/>
            <a:t>Geri Ödemeli</a:t>
          </a:r>
        </a:p>
        <a:p>
          <a:r>
            <a:rPr lang="tr-TR" sz="1200" dirty="0" smtClean="0"/>
            <a:t>700 Bin TL</a:t>
          </a:r>
          <a:endParaRPr lang="tr-TR" sz="1200" dirty="0"/>
        </a:p>
      </dgm:t>
    </dgm:pt>
    <dgm:pt modelId="{B5BEDE12-DFDD-4226-B8D1-4960270D26D3}" type="parTrans" cxnId="{487433DA-C531-4DF1-BE72-A5872D20312C}">
      <dgm:prSet/>
      <dgm:spPr/>
      <dgm:t>
        <a:bodyPr/>
        <a:lstStyle/>
        <a:p>
          <a:endParaRPr lang="tr-TR"/>
        </a:p>
      </dgm:t>
    </dgm:pt>
    <dgm:pt modelId="{3A1AE940-EC51-4BAA-8407-3950DA80390F}" type="sibTrans" cxnId="{487433DA-C531-4DF1-BE72-A5872D20312C}">
      <dgm:prSet/>
      <dgm:spPr/>
      <dgm:t>
        <a:bodyPr/>
        <a:lstStyle/>
        <a:p>
          <a:endParaRPr lang="tr-TR"/>
        </a:p>
      </dgm:t>
    </dgm:pt>
    <dgm:pt modelId="{4C08E028-EB56-4EE1-9932-EBD4F83AC928}">
      <dgm:prSet phldrT="[Metin]" custT="1"/>
      <dgm:spPr/>
      <dgm:t>
        <a:bodyPr/>
        <a:lstStyle/>
        <a:p>
          <a:r>
            <a:rPr lang="tr-TR" sz="1200" b="1" u="sng" dirty="0" smtClean="0"/>
            <a:t>Cari İşlemler Hesabına Katkı Sağlayan Ürün Listesi</a:t>
          </a:r>
        </a:p>
        <a:p>
          <a:endParaRPr lang="tr-TR" sz="1000" dirty="0" smtClean="0"/>
        </a:p>
        <a:p>
          <a:r>
            <a:rPr lang="tr-TR" sz="1200" b="1" dirty="0" smtClean="0"/>
            <a:t>Geri Ödemesiz</a:t>
          </a:r>
        </a:p>
        <a:p>
          <a:r>
            <a:rPr lang="tr-TR" sz="1200" dirty="0" smtClean="0"/>
            <a:t>1 Milyon 800 Bin TL</a:t>
          </a:r>
        </a:p>
        <a:p>
          <a:r>
            <a:rPr lang="tr-TR" sz="1200" b="1" dirty="0" smtClean="0"/>
            <a:t>Geri Ödemeli</a:t>
          </a:r>
        </a:p>
        <a:p>
          <a:r>
            <a:rPr lang="tr-TR" sz="1200" dirty="0" smtClean="0"/>
            <a:t>4 Milyon 200 Bin TL</a:t>
          </a:r>
        </a:p>
        <a:p>
          <a:endParaRPr lang="tr-TR" sz="1000" dirty="0"/>
        </a:p>
      </dgm:t>
    </dgm:pt>
    <dgm:pt modelId="{946B1CE6-EFA5-4DFA-BEE5-D661CC49B4F1}" type="parTrans" cxnId="{0DD00B6C-2860-40B2-B006-DC81A185D9C1}">
      <dgm:prSet/>
      <dgm:spPr/>
      <dgm:t>
        <a:bodyPr/>
        <a:lstStyle/>
        <a:p>
          <a:endParaRPr lang="tr-TR"/>
        </a:p>
      </dgm:t>
    </dgm:pt>
    <dgm:pt modelId="{DA7C9822-D0EC-48A3-AB5C-3114C0E8843A}" type="sibTrans" cxnId="{0DD00B6C-2860-40B2-B006-DC81A185D9C1}">
      <dgm:prSet/>
      <dgm:spPr/>
      <dgm:t>
        <a:bodyPr/>
        <a:lstStyle/>
        <a:p>
          <a:endParaRPr lang="tr-TR"/>
        </a:p>
      </dgm:t>
    </dgm:pt>
    <dgm:pt modelId="{12F4A02E-1EAF-4133-9D32-E86C9435B1EC}">
      <dgm:prSet phldrT="[Metin]" custT="1"/>
      <dgm:spPr/>
      <dgm:t>
        <a:bodyPr/>
        <a:lstStyle/>
        <a:p>
          <a:r>
            <a:rPr lang="tr-TR" sz="1200" b="1" u="sng" dirty="0" smtClean="0"/>
            <a:t>Orta Yüksek ve </a:t>
          </a:r>
        </a:p>
        <a:p>
          <a:r>
            <a:rPr lang="tr-TR" sz="1200" b="1" u="sng" dirty="0" smtClean="0"/>
            <a:t>Yüksek Teknoloji</a:t>
          </a:r>
        </a:p>
        <a:p>
          <a:endParaRPr lang="tr-TR" sz="1200" dirty="0" smtClean="0"/>
        </a:p>
        <a:p>
          <a:r>
            <a:rPr lang="tr-TR" sz="1200" b="1" dirty="0" smtClean="0"/>
            <a:t>Geri Ödemesiz</a:t>
          </a:r>
        </a:p>
        <a:p>
          <a:r>
            <a:rPr lang="tr-TR" sz="1200" dirty="0" smtClean="0"/>
            <a:t>1,5 Milyon TL</a:t>
          </a:r>
        </a:p>
        <a:p>
          <a:r>
            <a:rPr lang="tr-TR" sz="1200" b="1" dirty="0" smtClean="0"/>
            <a:t>Geri Ödemeli</a:t>
          </a:r>
        </a:p>
        <a:p>
          <a:r>
            <a:rPr lang="tr-TR" sz="1200" dirty="0" smtClean="0"/>
            <a:t>3,5 Milyon TL</a:t>
          </a:r>
          <a:endParaRPr lang="tr-TR" sz="1200" dirty="0"/>
        </a:p>
      </dgm:t>
    </dgm:pt>
    <dgm:pt modelId="{AB2958AB-457C-4DF8-A932-E5AAF8865BCD}" type="parTrans" cxnId="{2BFE47AE-7879-469F-A51A-F7EB39ACD533}">
      <dgm:prSet/>
      <dgm:spPr/>
      <dgm:t>
        <a:bodyPr/>
        <a:lstStyle/>
        <a:p>
          <a:endParaRPr lang="tr-TR"/>
        </a:p>
      </dgm:t>
    </dgm:pt>
    <dgm:pt modelId="{AFC13FCB-FFAC-4A9F-A7A5-4728B3B8F8E5}" type="sibTrans" cxnId="{2BFE47AE-7879-469F-A51A-F7EB39ACD533}">
      <dgm:prSet/>
      <dgm:spPr/>
      <dgm:t>
        <a:bodyPr/>
        <a:lstStyle/>
        <a:p>
          <a:endParaRPr lang="tr-TR"/>
        </a:p>
      </dgm:t>
    </dgm:pt>
    <dgm:pt modelId="{4AB8D596-32FC-4765-AD04-9FB74D123E5A}" type="pres">
      <dgm:prSet presAssocID="{C67E4D60-8391-4CC9-959C-237E75411724}" presName="Name0" presStyleCnt="0">
        <dgm:presLayoutVars>
          <dgm:chMax val="1"/>
          <dgm:chPref val="1"/>
          <dgm:dir/>
          <dgm:animOne val="branch"/>
          <dgm:animLvl val="lvl"/>
        </dgm:presLayoutVars>
      </dgm:prSet>
      <dgm:spPr/>
      <dgm:t>
        <a:bodyPr/>
        <a:lstStyle/>
        <a:p>
          <a:endParaRPr lang="tr-TR"/>
        </a:p>
      </dgm:t>
    </dgm:pt>
    <dgm:pt modelId="{CD2D7125-4EC2-497E-8DF1-6A9331042D65}" type="pres">
      <dgm:prSet presAssocID="{11A79401-6D72-4D2F-98E7-8DBC17FB95F4}" presName="singleCycle" presStyleCnt="0"/>
      <dgm:spPr/>
    </dgm:pt>
    <dgm:pt modelId="{333D33C8-A047-4535-A6CD-0D79903F57BD}" type="pres">
      <dgm:prSet presAssocID="{11A79401-6D72-4D2F-98E7-8DBC17FB95F4}" presName="singleCenter" presStyleLbl="node1" presStyleIdx="0" presStyleCnt="4">
        <dgm:presLayoutVars>
          <dgm:chMax val="7"/>
          <dgm:chPref val="7"/>
        </dgm:presLayoutVars>
      </dgm:prSet>
      <dgm:spPr/>
      <dgm:t>
        <a:bodyPr/>
        <a:lstStyle/>
        <a:p>
          <a:endParaRPr lang="tr-TR"/>
        </a:p>
      </dgm:t>
    </dgm:pt>
    <dgm:pt modelId="{0D55377C-4484-4858-87DB-E8BAFE555417}" type="pres">
      <dgm:prSet presAssocID="{B5BEDE12-DFDD-4226-B8D1-4960270D26D3}" presName="Name56" presStyleLbl="parChTrans1D2" presStyleIdx="0" presStyleCnt="3"/>
      <dgm:spPr/>
      <dgm:t>
        <a:bodyPr/>
        <a:lstStyle/>
        <a:p>
          <a:endParaRPr lang="tr-TR"/>
        </a:p>
      </dgm:t>
    </dgm:pt>
    <dgm:pt modelId="{01D2C332-1791-4D87-B443-4C026F585367}" type="pres">
      <dgm:prSet presAssocID="{1D48D9F9-F053-469F-A53D-1071ED744174}" presName="text0" presStyleLbl="node1" presStyleIdx="1" presStyleCnt="4" custScaleX="111178" custScaleY="144250">
        <dgm:presLayoutVars>
          <dgm:bulletEnabled val="1"/>
        </dgm:presLayoutVars>
      </dgm:prSet>
      <dgm:spPr/>
      <dgm:t>
        <a:bodyPr/>
        <a:lstStyle/>
        <a:p>
          <a:endParaRPr lang="tr-TR"/>
        </a:p>
      </dgm:t>
    </dgm:pt>
    <dgm:pt modelId="{B4D17837-E22E-47AA-9875-E0609E16A460}" type="pres">
      <dgm:prSet presAssocID="{946B1CE6-EFA5-4DFA-BEE5-D661CC49B4F1}" presName="Name56" presStyleLbl="parChTrans1D2" presStyleIdx="1" presStyleCnt="3"/>
      <dgm:spPr/>
      <dgm:t>
        <a:bodyPr/>
        <a:lstStyle/>
        <a:p>
          <a:endParaRPr lang="tr-TR"/>
        </a:p>
      </dgm:t>
    </dgm:pt>
    <dgm:pt modelId="{0DBA5EF0-4302-4013-8964-21EFF1C5946C}" type="pres">
      <dgm:prSet presAssocID="{4C08E028-EB56-4EE1-9932-EBD4F83AC928}" presName="text0" presStyleLbl="node1" presStyleIdx="2" presStyleCnt="4" custScaleX="162043" custScaleY="138657">
        <dgm:presLayoutVars>
          <dgm:bulletEnabled val="1"/>
        </dgm:presLayoutVars>
      </dgm:prSet>
      <dgm:spPr/>
      <dgm:t>
        <a:bodyPr/>
        <a:lstStyle/>
        <a:p>
          <a:endParaRPr lang="tr-TR"/>
        </a:p>
      </dgm:t>
    </dgm:pt>
    <dgm:pt modelId="{C0F1E8EE-5FE4-4256-A84A-ACC4CB37F788}" type="pres">
      <dgm:prSet presAssocID="{AB2958AB-457C-4DF8-A932-E5AAF8865BCD}" presName="Name56" presStyleLbl="parChTrans1D2" presStyleIdx="2" presStyleCnt="3"/>
      <dgm:spPr/>
      <dgm:t>
        <a:bodyPr/>
        <a:lstStyle/>
        <a:p>
          <a:endParaRPr lang="tr-TR"/>
        </a:p>
      </dgm:t>
    </dgm:pt>
    <dgm:pt modelId="{44243ABB-952D-4825-99E7-F54300C90BB5}" type="pres">
      <dgm:prSet presAssocID="{12F4A02E-1EAF-4133-9D32-E86C9435B1EC}" presName="text0" presStyleLbl="node1" presStyleIdx="3" presStyleCnt="4" custScaleX="136807" custScaleY="142461">
        <dgm:presLayoutVars>
          <dgm:bulletEnabled val="1"/>
        </dgm:presLayoutVars>
      </dgm:prSet>
      <dgm:spPr/>
      <dgm:t>
        <a:bodyPr/>
        <a:lstStyle/>
        <a:p>
          <a:endParaRPr lang="tr-TR"/>
        </a:p>
      </dgm:t>
    </dgm:pt>
  </dgm:ptLst>
  <dgm:cxnLst>
    <dgm:cxn modelId="{85646B68-95F4-46B8-95C6-3D9C79214B64}" type="presOf" srcId="{C67E4D60-8391-4CC9-959C-237E75411724}" destId="{4AB8D596-32FC-4765-AD04-9FB74D123E5A}" srcOrd="0" destOrd="0" presId="urn:microsoft.com/office/officeart/2008/layout/RadialCluster"/>
    <dgm:cxn modelId="{0A4C6C4E-70AB-4801-A7F8-434BB94B4635}" type="presOf" srcId="{946B1CE6-EFA5-4DFA-BEE5-D661CC49B4F1}" destId="{B4D17837-E22E-47AA-9875-E0609E16A460}" srcOrd="0" destOrd="0" presId="urn:microsoft.com/office/officeart/2008/layout/RadialCluster"/>
    <dgm:cxn modelId="{487433DA-C531-4DF1-BE72-A5872D20312C}" srcId="{11A79401-6D72-4D2F-98E7-8DBC17FB95F4}" destId="{1D48D9F9-F053-469F-A53D-1071ED744174}" srcOrd="0" destOrd="0" parTransId="{B5BEDE12-DFDD-4226-B8D1-4960270D26D3}" sibTransId="{3A1AE940-EC51-4BAA-8407-3950DA80390F}"/>
    <dgm:cxn modelId="{5424FAAD-96A9-469A-A8BF-0AE975D6746F}" type="presOf" srcId="{12F4A02E-1EAF-4133-9D32-E86C9435B1EC}" destId="{44243ABB-952D-4825-99E7-F54300C90BB5}" srcOrd="0" destOrd="0" presId="urn:microsoft.com/office/officeart/2008/layout/RadialCluster"/>
    <dgm:cxn modelId="{E1F01F87-7F0C-4F15-839B-99DE4AC23CFB}" type="presOf" srcId="{B5BEDE12-DFDD-4226-B8D1-4960270D26D3}" destId="{0D55377C-4484-4858-87DB-E8BAFE555417}" srcOrd="0" destOrd="0" presId="urn:microsoft.com/office/officeart/2008/layout/RadialCluster"/>
    <dgm:cxn modelId="{F8B8A4D3-61F8-4B07-BB08-0FED6BBB41A9}" type="presOf" srcId="{11A79401-6D72-4D2F-98E7-8DBC17FB95F4}" destId="{333D33C8-A047-4535-A6CD-0D79903F57BD}" srcOrd="0" destOrd="0" presId="urn:microsoft.com/office/officeart/2008/layout/RadialCluster"/>
    <dgm:cxn modelId="{2BFE47AE-7879-469F-A51A-F7EB39ACD533}" srcId="{11A79401-6D72-4D2F-98E7-8DBC17FB95F4}" destId="{12F4A02E-1EAF-4133-9D32-E86C9435B1EC}" srcOrd="2" destOrd="0" parTransId="{AB2958AB-457C-4DF8-A932-E5AAF8865BCD}" sibTransId="{AFC13FCB-FFAC-4A9F-A7A5-4728B3B8F8E5}"/>
    <dgm:cxn modelId="{231B4775-4FE3-47DA-AE25-3DAD06E4C892}" srcId="{C67E4D60-8391-4CC9-959C-237E75411724}" destId="{11A79401-6D72-4D2F-98E7-8DBC17FB95F4}" srcOrd="0" destOrd="0" parTransId="{B00AB598-C561-48A8-AAC0-5338377C9314}" sibTransId="{7E2FBC00-1642-471B-8613-A2BE2ED60461}"/>
    <dgm:cxn modelId="{D0D7CE79-B4F3-4205-8C53-4EC28FC4B4E5}" type="presOf" srcId="{1D48D9F9-F053-469F-A53D-1071ED744174}" destId="{01D2C332-1791-4D87-B443-4C026F585367}" srcOrd="0" destOrd="0" presId="urn:microsoft.com/office/officeart/2008/layout/RadialCluster"/>
    <dgm:cxn modelId="{EBB18E6D-4F8B-48F4-8664-E1E121052A17}" type="presOf" srcId="{AB2958AB-457C-4DF8-A932-E5AAF8865BCD}" destId="{C0F1E8EE-5FE4-4256-A84A-ACC4CB37F788}" srcOrd="0" destOrd="0" presId="urn:microsoft.com/office/officeart/2008/layout/RadialCluster"/>
    <dgm:cxn modelId="{80DC4184-8288-454D-8894-6DDF9C6341E4}" type="presOf" srcId="{4C08E028-EB56-4EE1-9932-EBD4F83AC928}" destId="{0DBA5EF0-4302-4013-8964-21EFF1C5946C}" srcOrd="0" destOrd="0" presId="urn:microsoft.com/office/officeart/2008/layout/RadialCluster"/>
    <dgm:cxn modelId="{0DD00B6C-2860-40B2-B006-DC81A185D9C1}" srcId="{11A79401-6D72-4D2F-98E7-8DBC17FB95F4}" destId="{4C08E028-EB56-4EE1-9932-EBD4F83AC928}" srcOrd="1" destOrd="0" parTransId="{946B1CE6-EFA5-4DFA-BEE5-D661CC49B4F1}" sibTransId="{DA7C9822-D0EC-48A3-AB5C-3114C0E8843A}"/>
    <dgm:cxn modelId="{36CA2AEB-D187-4512-B422-8D0FE06A9782}" type="presParOf" srcId="{4AB8D596-32FC-4765-AD04-9FB74D123E5A}" destId="{CD2D7125-4EC2-497E-8DF1-6A9331042D65}" srcOrd="0" destOrd="0" presId="urn:microsoft.com/office/officeart/2008/layout/RadialCluster"/>
    <dgm:cxn modelId="{9529992B-67B0-44B3-8968-1875D7E0B479}" type="presParOf" srcId="{CD2D7125-4EC2-497E-8DF1-6A9331042D65}" destId="{333D33C8-A047-4535-A6CD-0D79903F57BD}" srcOrd="0" destOrd="0" presId="urn:microsoft.com/office/officeart/2008/layout/RadialCluster"/>
    <dgm:cxn modelId="{ADF0E9B1-702F-4B07-8090-CC14B3FC6778}" type="presParOf" srcId="{CD2D7125-4EC2-497E-8DF1-6A9331042D65}" destId="{0D55377C-4484-4858-87DB-E8BAFE555417}" srcOrd="1" destOrd="0" presId="urn:microsoft.com/office/officeart/2008/layout/RadialCluster"/>
    <dgm:cxn modelId="{9C6D4236-BEE9-4DBF-85FC-52C4736BF305}" type="presParOf" srcId="{CD2D7125-4EC2-497E-8DF1-6A9331042D65}" destId="{01D2C332-1791-4D87-B443-4C026F585367}" srcOrd="2" destOrd="0" presId="urn:microsoft.com/office/officeart/2008/layout/RadialCluster"/>
    <dgm:cxn modelId="{70098C90-B044-497E-84C8-A58C61D79BD5}" type="presParOf" srcId="{CD2D7125-4EC2-497E-8DF1-6A9331042D65}" destId="{B4D17837-E22E-47AA-9875-E0609E16A460}" srcOrd="3" destOrd="0" presId="urn:microsoft.com/office/officeart/2008/layout/RadialCluster"/>
    <dgm:cxn modelId="{8A167D1F-6592-4BFA-86EC-7714EEDD2375}" type="presParOf" srcId="{CD2D7125-4EC2-497E-8DF1-6A9331042D65}" destId="{0DBA5EF0-4302-4013-8964-21EFF1C5946C}" srcOrd="4" destOrd="0" presId="urn:microsoft.com/office/officeart/2008/layout/RadialCluster"/>
    <dgm:cxn modelId="{21BE4D1C-CA1E-40EA-9A79-D6E20C15BEDE}" type="presParOf" srcId="{CD2D7125-4EC2-497E-8DF1-6A9331042D65}" destId="{C0F1E8EE-5FE4-4256-A84A-ACC4CB37F788}" srcOrd="5" destOrd="0" presId="urn:microsoft.com/office/officeart/2008/layout/RadialCluster"/>
    <dgm:cxn modelId="{141FB4B6-A492-4A73-A556-3B577194C3F7}" type="presParOf" srcId="{CD2D7125-4EC2-497E-8DF1-6A9331042D65}" destId="{44243ABB-952D-4825-99E7-F54300C90BB5}" srcOrd="6" destOrd="0" presId="urn:microsoft.com/office/officeart/2008/layout/RadialCluster"/>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918478-FCEF-4F06-8BB5-ECDC4C274354}">
      <dsp:nvSpPr>
        <dsp:cNvPr id="0" name=""/>
        <dsp:cNvSpPr/>
      </dsp:nvSpPr>
      <dsp:spPr>
        <a:xfrm>
          <a:off x="2" y="0"/>
          <a:ext cx="7237617" cy="2202341"/>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tr-TR" sz="2400" b="1" u="none" kern="1200" dirty="0" smtClean="0"/>
            <a:t>Teknoloji Odaklı Sanayi Hamlesi Programı kapsamında </a:t>
          </a:r>
        </a:p>
        <a:p>
          <a:pPr lvl="0" algn="just" defTabSz="1066800" rtl="0">
            <a:lnSpc>
              <a:spcPct val="90000"/>
            </a:lnSpc>
            <a:spcBef>
              <a:spcPct val="0"/>
            </a:spcBef>
            <a:spcAft>
              <a:spcPct val="35000"/>
            </a:spcAft>
          </a:pPr>
          <a:r>
            <a:rPr lang="tr-TR" sz="2400" b="1" u="none" kern="1200" dirty="0" smtClean="0"/>
            <a:t>Türkiye’de orta-yüksek ve yüksek teknoloji seviyeli sektörlerdeki katma değeri yüksek ürünlerin ve </a:t>
          </a:r>
        </a:p>
        <a:p>
          <a:pPr lvl="0" algn="just" defTabSz="1066800" rtl="0">
            <a:lnSpc>
              <a:spcPct val="90000"/>
            </a:lnSpc>
            <a:spcBef>
              <a:spcPct val="0"/>
            </a:spcBef>
            <a:spcAft>
              <a:spcPct val="35000"/>
            </a:spcAft>
          </a:pPr>
          <a:r>
            <a:rPr lang="tr-TR" sz="2400" b="1" u="none" kern="1200" dirty="0" smtClean="0"/>
            <a:t>bu sektörlerin gelişimi için kritik önemi haiz ürünlerin üretimini artırmaya yönelik</a:t>
          </a:r>
          <a:endParaRPr lang="tr-TR" sz="2000" u="none" kern="1200" dirty="0">
            <a:solidFill>
              <a:srgbClr val="FFC000"/>
            </a:solidFill>
          </a:endParaRPr>
        </a:p>
      </dsp:txBody>
      <dsp:txXfrm>
        <a:off x="64506" y="64504"/>
        <a:ext cx="7108609" cy="2073333"/>
      </dsp:txXfrm>
    </dsp:sp>
    <dsp:sp modelId="{238E140D-9CF2-4B72-BC89-D2C9FD59427E}">
      <dsp:nvSpPr>
        <dsp:cNvPr id="0" name=""/>
        <dsp:cNvSpPr/>
      </dsp:nvSpPr>
      <dsp:spPr>
        <a:xfrm>
          <a:off x="7284361" y="769447"/>
          <a:ext cx="940148" cy="66344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just" defTabSz="1244600">
            <a:lnSpc>
              <a:spcPct val="90000"/>
            </a:lnSpc>
            <a:spcBef>
              <a:spcPct val="0"/>
            </a:spcBef>
            <a:spcAft>
              <a:spcPct val="35000"/>
            </a:spcAft>
          </a:pPr>
          <a:endParaRPr lang="tr-TR" sz="2800" kern="1200"/>
        </a:p>
      </dsp:txBody>
      <dsp:txXfrm>
        <a:off x="7284361" y="902136"/>
        <a:ext cx="741114" cy="398068"/>
      </dsp:txXfrm>
    </dsp:sp>
    <dsp:sp modelId="{58771618-7CB8-4D5A-B60D-FC784BBAD5DA}">
      <dsp:nvSpPr>
        <dsp:cNvPr id="0" name=""/>
        <dsp:cNvSpPr/>
      </dsp:nvSpPr>
      <dsp:spPr>
        <a:xfrm>
          <a:off x="8241146" y="0"/>
          <a:ext cx="2675189" cy="2202341"/>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tr-TR" sz="2400" b="1" u="none" kern="1200" dirty="0" smtClean="0"/>
            <a:t>KOBİ’lere ait yatırım projelerinin desteklenmesidir.</a:t>
          </a:r>
          <a:endParaRPr lang="tr-TR" sz="2800" b="1" u="none" kern="1200" dirty="0"/>
        </a:p>
      </dsp:txBody>
      <dsp:txXfrm>
        <a:off x="8305650" y="64504"/>
        <a:ext cx="2546181" cy="20733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AC3FBD-CF9E-41BD-91DB-72403EE4297E}">
      <dsp:nvSpPr>
        <dsp:cNvPr id="0" name=""/>
        <dsp:cNvSpPr/>
      </dsp:nvSpPr>
      <dsp:spPr>
        <a:xfrm>
          <a:off x="-5437874" y="-832482"/>
          <a:ext cx="6473585" cy="6473585"/>
        </a:xfrm>
        <a:prstGeom prst="blockArc">
          <a:avLst>
            <a:gd name="adj1" fmla="val 18900000"/>
            <a:gd name="adj2" fmla="val 2700000"/>
            <a:gd name="adj3" fmla="val 334"/>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5E63987-7293-41BE-87CC-35C9432AF470}">
      <dsp:nvSpPr>
        <dsp:cNvPr id="0" name=""/>
        <dsp:cNvSpPr/>
      </dsp:nvSpPr>
      <dsp:spPr>
        <a:xfrm>
          <a:off x="561867" y="288720"/>
          <a:ext cx="10520341" cy="964185"/>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7183" tIns="63500" rIns="63500" bIns="63500" numCol="1" spcCol="1270" anchor="ctr" anchorCtr="0">
          <a:noAutofit/>
        </a:bodyPr>
        <a:lstStyle/>
        <a:p>
          <a:pPr lvl="0" algn="l" defTabSz="1111250">
            <a:lnSpc>
              <a:spcPct val="90000"/>
            </a:lnSpc>
            <a:spcBef>
              <a:spcPct val="0"/>
            </a:spcBef>
            <a:spcAft>
              <a:spcPct val="35000"/>
            </a:spcAft>
          </a:pPr>
          <a:r>
            <a:rPr lang="tr-TR" sz="2500" kern="1200" dirty="0" smtClean="0"/>
            <a:t>Bakanlığa ön başvuruda bulunup kesin başvuru yapmaya davet edilerek Portal üzerinden KOSGEB’e yönlendirilen, </a:t>
          </a:r>
          <a:endParaRPr lang="tr-TR" sz="2500" kern="1200" dirty="0"/>
        </a:p>
      </dsp:txBody>
      <dsp:txXfrm>
        <a:off x="561867" y="288720"/>
        <a:ext cx="10520341" cy="964185"/>
      </dsp:txXfrm>
    </dsp:sp>
    <dsp:sp modelId="{0EA6DFC3-57A4-4A06-BD2C-ECBE8E2EEA09}">
      <dsp:nvSpPr>
        <dsp:cNvPr id="0" name=""/>
        <dsp:cNvSpPr/>
      </dsp:nvSpPr>
      <dsp:spPr>
        <a:xfrm>
          <a:off x="79347" y="308471"/>
          <a:ext cx="924697" cy="92469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F6E550-7900-4637-91BA-73A86F2DA42F}">
      <dsp:nvSpPr>
        <dsp:cNvPr id="0" name=""/>
        <dsp:cNvSpPr/>
      </dsp:nvSpPr>
      <dsp:spPr>
        <a:xfrm>
          <a:off x="963637" y="1487372"/>
          <a:ext cx="10140921" cy="73975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7183" tIns="63500" rIns="63500" bIns="63500" numCol="1" spcCol="1270" anchor="ctr" anchorCtr="0">
          <a:noAutofit/>
        </a:bodyPr>
        <a:lstStyle/>
        <a:p>
          <a:pPr lvl="0" algn="l" defTabSz="1111250">
            <a:lnSpc>
              <a:spcPct val="90000"/>
            </a:lnSpc>
            <a:spcBef>
              <a:spcPct val="0"/>
            </a:spcBef>
            <a:spcAft>
              <a:spcPct val="35000"/>
            </a:spcAft>
          </a:pPr>
          <a:r>
            <a:rPr lang="tr-TR" sz="2500" kern="1200" dirty="0" smtClean="0"/>
            <a:t>KOSGEB Veri </a:t>
          </a:r>
          <a:r>
            <a:rPr lang="tr-TR" sz="2500" kern="1200" dirty="0" err="1" smtClean="0"/>
            <a:t>Tabanı’nda</a:t>
          </a:r>
          <a:r>
            <a:rPr lang="tr-TR" sz="2500" kern="1200" dirty="0" smtClean="0"/>
            <a:t> kayıtlı ve aktif durumda olan,</a:t>
          </a:r>
          <a:endParaRPr lang="tr-TR" sz="2500" kern="1200" dirty="0"/>
        </a:p>
      </dsp:txBody>
      <dsp:txXfrm>
        <a:off x="963637" y="1487372"/>
        <a:ext cx="10140921" cy="739758"/>
      </dsp:txXfrm>
    </dsp:sp>
    <dsp:sp modelId="{9547A633-2BA7-4CF6-B46B-B072721D1678}">
      <dsp:nvSpPr>
        <dsp:cNvPr id="0" name=""/>
        <dsp:cNvSpPr/>
      </dsp:nvSpPr>
      <dsp:spPr>
        <a:xfrm>
          <a:off x="456585" y="1308909"/>
          <a:ext cx="924697" cy="92469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2710EEA-0E58-4E41-BE23-6DF954D5BBBF}">
      <dsp:nvSpPr>
        <dsp:cNvPr id="0" name=""/>
        <dsp:cNvSpPr/>
      </dsp:nvSpPr>
      <dsp:spPr>
        <a:xfrm>
          <a:off x="965816" y="2507417"/>
          <a:ext cx="10136562" cy="73975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7183" tIns="63500" rIns="63500" bIns="63500" numCol="1" spcCol="1270" anchor="ctr" anchorCtr="0">
          <a:noAutofit/>
        </a:bodyPr>
        <a:lstStyle/>
        <a:p>
          <a:pPr lvl="0" algn="l" defTabSz="1111250">
            <a:lnSpc>
              <a:spcPct val="90000"/>
            </a:lnSpc>
            <a:spcBef>
              <a:spcPct val="0"/>
            </a:spcBef>
            <a:spcAft>
              <a:spcPct val="35000"/>
            </a:spcAft>
          </a:pPr>
          <a:r>
            <a:rPr lang="tr-TR" sz="2500" kern="1200" dirty="0" smtClean="0"/>
            <a:t>KOBİ Bilgi Beyannamesi güncel olan,</a:t>
          </a:r>
          <a:endParaRPr lang="tr-TR" sz="2500" kern="1200" dirty="0"/>
        </a:p>
      </dsp:txBody>
      <dsp:txXfrm>
        <a:off x="965816" y="2507417"/>
        <a:ext cx="10136562" cy="739758"/>
      </dsp:txXfrm>
    </dsp:sp>
    <dsp:sp modelId="{02FEF9F5-7E97-47F8-991F-3ACC38A7EF34}">
      <dsp:nvSpPr>
        <dsp:cNvPr id="0" name=""/>
        <dsp:cNvSpPr/>
      </dsp:nvSpPr>
      <dsp:spPr>
        <a:xfrm>
          <a:off x="503467" y="2407069"/>
          <a:ext cx="924697" cy="92469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F7988E-075F-48A5-BFBD-CA34F47C0635}">
      <dsp:nvSpPr>
        <dsp:cNvPr id="0" name=""/>
        <dsp:cNvSpPr/>
      </dsp:nvSpPr>
      <dsp:spPr>
        <a:xfrm>
          <a:off x="541696" y="3581923"/>
          <a:ext cx="10560682" cy="73975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7183" tIns="63500" rIns="63500" bIns="63500" numCol="1" spcCol="1270" anchor="ctr" anchorCtr="0">
          <a:noAutofit/>
        </a:bodyPr>
        <a:lstStyle/>
        <a:p>
          <a:pPr lvl="0" algn="l" defTabSz="1111250">
            <a:lnSpc>
              <a:spcPct val="90000"/>
            </a:lnSpc>
            <a:spcBef>
              <a:spcPct val="0"/>
            </a:spcBef>
            <a:spcAft>
              <a:spcPct val="35000"/>
            </a:spcAft>
          </a:pPr>
          <a:r>
            <a:rPr lang="tr-TR" sz="2500" kern="1200" dirty="0" smtClean="0"/>
            <a:t>Türkiye’de yerleşik sermaye şirketi statüsünde olan,</a:t>
          </a:r>
          <a:endParaRPr lang="tr-TR" sz="2500" kern="1200" dirty="0"/>
        </a:p>
      </dsp:txBody>
      <dsp:txXfrm>
        <a:off x="541696" y="3581923"/>
        <a:ext cx="10560682" cy="739758"/>
      </dsp:txXfrm>
    </dsp:sp>
    <dsp:sp modelId="{8EAF64B9-3E09-4B57-BB23-BF31D37DE8D2}">
      <dsp:nvSpPr>
        <dsp:cNvPr id="0" name=""/>
        <dsp:cNvSpPr/>
      </dsp:nvSpPr>
      <dsp:spPr>
        <a:xfrm>
          <a:off x="79347" y="3544195"/>
          <a:ext cx="924697" cy="92469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65DC7C-0B91-4C52-80EF-FAF420B792FD}">
      <dsp:nvSpPr>
        <dsp:cNvPr id="0" name=""/>
        <dsp:cNvSpPr/>
      </dsp:nvSpPr>
      <dsp:spPr>
        <a:xfrm>
          <a:off x="0" y="5382884"/>
          <a:ext cx="9917416" cy="0"/>
        </a:xfrm>
        <a:prstGeom prst="line">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F325E02-DDFE-4BB8-9855-4C002C8F7D12}">
      <dsp:nvSpPr>
        <dsp:cNvPr id="0" name=""/>
        <dsp:cNvSpPr/>
      </dsp:nvSpPr>
      <dsp:spPr>
        <a:xfrm>
          <a:off x="0" y="3559710"/>
          <a:ext cx="9917416" cy="0"/>
        </a:xfrm>
        <a:prstGeom prst="line">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218F42-3EE3-4E3A-9322-3A839340BA79}">
      <dsp:nvSpPr>
        <dsp:cNvPr id="0" name=""/>
        <dsp:cNvSpPr/>
      </dsp:nvSpPr>
      <dsp:spPr>
        <a:xfrm>
          <a:off x="0" y="1736537"/>
          <a:ext cx="9917416" cy="0"/>
        </a:xfrm>
        <a:prstGeom prst="line">
          <a:avLst/>
        </a:prstGeom>
        <a:noFill/>
        <a:ln w="25400"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B8DA3C-D412-4579-812A-8273BBDEADF9}">
      <dsp:nvSpPr>
        <dsp:cNvPr id="0" name=""/>
        <dsp:cNvSpPr/>
      </dsp:nvSpPr>
      <dsp:spPr>
        <a:xfrm>
          <a:off x="2578528" y="181"/>
          <a:ext cx="7338887" cy="1736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tr-TR" sz="2400" b="1" kern="1200" dirty="0" smtClean="0"/>
            <a:t>124</a:t>
          </a:r>
          <a:endParaRPr lang="tr-TR" sz="2400" b="1" kern="1200" dirty="0"/>
        </a:p>
      </dsp:txBody>
      <dsp:txXfrm>
        <a:off x="2578528" y="181"/>
        <a:ext cx="7338887" cy="1736355"/>
      </dsp:txXfrm>
    </dsp:sp>
    <dsp:sp modelId="{90D815E0-EC3F-4CD5-AF49-49F2CCAB85B8}">
      <dsp:nvSpPr>
        <dsp:cNvPr id="0" name=""/>
        <dsp:cNvSpPr/>
      </dsp:nvSpPr>
      <dsp:spPr>
        <a:xfrm>
          <a:off x="0" y="181"/>
          <a:ext cx="2578528" cy="1736355"/>
        </a:xfrm>
        <a:prstGeom prst="round2SameRect">
          <a:avLst>
            <a:gd name="adj1" fmla="val 16670"/>
            <a:gd name="adj2" fmla="val 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a:lnSpc>
              <a:spcPct val="90000"/>
            </a:lnSpc>
            <a:spcBef>
              <a:spcPct val="0"/>
            </a:spcBef>
            <a:spcAft>
              <a:spcPct val="35000"/>
            </a:spcAft>
          </a:pPr>
          <a:r>
            <a:rPr lang="tr-TR" sz="1800" kern="1200" dirty="0" smtClean="0"/>
            <a:t>Bakanlık tarafından kesin başvuru yapmaya davet edilerek KOSGEB’e yönlendirilen İşletme sayısı</a:t>
          </a:r>
          <a:endParaRPr lang="tr-TR" sz="1800" kern="1200" dirty="0"/>
        </a:p>
      </dsp:txBody>
      <dsp:txXfrm>
        <a:off x="84777" y="84958"/>
        <a:ext cx="2408974" cy="1651578"/>
      </dsp:txXfrm>
    </dsp:sp>
    <dsp:sp modelId="{D63FDD98-E1A3-4145-88DC-94B06B432997}">
      <dsp:nvSpPr>
        <dsp:cNvPr id="0" name=""/>
        <dsp:cNvSpPr/>
      </dsp:nvSpPr>
      <dsp:spPr>
        <a:xfrm>
          <a:off x="2578528" y="1823355"/>
          <a:ext cx="7338887" cy="1736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tr-TR" sz="2400" b="1" kern="1200" dirty="0" smtClean="0">
              <a:solidFill>
                <a:schemeClr val="tx1"/>
              </a:solidFill>
            </a:rPr>
            <a:t>82</a:t>
          </a:r>
          <a:endParaRPr lang="tr-TR" sz="2400" b="1" kern="1200" dirty="0">
            <a:solidFill>
              <a:schemeClr val="tx1"/>
            </a:solidFill>
          </a:endParaRPr>
        </a:p>
      </dsp:txBody>
      <dsp:txXfrm>
        <a:off x="2578528" y="1823355"/>
        <a:ext cx="7338887" cy="1736355"/>
      </dsp:txXfrm>
    </dsp:sp>
    <dsp:sp modelId="{E124EA48-D9D1-4CAC-B025-15B3BCA95C5F}">
      <dsp:nvSpPr>
        <dsp:cNvPr id="0" name=""/>
        <dsp:cNvSpPr/>
      </dsp:nvSpPr>
      <dsp:spPr>
        <a:xfrm>
          <a:off x="0" y="1823355"/>
          <a:ext cx="2578528" cy="1736355"/>
        </a:xfrm>
        <a:prstGeom prst="round2SameRect">
          <a:avLst>
            <a:gd name="adj1" fmla="val 16670"/>
            <a:gd name="adj2" fmla="val 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a:lnSpc>
              <a:spcPct val="90000"/>
            </a:lnSpc>
            <a:spcBef>
              <a:spcPct val="0"/>
            </a:spcBef>
            <a:spcAft>
              <a:spcPct val="35000"/>
            </a:spcAft>
          </a:pPr>
          <a:r>
            <a:rPr lang="tr-TR" sz="1800" kern="1200" dirty="0" smtClean="0"/>
            <a:t>Stratejik Ürün Destek Programı Başvuru Formunu taslak olarak dolduran işletme sayısı</a:t>
          </a:r>
          <a:endParaRPr lang="tr-TR" sz="1800" kern="1200" dirty="0"/>
        </a:p>
      </dsp:txBody>
      <dsp:txXfrm>
        <a:off x="84777" y="1908132"/>
        <a:ext cx="2408974" cy="1651578"/>
      </dsp:txXfrm>
    </dsp:sp>
    <dsp:sp modelId="{2EB1DF9C-ABED-425F-BF2D-376A9CABF73C}">
      <dsp:nvSpPr>
        <dsp:cNvPr id="0" name=""/>
        <dsp:cNvSpPr/>
      </dsp:nvSpPr>
      <dsp:spPr>
        <a:xfrm>
          <a:off x="2578528" y="3646528"/>
          <a:ext cx="7338887" cy="1736355"/>
        </a:xfrm>
        <a:prstGeom prst="rect">
          <a:avLst/>
        </a:prstGeom>
        <a:noFill/>
        <a:ln>
          <a:noFill/>
        </a:ln>
        <a:effectLst/>
      </dsp:spPr>
      <dsp:style>
        <a:lnRef idx="0">
          <a:scrgbClr r="0" g="0" b="0"/>
        </a:lnRef>
        <a:fillRef idx="0">
          <a:scrgbClr r="0" g="0" b="0"/>
        </a:fillRef>
        <a:effectRef idx="0">
          <a:scrgbClr r="0" g="0" b="0"/>
        </a:effectRef>
        <a:fontRef idx="minor"/>
      </dsp:style>
    </dsp:sp>
    <dsp:sp modelId="{89F5AF2C-B637-496B-8441-0057B4767E5B}">
      <dsp:nvSpPr>
        <dsp:cNvPr id="0" name=""/>
        <dsp:cNvSpPr/>
      </dsp:nvSpPr>
      <dsp:spPr>
        <a:xfrm>
          <a:off x="0" y="3646528"/>
          <a:ext cx="2578528" cy="1736355"/>
        </a:xfrm>
        <a:prstGeom prst="round2SameRect">
          <a:avLst>
            <a:gd name="adj1" fmla="val 16670"/>
            <a:gd name="adj2" fmla="val 0"/>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a:lnSpc>
              <a:spcPct val="90000"/>
            </a:lnSpc>
            <a:spcBef>
              <a:spcPct val="0"/>
            </a:spcBef>
            <a:spcAft>
              <a:spcPct val="35000"/>
            </a:spcAft>
          </a:pPr>
          <a:r>
            <a:rPr lang="tr-TR" sz="1800" kern="1200" dirty="0" smtClean="0"/>
            <a:t>Başvurusunu onaylayan işletme sayısı</a:t>
          </a:r>
          <a:endParaRPr lang="tr-TR" sz="1800" kern="1200" dirty="0"/>
        </a:p>
      </dsp:txBody>
      <dsp:txXfrm>
        <a:off x="84777" y="3731305"/>
        <a:ext cx="2408974" cy="16515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339268-9CF3-49BA-AA2E-5607DEB5096B}">
      <dsp:nvSpPr>
        <dsp:cNvPr id="0" name=""/>
        <dsp:cNvSpPr/>
      </dsp:nvSpPr>
      <dsp:spPr>
        <a:xfrm>
          <a:off x="0" y="573107"/>
          <a:ext cx="7227149" cy="403200"/>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382C1E50-B8C0-48B2-9675-BB92970F1D99}">
      <dsp:nvSpPr>
        <dsp:cNvPr id="0" name=""/>
        <dsp:cNvSpPr/>
      </dsp:nvSpPr>
      <dsp:spPr>
        <a:xfrm>
          <a:off x="361004" y="26358"/>
          <a:ext cx="6775023" cy="782908"/>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1218" tIns="0" rIns="191218" bIns="0" numCol="1" spcCol="1270" anchor="ctr" anchorCtr="0">
          <a:noAutofit/>
        </a:bodyPr>
        <a:lstStyle/>
        <a:p>
          <a:pPr lvl="0" algn="l" defTabSz="803211">
            <a:lnSpc>
              <a:spcPct val="90000"/>
            </a:lnSpc>
            <a:spcBef>
              <a:spcPct val="0"/>
            </a:spcBef>
            <a:spcAft>
              <a:spcPct val="35000"/>
            </a:spcAft>
          </a:pPr>
          <a:r>
            <a:rPr kumimoji="0" lang="tr-TR" sz="1807" b="1" i="0" u="none" strike="noStrike" kern="1200" cap="none" spc="0" normalizeH="0" baseline="0" dirty="0" smtClean="0">
              <a:ln>
                <a:noFill/>
              </a:ln>
              <a:solidFill>
                <a:srgbClr val="002060"/>
              </a:solidFill>
              <a:effectLst/>
              <a:uLnTx/>
              <a:uFillTx/>
              <a:latin typeface="Calibri" pitchFamily="34" charset="0"/>
              <a:ea typeface="ヒラギノ角ゴ Pro W3" pitchFamily="1" charset="-128"/>
              <a:cs typeface="+mn-cs"/>
            </a:rPr>
            <a:t>KOSGEB ve diğer kamu kurum ve kuruluşları, kanunla kurulan vakıflar veya uluslararası fonlar tarafından desteklenen ar-ge ve yenilik projeleri sonucunda ortaya çıkan</a:t>
          </a:r>
          <a:endParaRPr kumimoji="0" lang="tr-TR" sz="1807" b="1" i="0" u="none" strike="noStrike" kern="1200" cap="none" spc="0" normalizeH="0" baseline="0" dirty="0">
            <a:ln>
              <a:noFill/>
            </a:ln>
            <a:solidFill>
              <a:srgbClr val="002060"/>
            </a:solidFill>
            <a:effectLst/>
            <a:uLnTx/>
            <a:uFillTx/>
            <a:latin typeface="Calibri" pitchFamily="34" charset="0"/>
            <a:ea typeface="ヒラギノ角ゴ Pro W3" pitchFamily="1" charset="-128"/>
            <a:cs typeface="+mn-cs"/>
          </a:endParaRPr>
        </a:p>
      </dsp:txBody>
      <dsp:txXfrm>
        <a:off x="399222" y="64576"/>
        <a:ext cx="6698587" cy="706472"/>
      </dsp:txXfrm>
    </dsp:sp>
    <dsp:sp modelId="{EC807C1C-0F4D-45AA-9600-7EBC6B539E50}">
      <dsp:nvSpPr>
        <dsp:cNvPr id="0" name=""/>
        <dsp:cNvSpPr/>
      </dsp:nvSpPr>
      <dsp:spPr>
        <a:xfrm>
          <a:off x="0" y="1298867"/>
          <a:ext cx="7227149" cy="403200"/>
        </a:xfrm>
        <a:prstGeom prst="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61C9E25-F8DA-4E45-BB27-AD2A0109B756}">
      <dsp:nvSpPr>
        <dsp:cNvPr id="0" name=""/>
        <dsp:cNvSpPr/>
      </dsp:nvSpPr>
      <dsp:spPr>
        <a:xfrm>
          <a:off x="361357" y="1062707"/>
          <a:ext cx="6781645" cy="472320"/>
        </a:xfrm>
        <a:prstGeom prst="roundRect">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1218" tIns="0" rIns="191218" bIns="0" numCol="1" spcCol="1270" anchor="ctr" anchorCtr="0">
          <a:noAutofit/>
        </a:bodyPr>
        <a:lstStyle/>
        <a:p>
          <a:pPr lvl="0" algn="l" defTabSz="803211">
            <a:lnSpc>
              <a:spcPct val="90000"/>
            </a:lnSpc>
            <a:spcBef>
              <a:spcPct val="0"/>
            </a:spcBef>
            <a:spcAft>
              <a:spcPct val="35000"/>
            </a:spcAft>
          </a:pPr>
          <a:r>
            <a:rPr kumimoji="0" lang="tr-TR" sz="1807" b="1" i="0" u="none" strike="noStrike" kern="1200" cap="none" spc="0" normalizeH="0" baseline="0" dirty="0" smtClean="0">
              <a:ln>
                <a:noFill/>
              </a:ln>
              <a:solidFill>
                <a:srgbClr val="002060"/>
              </a:solidFill>
              <a:effectLst/>
              <a:uLnTx/>
              <a:uFillTx/>
              <a:latin typeface="Calibri" pitchFamily="34" charset="0"/>
              <a:ea typeface="ヒラギノ角ゴ Pro W3" pitchFamily="1" charset="-128"/>
              <a:cs typeface="+mn-cs"/>
            </a:rPr>
            <a:t>Patent belgesi ile koruma altına alınan</a:t>
          </a:r>
          <a:endParaRPr kumimoji="0" lang="tr-TR" sz="1807" b="1" i="0" u="none" strike="noStrike" kern="1200" cap="none" spc="0" normalizeH="0" baseline="0" dirty="0">
            <a:ln>
              <a:noFill/>
            </a:ln>
            <a:solidFill>
              <a:srgbClr val="002060"/>
            </a:solidFill>
            <a:effectLst/>
            <a:uLnTx/>
            <a:uFillTx/>
            <a:latin typeface="Calibri" pitchFamily="34" charset="0"/>
            <a:ea typeface="ヒラギノ角ゴ Pro W3" pitchFamily="1" charset="-128"/>
            <a:cs typeface="+mn-cs"/>
          </a:endParaRPr>
        </a:p>
      </dsp:txBody>
      <dsp:txXfrm>
        <a:off x="384414" y="1085764"/>
        <a:ext cx="6735531" cy="426206"/>
      </dsp:txXfrm>
    </dsp:sp>
    <dsp:sp modelId="{FA7BE85E-8F22-4C9C-ABB0-F1A9F72EE6D8}">
      <dsp:nvSpPr>
        <dsp:cNvPr id="0" name=""/>
        <dsp:cNvSpPr/>
      </dsp:nvSpPr>
      <dsp:spPr>
        <a:xfrm>
          <a:off x="0" y="2024627"/>
          <a:ext cx="7227149" cy="403200"/>
        </a:xfrm>
        <a:prstGeom prst="rect">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140BA81C-B9D2-46FA-AA47-C1BE71D2292D}">
      <dsp:nvSpPr>
        <dsp:cNvPr id="0" name=""/>
        <dsp:cNvSpPr/>
      </dsp:nvSpPr>
      <dsp:spPr>
        <a:xfrm>
          <a:off x="361357" y="1788467"/>
          <a:ext cx="6781645" cy="472320"/>
        </a:xfrm>
        <a:prstGeom prst="roundRect">
          <a:avLst/>
        </a:prstGeom>
        <a:gradFill rotWithShape="0">
          <a:gsLst>
            <a:gs pos="0">
              <a:schemeClr val="accent4">
                <a:hueOff val="0"/>
                <a:satOff val="0"/>
                <a:lumOff val="0"/>
                <a:alphaOff val="0"/>
                <a:tint val="50000"/>
                <a:satMod val="300000"/>
              </a:schemeClr>
            </a:gs>
            <a:gs pos="35000">
              <a:schemeClr val="accent4">
                <a:hueOff val="0"/>
                <a:satOff val="0"/>
                <a:lumOff val="0"/>
                <a:alphaOff val="0"/>
                <a:tint val="37000"/>
                <a:satMod val="300000"/>
              </a:schemeClr>
            </a:gs>
            <a:gs pos="100000">
              <a:schemeClr val="accent4">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1218" tIns="0" rIns="191218" bIns="0" numCol="1" spcCol="1270" anchor="ctr" anchorCtr="0">
          <a:noAutofit/>
        </a:bodyPr>
        <a:lstStyle/>
        <a:p>
          <a:pPr lvl="0" algn="l" defTabSz="803211">
            <a:lnSpc>
              <a:spcPct val="90000"/>
            </a:lnSpc>
            <a:spcBef>
              <a:spcPct val="0"/>
            </a:spcBef>
            <a:spcAft>
              <a:spcPct val="35000"/>
            </a:spcAft>
          </a:pPr>
          <a:r>
            <a:rPr kumimoji="0" lang="tr-TR" sz="1807" b="1" i="0" u="none" strike="noStrike" kern="1200" cap="none" spc="0" normalizeH="0" baseline="0" dirty="0" smtClean="0">
              <a:ln>
                <a:noFill/>
              </a:ln>
              <a:solidFill>
                <a:srgbClr val="002060"/>
              </a:solidFill>
              <a:effectLst/>
              <a:uLnTx/>
              <a:uFillTx/>
              <a:latin typeface="Calibri" pitchFamily="34" charset="0"/>
              <a:ea typeface="ヒラギノ角ゴ Pro W3" pitchFamily="1" charset="-128"/>
              <a:cs typeface="+mn-cs"/>
            </a:rPr>
            <a:t>Doktora çalışması neticesinde ortaya çıkan</a:t>
          </a:r>
          <a:endParaRPr kumimoji="0" lang="tr-TR" sz="1807" b="1" i="0" u="none" strike="noStrike" kern="1200" cap="none" spc="0" normalizeH="0" baseline="0" dirty="0">
            <a:ln>
              <a:noFill/>
            </a:ln>
            <a:solidFill>
              <a:srgbClr val="002060"/>
            </a:solidFill>
            <a:effectLst/>
            <a:uLnTx/>
            <a:uFillTx/>
            <a:latin typeface="Calibri" pitchFamily="34" charset="0"/>
            <a:ea typeface="ヒラギノ角ゴ Pro W3" pitchFamily="1" charset="-128"/>
            <a:cs typeface="+mn-cs"/>
          </a:endParaRPr>
        </a:p>
      </dsp:txBody>
      <dsp:txXfrm>
        <a:off x="384414" y="1811524"/>
        <a:ext cx="6735531" cy="426206"/>
      </dsp:txXfrm>
    </dsp:sp>
    <dsp:sp modelId="{B8A77F5C-9777-443F-B954-838BD4C1E035}">
      <dsp:nvSpPr>
        <dsp:cNvPr id="0" name=""/>
        <dsp:cNvSpPr/>
      </dsp:nvSpPr>
      <dsp:spPr>
        <a:xfrm>
          <a:off x="0" y="2750387"/>
          <a:ext cx="7227149" cy="403200"/>
        </a:xfrm>
        <a:prstGeom prst="rect">
          <a:avLst/>
        </a:prstGeom>
        <a:solidFill>
          <a:schemeClr val="lt1">
            <a:alpha val="90000"/>
            <a:hueOff val="0"/>
            <a:satOff val="0"/>
            <a:lumOff val="0"/>
            <a:alphaOff val="0"/>
          </a:schemeClr>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AFAAB8E-4F12-47AC-A205-2EB7A4B41780}">
      <dsp:nvSpPr>
        <dsp:cNvPr id="0" name=""/>
        <dsp:cNvSpPr/>
      </dsp:nvSpPr>
      <dsp:spPr>
        <a:xfrm>
          <a:off x="361357" y="2514227"/>
          <a:ext cx="6781645" cy="472320"/>
        </a:xfrm>
        <a:prstGeom prst="roundRect">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1218" tIns="0" rIns="191218" bIns="0" numCol="1" spcCol="1270" anchor="ctr" anchorCtr="0">
          <a:noAutofit/>
        </a:bodyPr>
        <a:lstStyle/>
        <a:p>
          <a:pPr lvl="0" algn="l" defTabSz="803211">
            <a:lnSpc>
              <a:spcPct val="90000"/>
            </a:lnSpc>
            <a:spcBef>
              <a:spcPct val="0"/>
            </a:spcBef>
            <a:spcAft>
              <a:spcPct val="35000"/>
            </a:spcAft>
          </a:pPr>
          <a:r>
            <a:rPr kumimoji="0" lang="tr-TR" sz="1807" b="1" i="0" u="none" strike="noStrike" kern="1200" cap="none" spc="0" normalizeH="0" baseline="0" dirty="0" smtClean="0">
              <a:ln>
                <a:noFill/>
              </a:ln>
              <a:solidFill>
                <a:srgbClr val="002060"/>
              </a:solidFill>
              <a:effectLst/>
              <a:uLnTx/>
              <a:uFillTx/>
              <a:latin typeface="Calibri" pitchFamily="34" charset="0"/>
              <a:ea typeface="ヒラギノ角ゴ Pro W3" pitchFamily="1" charset="-128"/>
              <a:cs typeface="+mn-cs"/>
            </a:rPr>
            <a:t>Teknolojik Ürün (TÜR) Deneyim belgesi alan</a:t>
          </a:r>
          <a:endParaRPr kumimoji="0" lang="tr-TR" sz="1807" b="1" i="0" u="none" strike="noStrike" kern="1200" cap="none" spc="0" normalizeH="0" baseline="0" dirty="0">
            <a:ln>
              <a:noFill/>
            </a:ln>
            <a:solidFill>
              <a:srgbClr val="002060"/>
            </a:solidFill>
            <a:effectLst/>
            <a:uLnTx/>
            <a:uFillTx/>
            <a:latin typeface="Calibri" pitchFamily="34" charset="0"/>
            <a:ea typeface="ヒラギノ角ゴ Pro W3" pitchFamily="1" charset="-128"/>
            <a:cs typeface="+mn-cs"/>
          </a:endParaRPr>
        </a:p>
      </dsp:txBody>
      <dsp:txXfrm>
        <a:off x="384414" y="2537284"/>
        <a:ext cx="6735531" cy="4262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D33C8-A047-4535-A6CD-0D79903F57BD}">
      <dsp:nvSpPr>
        <dsp:cNvPr id="0" name=""/>
        <dsp:cNvSpPr/>
      </dsp:nvSpPr>
      <dsp:spPr>
        <a:xfrm>
          <a:off x="4356911" y="2781493"/>
          <a:ext cx="1790148" cy="1790148"/>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6360" tIns="86360" rIns="86360" bIns="86360" numCol="1" spcCol="1270" anchor="ctr" anchorCtr="0">
          <a:noAutofit/>
        </a:bodyPr>
        <a:lstStyle/>
        <a:p>
          <a:pPr lvl="0" algn="ctr" defTabSz="1511300">
            <a:lnSpc>
              <a:spcPct val="90000"/>
            </a:lnSpc>
            <a:spcBef>
              <a:spcPct val="0"/>
            </a:spcBef>
            <a:spcAft>
              <a:spcPct val="35000"/>
            </a:spcAft>
          </a:pPr>
          <a:r>
            <a:rPr lang="tr-TR" sz="3400" kern="1200" dirty="0" smtClean="0"/>
            <a:t>Destek Üst Limiti</a:t>
          </a:r>
        </a:p>
      </dsp:txBody>
      <dsp:txXfrm>
        <a:off x="4444299" y="2868881"/>
        <a:ext cx="1615372" cy="1615372"/>
      </dsp:txXfrm>
    </dsp:sp>
    <dsp:sp modelId="{0D55377C-4484-4858-87DB-E8BAFE555417}">
      <dsp:nvSpPr>
        <dsp:cNvPr id="0" name=""/>
        <dsp:cNvSpPr/>
      </dsp:nvSpPr>
      <dsp:spPr>
        <a:xfrm rot="16200000">
          <a:off x="4756812" y="2286319"/>
          <a:ext cx="990347" cy="0"/>
        </a:xfrm>
        <a:custGeom>
          <a:avLst/>
          <a:gdLst/>
          <a:ahLst/>
          <a:cxnLst/>
          <a:rect l="0" t="0" r="0" b="0"/>
          <a:pathLst>
            <a:path>
              <a:moveTo>
                <a:pt x="0" y="0"/>
              </a:moveTo>
              <a:lnTo>
                <a:pt x="990347" y="0"/>
              </a:lnTo>
            </a:path>
          </a:pathLst>
        </a:custGeom>
        <a:noFill/>
        <a:ln w="25400" cap="flat" cmpd="sng" algn="ctr">
          <a:solidFill>
            <a:schemeClr val="accent5">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1D2C332-1791-4D87-B443-4C026F585367}">
      <dsp:nvSpPr>
        <dsp:cNvPr id="0" name=""/>
        <dsp:cNvSpPr/>
      </dsp:nvSpPr>
      <dsp:spPr>
        <a:xfrm>
          <a:off x="4585252" y="61011"/>
          <a:ext cx="1333468" cy="1730134"/>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533400">
            <a:lnSpc>
              <a:spcPct val="90000"/>
            </a:lnSpc>
            <a:spcBef>
              <a:spcPct val="0"/>
            </a:spcBef>
            <a:spcAft>
              <a:spcPct val="35000"/>
            </a:spcAft>
          </a:pPr>
          <a:r>
            <a:rPr lang="tr-TR" sz="1200" b="1" u="sng" kern="1200" dirty="0" smtClean="0"/>
            <a:t>Düşük ve </a:t>
          </a:r>
        </a:p>
        <a:p>
          <a:pPr lvl="0" algn="ctr" defTabSz="533400">
            <a:lnSpc>
              <a:spcPct val="90000"/>
            </a:lnSpc>
            <a:spcBef>
              <a:spcPct val="0"/>
            </a:spcBef>
            <a:spcAft>
              <a:spcPct val="35000"/>
            </a:spcAft>
          </a:pPr>
          <a:r>
            <a:rPr lang="tr-TR" sz="1200" b="1" u="sng" kern="1200" dirty="0" smtClean="0"/>
            <a:t>Orta Düşük Teknoloji</a:t>
          </a:r>
        </a:p>
        <a:p>
          <a:pPr lvl="0" algn="ctr" defTabSz="533400">
            <a:lnSpc>
              <a:spcPct val="90000"/>
            </a:lnSpc>
            <a:spcBef>
              <a:spcPct val="0"/>
            </a:spcBef>
            <a:spcAft>
              <a:spcPct val="35000"/>
            </a:spcAft>
          </a:pPr>
          <a:endParaRPr lang="tr-TR" sz="1000" b="1" kern="1200" dirty="0" smtClean="0"/>
        </a:p>
        <a:p>
          <a:pPr lvl="0" algn="ctr" defTabSz="533400">
            <a:lnSpc>
              <a:spcPct val="90000"/>
            </a:lnSpc>
            <a:spcBef>
              <a:spcPct val="0"/>
            </a:spcBef>
            <a:spcAft>
              <a:spcPct val="35000"/>
            </a:spcAft>
          </a:pPr>
          <a:r>
            <a:rPr lang="tr-TR" sz="1200" b="1" kern="1200" dirty="0" smtClean="0"/>
            <a:t>Geri Ödemesiz </a:t>
          </a:r>
          <a:r>
            <a:rPr lang="tr-TR" sz="1200" kern="1200" dirty="0" smtClean="0"/>
            <a:t>300 Bin TL</a:t>
          </a:r>
        </a:p>
        <a:p>
          <a:pPr lvl="0" algn="ctr" defTabSz="533400">
            <a:lnSpc>
              <a:spcPct val="90000"/>
            </a:lnSpc>
            <a:spcBef>
              <a:spcPct val="0"/>
            </a:spcBef>
            <a:spcAft>
              <a:spcPct val="35000"/>
            </a:spcAft>
          </a:pPr>
          <a:r>
            <a:rPr lang="tr-TR" sz="1200" b="1" kern="1200" dirty="0" smtClean="0"/>
            <a:t>Geri Ödemeli</a:t>
          </a:r>
        </a:p>
        <a:p>
          <a:pPr lvl="0" algn="ctr" defTabSz="533400">
            <a:lnSpc>
              <a:spcPct val="90000"/>
            </a:lnSpc>
            <a:spcBef>
              <a:spcPct val="0"/>
            </a:spcBef>
            <a:spcAft>
              <a:spcPct val="35000"/>
            </a:spcAft>
          </a:pPr>
          <a:r>
            <a:rPr lang="tr-TR" sz="1200" kern="1200" dirty="0" smtClean="0"/>
            <a:t>700 Bin TL</a:t>
          </a:r>
          <a:endParaRPr lang="tr-TR" sz="1200" kern="1200" dirty="0"/>
        </a:p>
      </dsp:txBody>
      <dsp:txXfrm>
        <a:off x="4650347" y="126106"/>
        <a:ext cx="1203278" cy="1599944"/>
      </dsp:txXfrm>
    </dsp:sp>
    <dsp:sp modelId="{B4D17837-E22E-47AA-9875-E0609E16A460}">
      <dsp:nvSpPr>
        <dsp:cNvPr id="0" name=""/>
        <dsp:cNvSpPr/>
      </dsp:nvSpPr>
      <dsp:spPr>
        <a:xfrm rot="1800000">
          <a:off x="6107214" y="4342049"/>
          <a:ext cx="594840" cy="0"/>
        </a:xfrm>
        <a:custGeom>
          <a:avLst/>
          <a:gdLst/>
          <a:ahLst/>
          <a:cxnLst/>
          <a:rect l="0" t="0" r="0" b="0"/>
          <a:pathLst>
            <a:path>
              <a:moveTo>
                <a:pt x="0" y="0"/>
              </a:moveTo>
              <a:lnTo>
                <a:pt x="594840" y="0"/>
              </a:lnTo>
            </a:path>
          </a:pathLst>
        </a:custGeom>
        <a:noFill/>
        <a:ln w="25400" cap="flat" cmpd="sng" algn="ctr">
          <a:solidFill>
            <a:schemeClr val="accent5">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DBA5EF0-4302-4013-8964-21EFF1C5946C}">
      <dsp:nvSpPr>
        <dsp:cNvPr id="0" name=""/>
        <dsp:cNvSpPr/>
      </dsp:nvSpPr>
      <dsp:spPr>
        <a:xfrm>
          <a:off x="6662208" y="4220286"/>
          <a:ext cx="1943543" cy="1663051"/>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533400">
            <a:lnSpc>
              <a:spcPct val="90000"/>
            </a:lnSpc>
            <a:spcBef>
              <a:spcPct val="0"/>
            </a:spcBef>
            <a:spcAft>
              <a:spcPct val="35000"/>
            </a:spcAft>
          </a:pPr>
          <a:r>
            <a:rPr lang="tr-TR" sz="1200" b="1" u="sng" kern="1200" dirty="0" smtClean="0"/>
            <a:t>Cari İşlemler Hesabına Katkı Sağlayan Ürün Listesi</a:t>
          </a:r>
        </a:p>
        <a:p>
          <a:pPr lvl="0" algn="ctr" defTabSz="533400">
            <a:lnSpc>
              <a:spcPct val="90000"/>
            </a:lnSpc>
            <a:spcBef>
              <a:spcPct val="0"/>
            </a:spcBef>
            <a:spcAft>
              <a:spcPct val="35000"/>
            </a:spcAft>
          </a:pPr>
          <a:endParaRPr lang="tr-TR" sz="1000" kern="1200" dirty="0" smtClean="0"/>
        </a:p>
        <a:p>
          <a:pPr lvl="0" algn="ctr" defTabSz="533400">
            <a:lnSpc>
              <a:spcPct val="90000"/>
            </a:lnSpc>
            <a:spcBef>
              <a:spcPct val="0"/>
            </a:spcBef>
            <a:spcAft>
              <a:spcPct val="35000"/>
            </a:spcAft>
          </a:pPr>
          <a:r>
            <a:rPr lang="tr-TR" sz="1200" b="1" kern="1200" dirty="0" smtClean="0"/>
            <a:t>Geri Ödemesiz</a:t>
          </a:r>
        </a:p>
        <a:p>
          <a:pPr lvl="0" algn="ctr" defTabSz="533400">
            <a:lnSpc>
              <a:spcPct val="90000"/>
            </a:lnSpc>
            <a:spcBef>
              <a:spcPct val="0"/>
            </a:spcBef>
            <a:spcAft>
              <a:spcPct val="35000"/>
            </a:spcAft>
          </a:pPr>
          <a:r>
            <a:rPr lang="tr-TR" sz="1200" kern="1200" dirty="0" smtClean="0"/>
            <a:t>1 Milyon 800 Bin TL</a:t>
          </a:r>
        </a:p>
        <a:p>
          <a:pPr lvl="0" algn="ctr" defTabSz="533400">
            <a:lnSpc>
              <a:spcPct val="90000"/>
            </a:lnSpc>
            <a:spcBef>
              <a:spcPct val="0"/>
            </a:spcBef>
            <a:spcAft>
              <a:spcPct val="35000"/>
            </a:spcAft>
          </a:pPr>
          <a:r>
            <a:rPr lang="tr-TR" sz="1200" b="1" kern="1200" dirty="0" smtClean="0"/>
            <a:t>Geri Ödemeli</a:t>
          </a:r>
        </a:p>
        <a:p>
          <a:pPr lvl="0" algn="ctr" defTabSz="533400">
            <a:lnSpc>
              <a:spcPct val="90000"/>
            </a:lnSpc>
            <a:spcBef>
              <a:spcPct val="0"/>
            </a:spcBef>
            <a:spcAft>
              <a:spcPct val="35000"/>
            </a:spcAft>
          </a:pPr>
          <a:r>
            <a:rPr lang="tr-TR" sz="1200" kern="1200" dirty="0" smtClean="0"/>
            <a:t>4 Milyon 200 Bin TL</a:t>
          </a:r>
        </a:p>
        <a:p>
          <a:pPr lvl="0" algn="ctr" defTabSz="533400">
            <a:lnSpc>
              <a:spcPct val="90000"/>
            </a:lnSpc>
            <a:spcBef>
              <a:spcPct val="0"/>
            </a:spcBef>
            <a:spcAft>
              <a:spcPct val="35000"/>
            </a:spcAft>
          </a:pPr>
          <a:endParaRPr lang="tr-TR" sz="1000" kern="1200" dirty="0"/>
        </a:p>
      </dsp:txBody>
      <dsp:txXfrm>
        <a:off x="6743391" y="4301469"/>
        <a:ext cx="1781177" cy="1500685"/>
      </dsp:txXfrm>
    </dsp:sp>
    <dsp:sp modelId="{C0F1E8EE-5FE4-4256-A84A-ACC4CB37F788}">
      <dsp:nvSpPr>
        <dsp:cNvPr id="0" name=""/>
        <dsp:cNvSpPr/>
      </dsp:nvSpPr>
      <dsp:spPr>
        <a:xfrm rot="9000000">
          <a:off x="3638871" y="4385738"/>
          <a:ext cx="769593" cy="0"/>
        </a:xfrm>
        <a:custGeom>
          <a:avLst/>
          <a:gdLst/>
          <a:ahLst/>
          <a:cxnLst/>
          <a:rect l="0" t="0" r="0" b="0"/>
          <a:pathLst>
            <a:path>
              <a:moveTo>
                <a:pt x="0" y="0"/>
              </a:moveTo>
              <a:lnTo>
                <a:pt x="769593" y="0"/>
              </a:lnTo>
            </a:path>
          </a:pathLst>
        </a:custGeom>
        <a:noFill/>
        <a:ln w="25400" cap="flat" cmpd="sng" algn="ctr">
          <a:solidFill>
            <a:schemeClr val="accent5">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243ABB-952D-4825-99E7-F54300C90BB5}">
      <dsp:nvSpPr>
        <dsp:cNvPr id="0" name=""/>
        <dsp:cNvSpPr/>
      </dsp:nvSpPr>
      <dsp:spPr>
        <a:xfrm>
          <a:off x="2049561" y="4197474"/>
          <a:ext cx="1640862" cy="1708676"/>
        </a:xfrm>
        <a:prstGeom prst="roundRect">
          <a:avLst/>
        </a:prstGeom>
        <a:solidFill>
          <a:schemeClr val="lt1">
            <a:hueOff val="0"/>
            <a:satOff val="0"/>
            <a:lumOff val="0"/>
            <a:alphaOff val="0"/>
          </a:schemeClr>
        </a:solidFill>
        <a:ln w="38100" cap="flat" cmpd="sng" algn="ctr">
          <a:solidFill>
            <a:schemeClr val="accent5">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533400">
            <a:lnSpc>
              <a:spcPct val="90000"/>
            </a:lnSpc>
            <a:spcBef>
              <a:spcPct val="0"/>
            </a:spcBef>
            <a:spcAft>
              <a:spcPct val="35000"/>
            </a:spcAft>
          </a:pPr>
          <a:r>
            <a:rPr lang="tr-TR" sz="1200" b="1" u="sng" kern="1200" dirty="0" smtClean="0"/>
            <a:t>Orta Yüksek ve </a:t>
          </a:r>
        </a:p>
        <a:p>
          <a:pPr lvl="0" algn="ctr" defTabSz="533400">
            <a:lnSpc>
              <a:spcPct val="90000"/>
            </a:lnSpc>
            <a:spcBef>
              <a:spcPct val="0"/>
            </a:spcBef>
            <a:spcAft>
              <a:spcPct val="35000"/>
            </a:spcAft>
          </a:pPr>
          <a:r>
            <a:rPr lang="tr-TR" sz="1200" b="1" u="sng" kern="1200" dirty="0" smtClean="0"/>
            <a:t>Yüksek Teknoloji</a:t>
          </a:r>
        </a:p>
        <a:p>
          <a:pPr lvl="0" algn="ctr" defTabSz="533400">
            <a:lnSpc>
              <a:spcPct val="90000"/>
            </a:lnSpc>
            <a:spcBef>
              <a:spcPct val="0"/>
            </a:spcBef>
            <a:spcAft>
              <a:spcPct val="35000"/>
            </a:spcAft>
          </a:pPr>
          <a:endParaRPr lang="tr-TR" sz="1200" kern="1200" dirty="0" smtClean="0"/>
        </a:p>
        <a:p>
          <a:pPr lvl="0" algn="ctr" defTabSz="533400">
            <a:lnSpc>
              <a:spcPct val="90000"/>
            </a:lnSpc>
            <a:spcBef>
              <a:spcPct val="0"/>
            </a:spcBef>
            <a:spcAft>
              <a:spcPct val="35000"/>
            </a:spcAft>
          </a:pPr>
          <a:r>
            <a:rPr lang="tr-TR" sz="1200" b="1" kern="1200" dirty="0" smtClean="0"/>
            <a:t>Geri Ödemesiz</a:t>
          </a:r>
        </a:p>
        <a:p>
          <a:pPr lvl="0" algn="ctr" defTabSz="533400">
            <a:lnSpc>
              <a:spcPct val="90000"/>
            </a:lnSpc>
            <a:spcBef>
              <a:spcPct val="0"/>
            </a:spcBef>
            <a:spcAft>
              <a:spcPct val="35000"/>
            </a:spcAft>
          </a:pPr>
          <a:r>
            <a:rPr lang="tr-TR" sz="1200" kern="1200" dirty="0" smtClean="0"/>
            <a:t>1,5 Milyon TL</a:t>
          </a:r>
        </a:p>
        <a:p>
          <a:pPr lvl="0" algn="ctr" defTabSz="533400">
            <a:lnSpc>
              <a:spcPct val="90000"/>
            </a:lnSpc>
            <a:spcBef>
              <a:spcPct val="0"/>
            </a:spcBef>
            <a:spcAft>
              <a:spcPct val="35000"/>
            </a:spcAft>
          </a:pPr>
          <a:r>
            <a:rPr lang="tr-TR" sz="1200" b="1" kern="1200" dirty="0" smtClean="0"/>
            <a:t>Geri Ödemeli</a:t>
          </a:r>
        </a:p>
        <a:p>
          <a:pPr lvl="0" algn="ctr" defTabSz="533400">
            <a:lnSpc>
              <a:spcPct val="90000"/>
            </a:lnSpc>
            <a:spcBef>
              <a:spcPct val="0"/>
            </a:spcBef>
            <a:spcAft>
              <a:spcPct val="35000"/>
            </a:spcAft>
          </a:pPr>
          <a:r>
            <a:rPr lang="tr-TR" sz="1200" kern="1200" dirty="0" smtClean="0"/>
            <a:t>3,5 Milyon TL</a:t>
          </a:r>
          <a:endParaRPr lang="tr-TR" sz="1200" kern="1200" dirty="0"/>
        </a:p>
      </dsp:txBody>
      <dsp:txXfrm>
        <a:off x="2129661" y="4277574"/>
        <a:ext cx="1480662" cy="154847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11/layout/TabList">
  <dgm:title val="Sekme Listesi"/>
  <dgm:desc val="Sıralı olmayan veya gruplandırılmış bilgi bloklarını göstermek için kullanın. Az miktarda 1. Düzey metin içeren listelerde çok işe yarar. İlk 2. Düzey metin 1. Düzey metnin yanında görüntülenir ve kalan 2. Düzey metinler 1. Düzey metnin altında görünür."/>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en-US"/>
          </a:p>
        </p:txBody>
      </p:sp>
      <p:sp>
        <p:nvSpPr>
          <p:cNvPr id="3" name="Veri Yer Tutucusu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C7BD8655-A906-4D14-8F30-4A75DAB51861}" type="datetimeFigureOut">
              <a:rPr lang="en-US" smtClean="0"/>
              <a:pPr/>
              <a:t>6/11/2020</a:t>
            </a:fld>
            <a:endParaRPr lang="en-US"/>
          </a:p>
        </p:txBody>
      </p:sp>
      <p:sp>
        <p:nvSpPr>
          <p:cNvPr id="4" name="Slayt Görüntüsü Yer Tutucusu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 Yer Tutucusu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6" name="Altbilgi Yer Tutucusu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en-US"/>
          </a:p>
        </p:txBody>
      </p:sp>
      <p:sp>
        <p:nvSpPr>
          <p:cNvPr id="7" name="Slayt Numarası Yer Tutucusu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24F6ECB6-A341-4489-B053-683BBC383D7D}" type="slidenum">
              <a:rPr lang="en-US" smtClean="0"/>
              <a:pPr/>
              <a:t>‹#›</a:t>
            </a:fld>
            <a:endParaRPr lang="en-US"/>
          </a:p>
        </p:txBody>
      </p:sp>
    </p:spTree>
    <p:extLst>
      <p:ext uri="{BB962C8B-B14F-4D97-AF65-F5344CB8AC3E}">
        <p14:creationId xmlns:p14="http://schemas.microsoft.com/office/powerpoint/2010/main" val="2723843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4F6ECB6-A341-4489-B053-683BBC383D7D}" type="slidenum">
              <a:rPr lang="en-US" smtClean="0"/>
              <a:pPr/>
              <a:t>1</a:t>
            </a:fld>
            <a:endParaRPr lang="en-US"/>
          </a:p>
        </p:txBody>
      </p:sp>
    </p:spTree>
    <p:extLst>
      <p:ext uri="{BB962C8B-B14F-4D97-AF65-F5344CB8AC3E}">
        <p14:creationId xmlns:p14="http://schemas.microsoft.com/office/powerpoint/2010/main" val="25516279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4F6ECB6-A341-4489-B053-683BBC383D7D}" type="slidenum">
              <a:rPr lang="en-US" smtClean="0"/>
              <a:pPr/>
              <a:t>11</a:t>
            </a:fld>
            <a:endParaRPr lang="en-US"/>
          </a:p>
        </p:txBody>
      </p:sp>
    </p:spTree>
    <p:extLst>
      <p:ext uri="{BB962C8B-B14F-4D97-AF65-F5344CB8AC3E}">
        <p14:creationId xmlns:p14="http://schemas.microsoft.com/office/powerpoint/2010/main" val="16873927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24F6ECB6-A341-4489-B053-683BBC383D7D}" type="slidenum">
              <a:rPr lang="en-US" smtClean="0"/>
              <a:t>12</a:t>
            </a:fld>
            <a:endParaRPr lang="en-US"/>
          </a:p>
        </p:txBody>
      </p:sp>
    </p:spTree>
    <p:extLst>
      <p:ext uri="{BB962C8B-B14F-4D97-AF65-F5344CB8AC3E}">
        <p14:creationId xmlns:p14="http://schemas.microsoft.com/office/powerpoint/2010/main" val="2140053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C5CC0E22-6DA6-4782-BF67-D48A3C4E9254}" type="slidenum">
              <a:rPr lang="tr-TR" smtClean="0"/>
              <a:t>13</a:t>
            </a:fld>
            <a:endParaRPr lang="tr-TR"/>
          </a:p>
        </p:txBody>
      </p:sp>
    </p:spTree>
    <p:extLst>
      <p:ext uri="{BB962C8B-B14F-4D97-AF65-F5344CB8AC3E}">
        <p14:creationId xmlns:p14="http://schemas.microsoft.com/office/powerpoint/2010/main" val="1353570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4F6ECB6-A341-4489-B053-683BBC383D7D}" type="slidenum">
              <a:rPr lang="en-US" smtClean="0"/>
              <a:pPr/>
              <a:t>15</a:t>
            </a:fld>
            <a:endParaRPr lang="en-US"/>
          </a:p>
        </p:txBody>
      </p:sp>
    </p:spTree>
    <p:extLst>
      <p:ext uri="{BB962C8B-B14F-4D97-AF65-F5344CB8AC3E}">
        <p14:creationId xmlns:p14="http://schemas.microsoft.com/office/powerpoint/2010/main" val="4699498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1 Slayt Görüntüsü Yer Tutucusu"/>
          <p:cNvSpPr>
            <a:spLocks noGrp="1" noRot="1" noChangeAspect="1" noTextEdit="1"/>
          </p:cNvSpPr>
          <p:nvPr>
            <p:ph type="sldImg"/>
          </p:nvPr>
        </p:nvSpPr>
        <p:spPr bwMode="auto">
          <a:xfrm>
            <a:off x="2698750" y="509588"/>
            <a:ext cx="4530725"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2 Not Yer Tutucusu"/>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30000"/>
              </a:lnSpc>
              <a:spcBef>
                <a:spcPct val="50000"/>
              </a:spcBef>
              <a:buClr>
                <a:schemeClr val="hlink"/>
              </a:buClr>
              <a:buFont typeface="Wingdings" pitchFamily="2" charset="2"/>
              <a:buNone/>
            </a:pPr>
            <a:endParaRPr lang="tr-TR" dirty="0" smtClean="0">
              <a:solidFill>
                <a:schemeClr val="bg1"/>
              </a:solidFill>
            </a:endParaRPr>
          </a:p>
        </p:txBody>
      </p:sp>
      <p:sp>
        <p:nvSpPr>
          <p:cNvPr id="48132" name="3 Slayt Numarası Yer Tutucusu"/>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cs typeface="Arial" charset="0"/>
              </a:defRPr>
            </a:lvl1pPr>
            <a:lvl2pPr marL="741464" indent="-285179" eaLnBrk="0" hangingPunct="0">
              <a:defRPr>
                <a:solidFill>
                  <a:schemeClr val="tx1"/>
                </a:solidFill>
                <a:latin typeface="Arial" charset="0"/>
                <a:cs typeface="Arial" charset="0"/>
              </a:defRPr>
            </a:lvl2pPr>
            <a:lvl3pPr marL="1140714" indent="-228143" eaLnBrk="0" hangingPunct="0">
              <a:defRPr>
                <a:solidFill>
                  <a:schemeClr val="tx1"/>
                </a:solidFill>
                <a:latin typeface="Arial" charset="0"/>
                <a:cs typeface="Arial" charset="0"/>
              </a:defRPr>
            </a:lvl3pPr>
            <a:lvl4pPr marL="1597000" indent="-228143" eaLnBrk="0" hangingPunct="0">
              <a:defRPr>
                <a:solidFill>
                  <a:schemeClr val="tx1"/>
                </a:solidFill>
                <a:latin typeface="Arial" charset="0"/>
                <a:cs typeface="Arial" charset="0"/>
              </a:defRPr>
            </a:lvl4pPr>
            <a:lvl5pPr marL="2053285" indent="-228143" eaLnBrk="0" hangingPunct="0">
              <a:defRPr>
                <a:solidFill>
                  <a:schemeClr val="tx1"/>
                </a:solidFill>
                <a:latin typeface="Arial" charset="0"/>
                <a:cs typeface="Arial" charset="0"/>
              </a:defRPr>
            </a:lvl5pPr>
            <a:lvl6pPr marL="2509571" indent="-228143" eaLnBrk="0" fontAlgn="base" hangingPunct="0">
              <a:spcBef>
                <a:spcPct val="0"/>
              </a:spcBef>
              <a:spcAft>
                <a:spcPct val="0"/>
              </a:spcAft>
              <a:defRPr>
                <a:solidFill>
                  <a:schemeClr val="tx1"/>
                </a:solidFill>
                <a:latin typeface="Arial" charset="0"/>
                <a:cs typeface="Arial" charset="0"/>
              </a:defRPr>
            </a:lvl6pPr>
            <a:lvl7pPr marL="2965856" indent="-228143" eaLnBrk="0" fontAlgn="base" hangingPunct="0">
              <a:spcBef>
                <a:spcPct val="0"/>
              </a:spcBef>
              <a:spcAft>
                <a:spcPct val="0"/>
              </a:spcAft>
              <a:defRPr>
                <a:solidFill>
                  <a:schemeClr val="tx1"/>
                </a:solidFill>
                <a:latin typeface="Arial" charset="0"/>
                <a:cs typeface="Arial" charset="0"/>
              </a:defRPr>
            </a:lvl7pPr>
            <a:lvl8pPr marL="3422142" indent="-228143" eaLnBrk="0" fontAlgn="base" hangingPunct="0">
              <a:spcBef>
                <a:spcPct val="0"/>
              </a:spcBef>
              <a:spcAft>
                <a:spcPct val="0"/>
              </a:spcAft>
              <a:defRPr>
                <a:solidFill>
                  <a:schemeClr val="tx1"/>
                </a:solidFill>
                <a:latin typeface="Arial" charset="0"/>
                <a:cs typeface="Arial" charset="0"/>
              </a:defRPr>
            </a:lvl8pPr>
            <a:lvl9pPr marL="3878428" indent="-228143"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B39F6BA-864E-4593-91D6-F8B53D4A8E85}" type="slidenum">
              <a:rPr kumimoji="0" lang="tr-TR" sz="1200" b="0" i="0" u="none" strike="noStrike" kern="1200" cap="none" spc="0" normalizeH="0" baseline="0" noProof="0" smtClean="0">
                <a:ln>
                  <a:noFill/>
                </a:ln>
                <a:solidFill>
                  <a:prstClr val="black"/>
                </a:solidFill>
                <a:effectLst/>
                <a:uLnTx/>
                <a:uFillTx/>
                <a:latin typeface="Arial" charset="0"/>
                <a:ea typeface="ヒラギノ角ゴ Pro W3" pitchFamily="1"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tr-TR" sz="1200" b="0" i="0" u="none" strike="noStrike" kern="1200" cap="none" spc="0" normalizeH="0" baseline="0" noProof="0" dirty="0" smtClean="0">
              <a:ln>
                <a:noFill/>
              </a:ln>
              <a:solidFill>
                <a:prstClr val="black"/>
              </a:solidFill>
              <a:effectLst/>
              <a:uLnTx/>
              <a:uFillTx/>
              <a:latin typeface="Arial" charset="0"/>
              <a:ea typeface="ヒラギノ角ゴ Pro W3" pitchFamily="1" charset="-128"/>
              <a:cs typeface="Arial" charset="0"/>
            </a:endParaRPr>
          </a:p>
        </p:txBody>
      </p:sp>
    </p:spTree>
    <p:extLst>
      <p:ext uri="{BB962C8B-B14F-4D97-AF65-F5344CB8AC3E}">
        <p14:creationId xmlns:p14="http://schemas.microsoft.com/office/powerpoint/2010/main" val="243255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b="1" dirty="0"/>
          </a:p>
        </p:txBody>
      </p:sp>
      <p:sp>
        <p:nvSpPr>
          <p:cNvPr id="4" name="Slayt Numarası Yer Tutucusu 3"/>
          <p:cNvSpPr>
            <a:spLocks noGrp="1"/>
          </p:cNvSpPr>
          <p:nvPr>
            <p:ph type="sldNum" sz="quarter" idx="10"/>
          </p:nvPr>
        </p:nvSpPr>
        <p:spPr/>
        <p:txBody>
          <a:bodyPr/>
          <a:lstStyle/>
          <a:p>
            <a:fld id="{24F6ECB6-A341-4489-B053-683BBC383D7D}" type="slidenum">
              <a:rPr lang="en-US" smtClean="0"/>
              <a:t>19</a:t>
            </a:fld>
            <a:endParaRPr lang="en-US"/>
          </a:p>
        </p:txBody>
      </p:sp>
    </p:spTree>
    <p:extLst>
      <p:ext uri="{BB962C8B-B14F-4D97-AF65-F5344CB8AC3E}">
        <p14:creationId xmlns:p14="http://schemas.microsoft.com/office/powerpoint/2010/main" val="1661127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D34A84A-BE48-4212-99C4-D6CDDF0D2B65}" type="slidenum">
              <a:rPr kumimoji="0" lang="tr-TR" sz="1200" b="0" i="0" u="none" strike="noStrike" kern="1200" cap="none" spc="0" normalizeH="0" baseline="0" noProof="0" smtClean="0">
                <a:ln>
                  <a:noFill/>
                </a:ln>
                <a:solidFill>
                  <a:prstClr val="black"/>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tr-TR" sz="1200"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36533517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24F6ECB6-A341-4489-B053-683BBC383D7D}" type="slidenum">
              <a:rPr lang="en-US" smtClean="0"/>
              <a:t>27</a:t>
            </a:fld>
            <a:endParaRPr lang="en-US"/>
          </a:p>
        </p:txBody>
      </p:sp>
    </p:spTree>
    <p:extLst>
      <p:ext uri="{BB962C8B-B14F-4D97-AF65-F5344CB8AC3E}">
        <p14:creationId xmlns:p14="http://schemas.microsoft.com/office/powerpoint/2010/main" val="473891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4F6ECB6-A341-4489-B053-683BBC383D7D}" type="slidenum">
              <a:rPr lang="en-US" smtClean="0"/>
              <a:pPr/>
              <a:t>30</a:t>
            </a:fld>
            <a:endParaRPr lang="en-US"/>
          </a:p>
        </p:txBody>
      </p:sp>
    </p:spTree>
    <p:extLst>
      <p:ext uri="{BB962C8B-B14F-4D97-AF65-F5344CB8AC3E}">
        <p14:creationId xmlns:p14="http://schemas.microsoft.com/office/powerpoint/2010/main" val="16674197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b="1" dirty="0" smtClean="0">
                <a:solidFill>
                  <a:prstClr val="black"/>
                </a:solidFill>
              </a:rPr>
              <a:t>Eğitim-danışmanlık </a:t>
            </a:r>
            <a:r>
              <a:rPr lang="tr-TR" b="1" dirty="0" smtClean="0">
                <a:solidFill>
                  <a:prstClr val="black"/>
                </a:solidFill>
                <a:sym typeface="Wingdings" panose="05000000000000000000" pitchFamily="2" charset="2"/>
              </a:rPr>
              <a:t></a:t>
            </a:r>
            <a:r>
              <a:rPr lang="tr-TR" b="1" dirty="0" smtClean="0">
                <a:solidFill>
                  <a:prstClr val="black"/>
                </a:solidFill>
              </a:rPr>
              <a:t> 300.000-TL</a:t>
            </a:r>
          </a:p>
          <a:p>
            <a:r>
              <a:rPr lang="tr-TR" b="1" dirty="0" smtClean="0">
                <a:solidFill>
                  <a:prstClr val="black"/>
                </a:solidFill>
              </a:rPr>
              <a:t>Organizasyon </a:t>
            </a:r>
            <a:r>
              <a:rPr lang="tr-TR" b="1" dirty="0" smtClean="0">
                <a:solidFill>
                  <a:prstClr val="black"/>
                </a:solidFill>
                <a:sym typeface="Wingdings" panose="05000000000000000000" pitchFamily="2" charset="2"/>
              </a:rPr>
              <a:t> </a:t>
            </a:r>
            <a:r>
              <a:rPr lang="tr-TR" b="1" dirty="0" smtClean="0">
                <a:solidFill>
                  <a:prstClr val="black"/>
                </a:solidFill>
              </a:rPr>
              <a:t>500.000-TL</a:t>
            </a:r>
          </a:p>
          <a:p>
            <a:r>
              <a:rPr lang="tr-TR" b="1" dirty="0" smtClean="0">
                <a:solidFill>
                  <a:prstClr val="black"/>
                </a:solidFill>
              </a:rPr>
              <a:t>Tanıtım </a:t>
            </a:r>
            <a:r>
              <a:rPr lang="tr-TR" b="1" dirty="0" smtClean="0">
                <a:solidFill>
                  <a:prstClr val="black"/>
                </a:solidFill>
                <a:sym typeface="Wingdings" panose="05000000000000000000" pitchFamily="2" charset="2"/>
              </a:rPr>
              <a:t></a:t>
            </a:r>
            <a:r>
              <a:rPr lang="tr-TR" b="1" dirty="0" smtClean="0">
                <a:solidFill>
                  <a:prstClr val="black"/>
                </a:solidFill>
              </a:rPr>
              <a:t> 200.000-TL</a:t>
            </a:r>
          </a:p>
          <a:p>
            <a:endParaRPr lang="en-US" dirty="0"/>
          </a:p>
        </p:txBody>
      </p:sp>
      <p:sp>
        <p:nvSpPr>
          <p:cNvPr id="4" name="Slayt Numarası Yer Tutucusu 3"/>
          <p:cNvSpPr>
            <a:spLocks noGrp="1"/>
          </p:cNvSpPr>
          <p:nvPr>
            <p:ph type="sldNum" sz="quarter" idx="10"/>
          </p:nvPr>
        </p:nvSpPr>
        <p:spPr/>
        <p:txBody>
          <a:bodyPr/>
          <a:lstStyle/>
          <a:p>
            <a:fld id="{81253D97-FF9F-4E7D-8F03-B235599D0901}" type="slidenum">
              <a:rPr lang="tr-TR" smtClean="0">
                <a:solidFill>
                  <a:prstClr val="black"/>
                </a:solidFill>
              </a:rPr>
              <a:pPr/>
              <a:t>33</a:t>
            </a:fld>
            <a:endParaRPr lang="tr-TR">
              <a:solidFill>
                <a:prstClr val="black"/>
              </a:solidFill>
            </a:endParaRPr>
          </a:p>
        </p:txBody>
      </p:sp>
    </p:spTree>
    <p:extLst>
      <p:ext uri="{BB962C8B-B14F-4D97-AF65-F5344CB8AC3E}">
        <p14:creationId xmlns:p14="http://schemas.microsoft.com/office/powerpoint/2010/main" val="3489059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2</a:t>
            </a:fld>
            <a:endParaRPr lang="tr-TR"/>
          </a:p>
        </p:txBody>
      </p:sp>
      <p:sp>
        <p:nvSpPr>
          <p:cNvPr id="7" name="Üstbilgi Yer Tutucusu 6"/>
          <p:cNvSpPr>
            <a:spLocks noGrp="1"/>
          </p:cNvSpPr>
          <p:nvPr>
            <p:ph type="hdr" sz="quarter" idx="13"/>
          </p:nvPr>
        </p:nvSpPr>
        <p:spPr/>
        <p:txBody>
          <a:bodyPr/>
          <a:lstStyle/>
          <a:p>
            <a:endParaRPr lang="tr-TR"/>
          </a:p>
        </p:txBody>
      </p:sp>
    </p:spTree>
    <p:extLst>
      <p:ext uri="{BB962C8B-B14F-4D97-AF65-F5344CB8AC3E}">
        <p14:creationId xmlns:p14="http://schemas.microsoft.com/office/powerpoint/2010/main" val="9517625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b="1" dirty="0" smtClean="0">
                <a:solidFill>
                  <a:prstClr val="black"/>
                </a:solidFill>
              </a:rPr>
              <a:t>Eğitim-danışmanlık </a:t>
            </a:r>
            <a:r>
              <a:rPr lang="tr-TR" b="1" dirty="0" smtClean="0">
                <a:solidFill>
                  <a:prstClr val="black"/>
                </a:solidFill>
                <a:sym typeface="Wingdings" panose="05000000000000000000" pitchFamily="2" charset="2"/>
              </a:rPr>
              <a:t></a:t>
            </a:r>
            <a:r>
              <a:rPr lang="tr-TR" b="1" dirty="0" smtClean="0">
                <a:solidFill>
                  <a:prstClr val="black"/>
                </a:solidFill>
              </a:rPr>
              <a:t> 300.000-TL</a:t>
            </a:r>
          </a:p>
          <a:p>
            <a:r>
              <a:rPr lang="tr-TR" b="1" dirty="0" smtClean="0">
                <a:solidFill>
                  <a:prstClr val="black"/>
                </a:solidFill>
              </a:rPr>
              <a:t>Organizasyon </a:t>
            </a:r>
            <a:r>
              <a:rPr lang="tr-TR" b="1" dirty="0" smtClean="0">
                <a:solidFill>
                  <a:prstClr val="black"/>
                </a:solidFill>
                <a:sym typeface="Wingdings" panose="05000000000000000000" pitchFamily="2" charset="2"/>
              </a:rPr>
              <a:t> </a:t>
            </a:r>
            <a:r>
              <a:rPr lang="tr-TR" b="1" dirty="0" smtClean="0">
                <a:solidFill>
                  <a:prstClr val="black"/>
                </a:solidFill>
              </a:rPr>
              <a:t>500.000-TL</a:t>
            </a:r>
          </a:p>
          <a:p>
            <a:r>
              <a:rPr lang="tr-TR" b="1" dirty="0" smtClean="0">
                <a:solidFill>
                  <a:prstClr val="black"/>
                </a:solidFill>
              </a:rPr>
              <a:t>Tanıtım </a:t>
            </a:r>
            <a:r>
              <a:rPr lang="tr-TR" b="1" dirty="0" smtClean="0">
                <a:solidFill>
                  <a:prstClr val="black"/>
                </a:solidFill>
                <a:sym typeface="Wingdings" panose="05000000000000000000" pitchFamily="2" charset="2"/>
              </a:rPr>
              <a:t></a:t>
            </a:r>
            <a:r>
              <a:rPr lang="tr-TR" b="1" dirty="0" smtClean="0">
                <a:solidFill>
                  <a:prstClr val="black"/>
                </a:solidFill>
              </a:rPr>
              <a:t> 200.000-TL</a:t>
            </a:r>
          </a:p>
          <a:p>
            <a:endParaRPr lang="en-US" dirty="0"/>
          </a:p>
        </p:txBody>
      </p:sp>
      <p:sp>
        <p:nvSpPr>
          <p:cNvPr id="4" name="Slayt Numarası Yer Tutucusu 3"/>
          <p:cNvSpPr>
            <a:spLocks noGrp="1"/>
          </p:cNvSpPr>
          <p:nvPr>
            <p:ph type="sldNum" sz="quarter" idx="10"/>
          </p:nvPr>
        </p:nvSpPr>
        <p:spPr/>
        <p:txBody>
          <a:bodyPr/>
          <a:lstStyle/>
          <a:p>
            <a:fld id="{81253D97-FF9F-4E7D-8F03-B235599D0901}" type="slidenum">
              <a:rPr lang="tr-TR" smtClean="0"/>
              <a:t>34</a:t>
            </a:fld>
            <a:endParaRPr lang="tr-TR"/>
          </a:p>
        </p:txBody>
      </p:sp>
    </p:spTree>
    <p:extLst>
      <p:ext uri="{BB962C8B-B14F-4D97-AF65-F5344CB8AC3E}">
        <p14:creationId xmlns:p14="http://schemas.microsoft.com/office/powerpoint/2010/main" val="1234408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4F6ECB6-A341-4489-B053-683BBC383D7D}" type="slidenum">
              <a:rPr lang="en-US" smtClean="0"/>
              <a:pPr/>
              <a:t>36</a:t>
            </a:fld>
            <a:endParaRPr lang="en-US"/>
          </a:p>
        </p:txBody>
      </p:sp>
    </p:spTree>
    <p:extLst>
      <p:ext uri="{BB962C8B-B14F-4D97-AF65-F5344CB8AC3E}">
        <p14:creationId xmlns:p14="http://schemas.microsoft.com/office/powerpoint/2010/main" val="1593319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4F6ECB6-A341-4489-B053-683BBC383D7D}" type="slidenum">
              <a:rPr lang="en-US" smtClean="0"/>
              <a:pPr/>
              <a:t>3</a:t>
            </a:fld>
            <a:endParaRPr lang="en-US"/>
          </a:p>
        </p:txBody>
      </p:sp>
    </p:spTree>
    <p:extLst>
      <p:ext uri="{BB962C8B-B14F-4D97-AF65-F5344CB8AC3E}">
        <p14:creationId xmlns:p14="http://schemas.microsoft.com/office/powerpoint/2010/main" val="540778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24F6ECB6-A341-4489-B053-683BBC383D7D}" type="slidenum">
              <a:rPr lang="en-US" smtClean="0"/>
              <a:pPr/>
              <a:t>4</a:t>
            </a:fld>
            <a:endParaRPr lang="en-US"/>
          </a:p>
        </p:txBody>
      </p:sp>
    </p:spTree>
    <p:extLst>
      <p:ext uri="{BB962C8B-B14F-4D97-AF65-F5344CB8AC3E}">
        <p14:creationId xmlns:p14="http://schemas.microsoft.com/office/powerpoint/2010/main" val="1404729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4F6ECB6-A341-4489-B053-683BBC383D7D}" type="slidenum">
              <a:rPr lang="en-US" smtClean="0"/>
              <a:pPr/>
              <a:t>5</a:t>
            </a:fld>
            <a:endParaRPr lang="en-US"/>
          </a:p>
        </p:txBody>
      </p:sp>
    </p:spTree>
    <p:extLst>
      <p:ext uri="{BB962C8B-B14F-4D97-AF65-F5344CB8AC3E}">
        <p14:creationId xmlns:p14="http://schemas.microsoft.com/office/powerpoint/2010/main" val="1306658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1 Slayt Görüntüsü Yer Tutucusu"/>
          <p:cNvSpPr>
            <a:spLocks noGrp="1" noRot="1" noChangeAspect="1" noTextEdit="1"/>
          </p:cNvSpPr>
          <p:nvPr>
            <p:ph type="sldImg"/>
          </p:nvPr>
        </p:nvSpPr>
        <p:spPr bwMode="auto">
          <a:xfrm>
            <a:off x="2698750" y="509588"/>
            <a:ext cx="4530725"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2 Not Yer Tutucusu"/>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tr-TR" baseline="0" dirty="0" smtClean="0">
              <a:solidFill>
                <a:schemeClr val="bg1"/>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tr-TR" dirty="0" smtClean="0">
              <a:solidFill>
                <a:schemeClr val="bg1"/>
              </a:solidFill>
            </a:endParaRPr>
          </a:p>
        </p:txBody>
      </p:sp>
    </p:spTree>
    <p:extLst>
      <p:ext uri="{BB962C8B-B14F-4D97-AF65-F5344CB8AC3E}">
        <p14:creationId xmlns:p14="http://schemas.microsoft.com/office/powerpoint/2010/main" val="2525450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24F6ECB6-A341-4489-B053-683BBC383D7D}" type="slidenum">
              <a:rPr lang="en-US" smtClean="0"/>
              <a:pPr/>
              <a:t>7</a:t>
            </a:fld>
            <a:endParaRPr lang="en-US"/>
          </a:p>
        </p:txBody>
      </p:sp>
    </p:spTree>
    <p:extLst>
      <p:ext uri="{BB962C8B-B14F-4D97-AF65-F5344CB8AC3E}">
        <p14:creationId xmlns:p14="http://schemas.microsoft.com/office/powerpoint/2010/main" val="1251231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smtClean="0"/>
          </a:p>
          <a:p>
            <a:endParaRPr lang="tr-TR" dirty="0" smtClean="0"/>
          </a:p>
          <a:p>
            <a:endParaRPr lang="tr-TR" dirty="0"/>
          </a:p>
        </p:txBody>
      </p:sp>
      <p:sp>
        <p:nvSpPr>
          <p:cNvPr id="4" name="Slayt Numarası Yer Tutucusu 3"/>
          <p:cNvSpPr>
            <a:spLocks noGrp="1"/>
          </p:cNvSpPr>
          <p:nvPr>
            <p:ph type="sldNum" sz="quarter" idx="10"/>
          </p:nvPr>
        </p:nvSpPr>
        <p:spPr/>
        <p:txBody>
          <a:bodyPr/>
          <a:lstStyle/>
          <a:p>
            <a:fld id="{24F6ECB6-A341-4489-B053-683BBC383D7D}" type="slidenum">
              <a:rPr lang="en-US" smtClean="0"/>
              <a:pPr/>
              <a:t>9</a:t>
            </a:fld>
            <a:endParaRPr lang="en-US"/>
          </a:p>
        </p:txBody>
      </p:sp>
    </p:spTree>
    <p:extLst>
      <p:ext uri="{BB962C8B-B14F-4D97-AF65-F5344CB8AC3E}">
        <p14:creationId xmlns:p14="http://schemas.microsoft.com/office/powerpoint/2010/main" val="4113871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4F6ECB6-A341-4489-B053-683BBC383D7D}" type="slidenum">
              <a:rPr lang="en-US" smtClean="0"/>
              <a:pPr/>
              <a:t>10</a:t>
            </a:fld>
            <a:endParaRPr lang="en-US"/>
          </a:p>
        </p:txBody>
      </p:sp>
    </p:spTree>
    <p:extLst>
      <p:ext uri="{BB962C8B-B14F-4D97-AF65-F5344CB8AC3E}">
        <p14:creationId xmlns:p14="http://schemas.microsoft.com/office/powerpoint/2010/main" val="4193706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Unvan 1"/>
          <p:cNvSpPr>
            <a:spLocks noGrp="1"/>
          </p:cNvSpPr>
          <p:nvPr>
            <p:ph type="ctrTitle"/>
          </p:nvPr>
        </p:nvSpPr>
        <p:spPr>
          <a:xfrm>
            <a:off x="1524000" y="1122363"/>
            <a:ext cx="9144000" cy="2387600"/>
          </a:xfrm>
        </p:spPr>
        <p:txBody>
          <a:bodyPr anchor="b"/>
          <a:lstStyle>
            <a:lvl1pPr algn="ctr">
              <a:defRPr sz="6000"/>
            </a:lvl1pPr>
          </a:lstStyle>
          <a:p>
            <a:r>
              <a:rPr lang="tr-TR" smtClean="0"/>
              <a:t>Asıl başlık stili için tıklatın</a:t>
            </a:r>
            <a:endParaRPr lang="en-US"/>
          </a:p>
        </p:txBody>
      </p:sp>
      <p:sp>
        <p:nvSpPr>
          <p:cNvPr id="3" name="Alt Başlı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smtClean="0"/>
              <a:t>Asıl alt başlık stilini düzenlemek için tıklatın</a:t>
            </a:r>
            <a:endParaRPr lang="en-US"/>
          </a:p>
        </p:txBody>
      </p:sp>
      <p:sp>
        <p:nvSpPr>
          <p:cNvPr id="4" name="Veri Yer Tutucusu 3"/>
          <p:cNvSpPr>
            <a:spLocks noGrp="1"/>
          </p:cNvSpPr>
          <p:nvPr>
            <p:ph type="dt" sz="half" idx="10"/>
          </p:nvPr>
        </p:nvSpPr>
        <p:spPr/>
        <p:txBody>
          <a:bodyPr/>
          <a:lstStyle/>
          <a:p>
            <a:fld id="{612C887E-8A27-4379-B3B7-94E056AD5027}" type="datetimeFigureOut">
              <a:rPr lang="en-US" smtClean="0"/>
              <a:pPr/>
              <a:t>6/11/2020</a:t>
            </a:fld>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17579870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en-US"/>
          </a:p>
        </p:txBody>
      </p:sp>
      <p:sp>
        <p:nvSpPr>
          <p:cNvPr id="3" name="Dikey Metin Yer Tutucusu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Veri Yer Tutucusu 3"/>
          <p:cNvSpPr>
            <a:spLocks noGrp="1"/>
          </p:cNvSpPr>
          <p:nvPr>
            <p:ph type="dt" sz="half" idx="10"/>
          </p:nvPr>
        </p:nvSpPr>
        <p:spPr/>
        <p:txBody>
          <a:bodyPr/>
          <a:lstStyle/>
          <a:p>
            <a:fld id="{612C887E-8A27-4379-B3B7-94E056AD5027}" type="datetimeFigureOut">
              <a:rPr lang="en-US" smtClean="0"/>
              <a:pPr/>
              <a:t>6/11/2020</a:t>
            </a:fld>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36973240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8724900" y="365125"/>
            <a:ext cx="2628900" cy="5811838"/>
          </a:xfrm>
        </p:spPr>
        <p:txBody>
          <a:bodyPr vert="eaVert"/>
          <a:lstStyle/>
          <a:p>
            <a:r>
              <a:rPr lang="tr-TR" smtClean="0"/>
              <a:t>Asıl başlık stili için tıklatın</a:t>
            </a:r>
            <a:endParaRPr lang="en-US"/>
          </a:p>
        </p:txBody>
      </p:sp>
      <p:sp>
        <p:nvSpPr>
          <p:cNvPr id="3" name="Dikey Metin Yer Tutucusu 2"/>
          <p:cNvSpPr>
            <a:spLocks noGrp="1"/>
          </p:cNvSpPr>
          <p:nvPr>
            <p:ph type="body" orient="vert" idx="1"/>
          </p:nvPr>
        </p:nvSpPr>
        <p:spPr>
          <a:xfrm>
            <a:off x="838200" y="365125"/>
            <a:ext cx="7734300" cy="5811838"/>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Veri Yer Tutucusu 3"/>
          <p:cNvSpPr>
            <a:spLocks noGrp="1"/>
          </p:cNvSpPr>
          <p:nvPr>
            <p:ph type="dt" sz="half" idx="10"/>
          </p:nvPr>
        </p:nvSpPr>
        <p:spPr/>
        <p:txBody>
          <a:bodyPr/>
          <a:lstStyle/>
          <a:p>
            <a:fld id="{612C887E-8A27-4379-B3B7-94E056AD5027}" type="datetimeFigureOut">
              <a:rPr lang="en-US" smtClean="0"/>
              <a:pPr/>
              <a:t>6/11/2020</a:t>
            </a:fld>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7646169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4400" y="2130461"/>
            <a:ext cx="10363201" cy="1470024"/>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8801" y="3886232"/>
            <a:ext cx="8534400" cy="1752600"/>
          </a:xfrm>
        </p:spPr>
        <p:txBody>
          <a:bodyPr/>
          <a:lstStyle>
            <a:lvl1pPr marL="0" indent="0" algn="ctr">
              <a:buNone/>
              <a:defRPr>
                <a:solidFill>
                  <a:schemeClr val="tx1">
                    <a:tint val="75000"/>
                  </a:schemeClr>
                </a:solidFill>
              </a:defRPr>
            </a:lvl1pPr>
            <a:lvl2pPr marL="609637" indent="0" algn="ctr">
              <a:buNone/>
              <a:defRPr>
                <a:solidFill>
                  <a:schemeClr val="tx1">
                    <a:tint val="75000"/>
                  </a:schemeClr>
                </a:solidFill>
              </a:defRPr>
            </a:lvl2pPr>
            <a:lvl3pPr marL="1219275" indent="0" algn="ctr">
              <a:buNone/>
              <a:defRPr>
                <a:solidFill>
                  <a:schemeClr val="tx1">
                    <a:tint val="75000"/>
                  </a:schemeClr>
                </a:solidFill>
              </a:defRPr>
            </a:lvl3pPr>
            <a:lvl4pPr marL="1828913" indent="0" algn="ctr">
              <a:buNone/>
              <a:defRPr>
                <a:solidFill>
                  <a:schemeClr val="tx1">
                    <a:tint val="75000"/>
                  </a:schemeClr>
                </a:solidFill>
              </a:defRPr>
            </a:lvl4pPr>
            <a:lvl5pPr marL="2438550" indent="0" algn="ctr">
              <a:buNone/>
              <a:defRPr>
                <a:solidFill>
                  <a:schemeClr val="tx1">
                    <a:tint val="75000"/>
                  </a:schemeClr>
                </a:solidFill>
              </a:defRPr>
            </a:lvl5pPr>
            <a:lvl6pPr marL="3048188" indent="0" algn="ctr">
              <a:buNone/>
              <a:defRPr>
                <a:solidFill>
                  <a:schemeClr val="tx1">
                    <a:tint val="75000"/>
                  </a:schemeClr>
                </a:solidFill>
              </a:defRPr>
            </a:lvl6pPr>
            <a:lvl7pPr marL="3657825" indent="0" algn="ctr">
              <a:buNone/>
              <a:defRPr>
                <a:solidFill>
                  <a:schemeClr val="tx1">
                    <a:tint val="75000"/>
                  </a:schemeClr>
                </a:solidFill>
              </a:defRPr>
            </a:lvl7pPr>
            <a:lvl8pPr marL="4267462" indent="0" algn="ctr">
              <a:buNone/>
              <a:defRPr>
                <a:solidFill>
                  <a:schemeClr val="tx1">
                    <a:tint val="75000"/>
                  </a:schemeClr>
                </a:solidFill>
              </a:defRPr>
            </a:lvl8pPr>
            <a:lvl9pPr marL="4877101"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a:defRPr/>
            </a:pPr>
            <a:fld id="{9F946499-7A29-4895-B44A-975659E64C19}" type="datetime1">
              <a:rPr lang="en-US" smtClean="0">
                <a:solidFill>
                  <a:prstClr val="black">
                    <a:tint val="75000"/>
                  </a:prstClr>
                </a:solidFill>
              </a:rPr>
              <a:pPr>
                <a:defRPr/>
              </a:pPr>
              <a:t>6/11/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2078158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3A5335B3-4D39-40B8-AFB3-290BDEA506C1}" type="datetime1">
              <a:rPr lang="en-US" smtClean="0">
                <a:solidFill>
                  <a:prstClr val="black">
                    <a:tint val="75000"/>
                  </a:prstClr>
                </a:solidFill>
              </a:rPr>
              <a:pPr>
                <a:defRPr/>
              </a:pPr>
              <a:t>6/11/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858487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63084" y="4406935"/>
            <a:ext cx="10363201" cy="1362075"/>
          </a:xfrm>
        </p:spPr>
        <p:txBody>
          <a:bodyPr anchor="t"/>
          <a:lstStyle>
            <a:lvl1pPr algn="l">
              <a:defRPr sz="5334"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63084" y="2906749"/>
            <a:ext cx="10363201" cy="1500187"/>
          </a:xfrm>
        </p:spPr>
        <p:txBody>
          <a:bodyPr anchor="b"/>
          <a:lstStyle>
            <a:lvl1pPr marL="0" indent="0">
              <a:buNone/>
              <a:defRPr sz="2667">
                <a:solidFill>
                  <a:schemeClr val="tx1">
                    <a:tint val="75000"/>
                  </a:schemeClr>
                </a:solidFill>
              </a:defRPr>
            </a:lvl1pPr>
            <a:lvl2pPr marL="609637" indent="0">
              <a:buNone/>
              <a:defRPr sz="2400">
                <a:solidFill>
                  <a:schemeClr val="tx1">
                    <a:tint val="75000"/>
                  </a:schemeClr>
                </a:solidFill>
              </a:defRPr>
            </a:lvl2pPr>
            <a:lvl3pPr marL="1219275" indent="0">
              <a:buNone/>
              <a:defRPr sz="2134">
                <a:solidFill>
                  <a:schemeClr val="tx1">
                    <a:tint val="75000"/>
                  </a:schemeClr>
                </a:solidFill>
              </a:defRPr>
            </a:lvl3pPr>
            <a:lvl4pPr marL="1828913" indent="0">
              <a:buNone/>
              <a:defRPr sz="1867">
                <a:solidFill>
                  <a:schemeClr val="tx1">
                    <a:tint val="75000"/>
                  </a:schemeClr>
                </a:solidFill>
              </a:defRPr>
            </a:lvl4pPr>
            <a:lvl5pPr marL="2438550" indent="0">
              <a:buNone/>
              <a:defRPr sz="1867">
                <a:solidFill>
                  <a:schemeClr val="tx1">
                    <a:tint val="75000"/>
                  </a:schemeClr>
                </a:solidFill>
              </a:defRPr>
            </a:lvl5pPr>
            <a:lvl6pPr marL="3048188" indent="0">
              <a:buNone/>
              <a:defRPr sz="1867">
                <a:solidFill>
                  <a:schemeClr val="tx1">
                    <a:tint val="75000"/>
                  </a:schemeClr>
                </a:solidFill>
              </a:defRPr>
            </a:lvl6pPr>
            <a:lvl7pPr marL="3657825" indent="0">
              <a:buNone/>
              <a:defRPr sz="1867">
                <a:solidFill>
                  <a:schemeClr val="tx1">
                    <a:tint val="75000"/>
                  </a:schemeClr>
                </a:solidFill>
              </a:defRPr>
            </a:lvl7pPr>
            <a:lvl8pPr marL="4267462" indent="0">
              <a:buNone/>
              <a:defRPr sz="1867">
                <a:solidFill>
                  <a:schemeClr val="tx1">
                    <a:tint val="75000"/>
                  </a:schemeClr>
                </a:solidFill>
              </a:defRPr>
            </a:lvl8pPr>
            <a:lvl9pPr marL="4877101" indent="0">
              <a:buNone/>
              <a:defRPr sz="1867">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a:defRPr/>
            </a:pPr>
            <a:fld id="{39254D81-8FB5-4EB8-B78B-2E34B3D607B2}" type="datetime1">
              <a:rPr lang="en-US" smtClean="0">
                <a:solidFill>
                  <a:prstClr val="black">
                    <a:tint val="75000"/>
                  </a:prstClr>
                </a:solidFill>
              </a:rPr>
              <a:pPr>
                <a:defRPr/>
              </a:pPr>
              <a:t>6/11/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9243767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9600" y="1600235"/>
            <a:ext cx="5384800" cy="4525963"/>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97600" y="1600235"/>
            <a:ext cx="5384800" cy="4525963"/>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a:defRPr/>
            </a:pPr>
            <a:fld id="{A00723E4-471F-4B40-B9FE-A16EEFB82BB0}" type="datetime1">
              <a:rPr lang="en-US" smtClean="0">
                <a:solidFill>
                  <a:prstClr val="black">
                    <a:tint val="75000"/>
                  </a:prstClr>
                </a:solidFill>
              </a:rPr>
              <a:pPr>
                <a:defRPr/>
              </a:pPr>
              <a:t>6/11/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509297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9599" y="1535197"/>
            <a:ext cx="5386918" cy="639762"/>
          </a:xfrm>
        </p:spPr>
        <p:txBody>
          <a:bodyPr anchor="b"/>
          <a:lstStyle>
            <a:lvl1pPr marL="0" indent="0">
              <a:buNone/>
              <a:defRPr sz="3200" b="1"/>
            </a:lvl1pPr>
            <a:lvl2pPr marL="609637" indent="0">
              <a:buNone/>
              <a:defRPr sz="2667" b="1"/>
            </a:lvl2pPr>
            <a:lvl3pPr marL="1219275" indent="0">
              <a:buNone/>
              <a:defRPr sz="2400" b="1"/>
            </a:lvl3pPr>
            <a:lvl4pPr marL="1828913" indent="0">
              <a:buNone/>
              <a:defRPr sz="2134" b="1"/>
            </a:lvl4pPr>
            <a:lvl5pPr marL="2438550" indent="0">
              <a:buNone/>
              <a:defRPr sz="2134" b="1"/>
            </a:lvl5pPr>
            <a:lvl6pPr marL="3048188" indent="0">
              <a:buNone/>
              <a:defRPr sz="2134" b="1"/>
            </a:lvl6pPr>
            <a:lvl7pPr marL="3657825" indent="0">
              <a:buNone/>
              <a:defRPr sz="2134" b="1"/>
            </a:lvl7pPr>
            <a:lvl8pPr marL="4267462" indent="0">
              <a:buNone/>
              <a:defRPr sz="2134" b="1"/>
            </a:lvl8pPr>
            <a:lvl9pPr marL="4877101" indent="0">
              <a:buNone/>
              <a:defRPr sz="2134" b="1"/>
            </a:lvl9pPr>
          </a:lstStyle>
          <a:p>
            <a:pPr lvl="0"/>
            <a:r>
              <a:rPr lang="tr-TR" smtClean="0"/>
              <a:t>Asıl metin stillerini düzenlemek için tıklatın</a:t>
            </a:r>
          </a:p>
        </p:txBody>
      </p:sp>
      <p:sp>
        <p:nvSpPr>
          <p:cNvPr id="4" name="3 İçerik Yer Tutucusu"/>
          <p:cNvSpPr>
            <a:spLocks noGrp="1"/>
          </p:cNvSpPr>
          <p:nvPr>
            <p:ph sz="half" idx="2"/>
          </p:nvPr>
        </p:nvSpPr>
        <p:spPr>
          <a:xfrm>
            <a:off x="609599" y="2174875"/>
            <a:ext cx="5386918"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93378" y="1535197"/>
            <a:ext cx="5389034" cy="639762"/>
          </a:xfrm>
        </p:spPr>
        <p:txBody>
          <a:bodyPr anchor="b"/>
          <a:lstStyle>
            <a:lvl1pPr marL="0" indent="0">
              <a:buNone/>
              <a:defRPr sz="3200" b="1"/>
            </a:lvl1pPr>
            <a:lvl2pPr marL="609637" indent="0">
              <a:buNone/>
              <a:defRPr sz="2667" b="1"/>
            </a:lvl2pPr>
            <a:lvl3pPr marL="1219275" indent="0">
              <a:buNone/>
              <a:defRPr sz="2400" b="1"/>
            </a:lvl3pPr>
            <a:lvl4pPr marL="1828913" indent="0">
              <a:buNone/>
              <a:defRPr sz="2134" b="1"/>
            </a:lvl4pPr>
            <a:lvl5pPr marL="2438550" indent="0">
              <a:buNone/>
              <a:defRPr sz="2134" b="1"/>
            </a:lvl5pPr>
            <a:lvl6pPr marL="3048188" indent="0">
              <a:buNone/>
              <a:defRPr sz="2134" b="1"/>
            </a:lvl6pPr>
            <a:lvl7pPr marL="3657825" indent="0">
              <a:buNone/>
              <a:defRPr sz="2134" b="1"/>
            </a:lvl7pPr>
            <a:lvl8pPr marL="4267462" indent="0">
              <a:buNone/>
              <a:defRPr sz="2134" b="1"/>
            </a:lvl8pPr>
            <a:lvl9pPr marL="4877101" indent="0">
              <a:buNone/>
              <a:defRPr sz="2134"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93378" y="2174875"/>
            <a:ext cx="5389034"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a:defRPr/>
            </a:pPr>
            <a:fld id="{4BB380D3-EEA6-4EFF-B584-E4D6AD5E6F4C}" type="datetime1">
              <a:rPr lang="en-US" smtClean="0">
                <a:solidFill>
                  <a:prstClr val="black">
                    <a:tint val="75000"/>
                  </a:prstClr>
                </a:solidFill>
              </a:rPr>
              <a:pPr>
                <a:defRPr/>
              </a:pPr>
              <a:t>6/11/2020</a:t>
            </a:fld>
            <a:endParaRPr lang="en-CA">
              <a:solidFill>
                <a:prstClr val="black">
                  <a:tint val="75000"/>
                </a:prstClr>
              </a:solidFill>
            </a:endParaRPr>
          </a:p>
        </p:txBody>
      </p:sp>
      <p:sp>
        <p:nvSpPr>
          <p:cNvPr id="8" name="7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9" name="8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59676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a:defRPr/>
            </a:pPr>
            <a:fld id="{69AF2DFF-D523-4516-B5D0-3999BEFA3E31}" type="datetime1">
              <a:rPr lang="en-US" smtClean="0">
                <a:solidFill>
                  <a:prstClr val="black">
                    <a:tint val="75000"/>
                  </a:prstClr>
                </a:solidFill>
              </a:rPr>
              <a:pPr>
                <a:defRPr/>
              </a:pPr>
              <a:t>6/11/2020</a:t>
            </a:fld>
            <a:endParaRPr lang="en-CA">
              <a:solidFill>
                <a:prstClr val="black">
                  <a:tint val="75000"/>
                </a:prstClr>
              </a:solidFill>
            </a:endParaRPr>
          </a:p>
        </p:txBody>
      </p:sp>
      <p:sp>
        <p:nvSpPr>
          <p:cNvPr id="4" name="3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5" name="4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951849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a:defRPr/>
            </a:pPr>
            <a:fld id="{01FF9F34-A093-4BFF-AD1E-321D570FAB1B}" type="datetime1">
              <a:rPr lang="en-US" smtClean="0">
                <a:solidFill>
                  <a:prstClr val="black">
                    <a:tint val="75000"/>
                  </a:prstClr>
                </a:solidFill>
              </a:rPr>
              <a:pPr>
                <a:defRPr/>
              </a:pPr>
              <a:t>6/11/2020</a:t>
            </a:fld>
            <a:endParaRPr lang="en-CA">
              <a:solidFill>
                <a:prstClr val="black">
                  <a:tint val="75000"/>
                </a:prstClr>
              </a:solidFill>
            </a:endParaRPr>
          </a:p>
        </p:txBody>
      </p:sp>
      <p:sp>
        <p:nvSpPr>
          <p:cNvPr id="3" name="2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4" name="3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7694766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9626" y="273053"/>
            <a:ext cx="4011084" cy="1162050"/>
          </a:xfrm>
        </p:spPr>
        <p:txBody>
          <a:bodyPr anchor="b"/>
          <a:lstStyle>
            <a:lvl1pPr algn="l">
              <a:defRPr sz="2667" b="1"/>
            </a:lvl1pPr>
          </a:lstStyle>
          <a:p>
            <a:r>
              <a:rPr lang="tr-TR" smtClean="0"/>
              <a:t>Asıl başlık stili için tıklatın</a:t>
            </a:r>
            <a:endParaRPr lang="tr-TR"/>
          </a:p>
        </p:txBody>
      </p:sp>
      <p:sp>
        <p:nvSpPr>
          <p:cNvPr id="3" name="2 İçerik Yer Tutucusu"/>
          <p:cNvSpPr>
            <a:spLocks noGrp="1"/>
          </p:cNvSpPr>
          <p:nvPr>
            <p:ph idx="1"/>
          </p:nvPr>
        </p:nvSpPr>
        <p:spPr>
          <a:xfrm>
            <a:off x="4766734" y="273086"/>
            <a:ext cx="6815667" cy="5853113"/>
          </a:xfrm>
        </p:spPr>
        <p:txBody>
          <a:bodyPr/>
          <a:lstStyle>
            <a:lvl1pPr>
              <a:defRPr sz="4267"/>
            </a:lvl1pPr>
            <a:lvl2pPr>
              <a:defRPr sz="3734"/>
            </a:lvl2pPr>
            <a:lvl3pPr>
              <a:defRPr sz="3200"/>
            </a:lvl3pPr>
            <a:lvl4pPr>
              <a:defRPr sz="2667"/>
            </a:lvl4pPr>
            <a:lvl5pPr>
              <a:defRPr sz="2667"/>
            </a:lvl5pPr>
            <a:lvl6pPr>
              <a:defRPr sz="2667"/>
            </a:lvl6pPr>
            <a:lvl7pPr>
              <a:defRPr sz="2667"/>
            </a:lvl7pPr>
            <a:lvl8pPr>
              <a:defRPr sz="2667"/>
            </a:lvl8pPr>
            <a:lvl9pPr>
              <a:defRPr sz="2667"/>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9626" y="1435103"/>
            <a:ext cx="4011084" cy="4691062"/>
          </a:xfrm>
        </p:spPr>
        <p:txBody>
          <a:bodyPr/>
          <a:lstStyle>
            <a:lvl1pPr marL="0" indent="0">
              <a:buNone/>
              <a:defRPr sz="1867"/>
            </a:lvl1pPr>
            <a:lvl2pPr marL="609637" indent="0">
              <a:buNone/>
              <a:defRPr sz="1600"/>
            </a:lvl2pPr>
            <a:lvl3pPr marL="1219275" indent="0">
              <a:buNone/>
              <a:defRPr sz="1334"/>
            </a:lvl3pPr>
            <a:lvl4pPr marL="1828913" indent="0">
              <a:buNone/>
              <a:defRPr sz="1200"/>
            </a:lvl4pPr>
            <a:lvl5pPr marL="2438550" indent="0">
              <a:buNone/>
              <a:defRPr sz="1200"/>
            </a:lvl5pPr>
            <a:lvl6pPr marL="3048188" indent="0">
              <a:buNone/>
              <a:defRPr sz="1200"/>
            </a:lvl6pPr>
            <a:lvl7pPr marL="3657825" indent="0">
              <a:buNone/>
              <a:defRPr sz="1200"/>
            </a:lvl7pPr>
            <a:lvl8pPr marL="4267462" indent="0">
              <a:buNone/>
              <a:defRPr sz="1200"/>
            </a:lvl8pPr>
            <a:lvl9pPr marL="4877101" indent="0">
              <a:buNone/>
              <a:defRPr sz="12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4C03D9E4-7B65-4B1A-A5B6-A7C5C4E365B1}" type="datetime1">
              <a:rPr lang="en-US" smtClean="0">
                <a:solidFill>
                  <a:prstClr val="black">
                    <a:tint val="75000"/>
                  </a:prstClr>
                </a:solidFill>
              </a:rPr>
              <a:pPr>
                <a:defRPr/>
              </a:pPr>
              <a:t>6/11/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142397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en-US"/>
          </a:p>
        </p:txBody>
      </p:sp>
      <p:sp>
        <p:nvSpPr>
          <p:cNvPr id="3" name="İçerik Yer Tutucusu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Veri Yer Tutucusu 3"/>
          <p:cNvSpPr>
            <a:spLocks noGrp="1"/>
          </p:cNvSpPr>
          <p:nvPr>
            <p:ph type="dt" sz="half" idx="10"/>
          </p:nvPr>
        </p:nvSpPr>
        <p:spPr/>
        <p:txBody>
          <a:bodyPr/>
          <a:lstStyle/>
          <a:p>
            <a:fld id="{612C887E-8A27-4379-B3B7-94E056AD5027}" type="datetimeFigureOut">
              <a:rPr lang="en-US" smtClean="0"/>
              <a:pPr/>
              <a:t>6/11/2020</a:t>
            </a:fld>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21553984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9718" y="4800639"/>
            <a:ext cx="7315200" cy="566738"/>
          </a:xfrm>
        </p:spPr>
        <p:txBody>
          <a:bodyPr anchor="b"/>
          <a:lstStyle>
            <a:lvl1pPr algn="l">
              <a:defRPr sz="2667" b="1"/>
            </a:lvl1pPr>
          </a:lstStyle>
          <a:p>
            <a:r>
              <a:rPr lang="tr-TR" smtClean="0"/>
              <a:t>Asıl başlık stili için tıklatın</a:t>
            </a:r>
            <a:endParaRPr lang="tr-TR"/>
          </a:p>
        </p:txBody>
      </p:sp>
      <p:sp>
        <p:nvSpPr>
          <p:cNvPr id="3" name="2 Resim Yer Tutucusu"/>
          <p:cNvSpPr>
            <a:spLocks noGrp="1"/>
          </p:cNvSpPr>
          <p:nvPr>
            <p:ph type="pic" idx="1"/>
          </p:nvPr>
        </p:nvSpPr>
        <p:spPr>
          <a:xfrm>
            <a:off x="2389718" y="612774"/>
            <a:ext cx="7315200" cy="4114800"/>
          </a:xfrm>
        </p:spPr>
        <p:txBody>
          <a:bodyPr/>
          <a:lstStyle>
            <a:lvl1pPr marL="0" indent="0">
              <a:buNone/>
              <a:defRPr sz="4267"/>
            </a:lvl1pPr>
            <a:lvl2pPr marL="609637" indent="0">
              <a:buNone/>
              <a:defRPr sz="3734"/>
            </a:lvl2pPr>
            <a:lvl3pPr marL="1219275" indent="0">
              <a:buNone/>
              <a:defRPr sz="3200"/>
            </a:lvl3pPr>
            <a:lvl4pPr marL="1828913" indent="0">
              <a:buNone/>
              <a:defRPr sz="2667"/>
            </a:lvl4pPr>
            <a:lvl5pPr marL="2438550" indent="0">
              <a:buNone/>
              <a:defRPr sz="2667"/>
            </a:lvl5pPr>
            <a:lvl6pPr marL="3048188" indent="0">
              <a:buNone/>
              <a:defRPr sz="2667"/>
            </a:lvl6pPr>
            <a:lvl7pPr marL="3657825" indent="0">
              <a:buNone/>
              <a:defRPr sz="2667"/>
            </a:lvl7pPr>
            <a:lvl8pPr marL="4267462" indent="0">
              <a:buNone/>
              <a:defRPr sz="2667"/>
            </a:lvl8pPr>
            <a:lvl9pPr marL="4877101" indent="0">
              <a:buNone/>
              <a:defRPr sz="2667"/>
            </a:lvl9pPr>
          </a:lstStyle>
          <a:p>
            <a:endParaRPr lang="tr-TR"/>
          </a:p>
        </p:txBody>
      </p:sp>
      <p:sp>
        <p:nvSpPr>
          <p:cNvPr id="4" name="3 Metin Yer Tutucusu"/>
          <p:cNvSpPr>
            <a:spLocks noGrp="1"/>
          </p:cNvSpPr>
          <p:nvPr>
            <p:ph type="body" sz="half" idx="2"/>
          </p:nvPr>
        </p:nvSpPr>
        <p:spPr>
          <a:xfrm>
            <a:off x="2389718" y="5367377"/>
            <a:ext cx="7315200" cy="804862"/>
          </a:xfrm>
        </p:spPr>
        <p:txBody>
          <a:bodyPr/>
          <a:lstStyle>
            <a:lvl1pPr marL="0" indent="0">
              <a:buNone/>
              <a:defRPr sz="1867"/>
            </a:lvl1pPr>
            <a:lvl2pPr marL="609637" indent="0">
              <a:buNone/>
              <a:defRPr sz="1600"/>
            </a:lvl2pPr>
            <a:lvl3pPr marL="1219275" indent="0">
              <a:buNone/>
              <a:defRPr sz="1334"/>
            </a:lvl3pPr>
            <a:lvl4pPr marL="1828913" indent="0">
              <a:buNone/>
              <a:defRPr sz="1200"/>
            </a:lvl4pPr>
            <a:lvl5pPr marL="2438550" indent="0">
              <a:buNone/>
              <a:defRPr sz="1200"/>
            </a:lvl5pPr>
            <a:lvl6pPr marL="3048188" indent="0">
              <a:buNone/>
              <a:defRPr sz="1200"/>
            </a:lvl6pPr>
            <a:lvl7pPr marL="3657825" indent="0">
              <a:buNone/>
              <a:defRPr sz="1200"/>
            </a:lvl7pPr>
            <a:lvl8pPr marL="4267462" indent="0">
              <a:buNone/>
              <a:defRPr sz="1200"/>
            </a:lvl8pPr>
            <a:lvl9pPr marL="4877101" indent="0">
              <a:buNone/>
              <a:defRPr sz="12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7C9D2265-639E-4B3F-8467-B93EFBF13233}" type="datetime1">
              <a:rPr lang="en-US" smtClean="0">
                <a:solidFill>
                  <a:prstClr val="black">
                    <a:tint val="75000"/>
                  </a:prstClr>
                </a:solidFill>
              </a:rPr>
              <a:pPr>
                <a:defRPr/>
              </a:pPr>
              <a:t>6/11/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330583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EA9F03B9-D8EA-4F69-98A0-4FF4529BB9A9}" type="datetime1">
              <a:rPr lang="en-US" smtClean="0">
                <a:solidFill>
                  <a:prstClr val="black">
                    <a:tint val="75000"/>
                  </a:prstClr>
                </a:solidFill>
              </a:rPr>
              <a:pPr>
                <a:defRPr/>
              </a:pPr>
              <a:t>6/11/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7058910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39201" y="274725"/>
            <a:ext cx="2743200" cy="5851525"/>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9601" y="274725"/>
            <a:ext cx="80264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6A145FD3-72FA-4727-8ADC-C13E2DF61C43}" type="datetime1">
              <a:rPr lang="en-US" smtClean="0">
                <a:solidFill>
                  <a:prstClr val="black">
                    <a:tint val="75000"/>
                  </a:prstClr>
                </a:solidFill>
              </a:rPr>
              <a:pPr>
                <a:defRPr/>
              </a:pPr>
              <a:t>6/11/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799038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Unvan 1"/>
          <p:cNvSpPr>
            <a:spLocks noGrp="1"/>
          </p:cNvSpPr>
          <p:nvPr>
            <p:ph type="title"/>
          </p:nvPr>
        </p:nvSpPr>
        <p:spPr>
          <a:xfrm>
            <a:off x="831850" y="1709738"/>
            <a:ext cx="10515600" cy="2852737"/>
          </a:xfrm>
        </p:spPr>
        <p:txBody>
          <a:bodyPr anchor="b"/>
          <a:lstStyle>
            <a:lvl1pPr>
              <a:defRPr sz="6000"/>
            </a:lvl1pPr>
          </a:lstStyle>
          <a:p>
            <a:r>
              <a:rPr lang="tr-TR" smtClean="0"/>
              <a:t>Asıl başlık stili için tıklatın</a:t>
            </a:r>
            <a:endParaRPr lang="en-US"/>
          </a:p>
        </p:txBody>
      </p:sp>
      <p:sp>
        <p:nvSpPr>
          <p:cNvPr id="3" name="Metin Yer Tutucusu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smtClean="0"/>
              <a:t>Asıl metin stillerini düzenlemek için tıklatın</a:t>
            </a:r>
          </a:p>
        </p:txBody>
      </p:sp>
      <p:sp>
        <p:nvSpPr>
          <p:cNvPr id="4" name="Veri Yer Tutucusu 3"/>
          <p:cNvSpPr>
            <a:spLocks noGrp="1"/>
          </p:cNvSpPr>
          <p:nvPr>
            <p:ph type="dt" sz="half" idx="10"/>
          </p:nvPr>
        </p:nvSpPr>
        <p:spPr/>
        <p:txBody>
          <a:bodyPr/>
          <a:lstStyle/>
          <a:p>
            <a:fld id="{612C887E-8A27-4379-B3B7-94E056AD5027}" type="datetimeFigureOut">
              <a:rPr lang="en-US" smtClean="0"/>
              <a:pPr/>
              <a:t>6/11/2020</a:t>
            </a:fld>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2417940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en-US"/>
          </a:p>
        </p:txBody>
      </p:sp>
      <p:sp>
        <p:nvSpPr>
          <p:cNvPr id="3" name="İçerik Yer Tutucusu 2"/>
          <p:cNvSpPr>
            <a:spLocks noGrp="1"/>
          </p:cNvSpPr>
          <p:nvPr>
            <p:ph sz="half" idx="1"/>
          </p:nvPr>
        </p:nvSpPr>
        <p:spPr>
          <a:xfrm>
            <a:off x="838200" y="1825625"/>
            <a:ext cx="5181600" cy="4351338"/>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İçerik Yer Tutucusu 3"/>
          <p:cNvSpPr>
            <a:spLocks noGrp="1"/>
          </p:cNvSpPr>
          <p:nvPr>
            <p:ph sz="half" idx="2"/>
          </p:nvPr>
        </p:nvSpPr>
        <p:spPr>
          <a:xfrm>
            <a:off x="6172200" y="1825625"/>
            <a:ext cx="5181600" cy="4351338"/>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Veri Yer Tutucusu 4"/>
          <p:cNvSpPr>
            <a:spLocks noGrp="1"/>
          </p:cNvSpPr>
          <p:nvPr>
            <p:ph type="dt" sz="half" idx="10"/>
          </p:nvPr>
        </p:nvSpPr>
        <p:spPr/>
        <p:txBody>
          <a:bodyPr/>
          <a:lstStyle/>
          <a:p>
            <a:fld id="{612C887E-8A27-4379-B3B7-94E056AD5027}" type="datetimeFigureOut">
              <a:rPr lang="en-US" smtClean="0"/>
              <a:pPr/>
              <a:t>6/11/2020</a:t>
            </a:fld>
            <a:endParaRPr lang="en-US"/>
          </a:p>
        </p:txBody>
      </p:sp>
      <p:sp>
        <p:nvSpPr>
          <p:cNvPr id="6" name="Altbilgi Yer Tutucusu 5"/>
          <p:cNvSpPr>
            <a:spLocks noGrp="1"/>
          </p:cNvSpPr>
          <p:nvPr>
            <p:ph type="ftr" sz="quarter" idx="11"/>
          </p:nvPr>
        </p:nvSpPr>
        <p:spPr/>
        <p:txBody>
          <a:bodyPr/>
          <a:lstStyle/>
          <a:p>
            <a:endParaRPr lang="en-US"/>
          </a:p>
        </p:txBody>
      </p:sp>
      <p:sp>
        <p:nvSpPr>
          <p:cNvPr id="7" name="Slayt Numarası Yer Tutucusu 6"/>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3782779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Unvan 1"/>
          <p:cNvSpPr>
            <a:spLocks noGrp="1"/>
          </p:cNvSpPr>
          <p:nvPr>
            <p:ph type="title"/>
          </p:nvPr>
        </p:nvSpPr>
        <p:spPr>
          <a:xfrm>
            <a:off x="839788" y="365125"/>
            <a:ext cx="10515600" cy="1325563"/>
          </a:xfrm>
        </p:spPr>
        <p:txBody>
          <a:bodyPr/>
          <a:lstStyle/>
          <a:p>
            <a:r>
              <a:rPr lang="tr-TR" smtClean="0"/>
              <a:t>Asıl başlık stili için tıklatın</a:t>
            </a:r>
            <a:endParaRPr lang="en-US"/>
          </a:p>
        </p:txBody>
      </p:sp>
      <p:sp>
        <p:nvSpPr>
          <p:cNvPr id="3" name="Metin Yer Tutucusu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İçerik Yer Tutucusu 3"/>
          <p:cNvSpPr>
            <a:spLocks noGrp="1"/>
          </p:cNvSpPr>
          <p:nvPr>
            <p:ph sz="half" idx="2"/>
          </p:nvPr>
        </p:nvSpPr>
        <p:spPr>
          <a:xfrm>
            <a:off x="839788" y="2505075"/>
            <a:ext cx="5157787" cy="3684588"/>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5" name="Metin Yer Tutucusu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İçerik Yer Tutucusu 5"/>
          <p:cNvSpPr>
            <a:spLocks noGrp="1"/>
          </p:cNvSpPr>
          <p:nvPr>
            <p:ph sz="quarter" idx="4"/>
          </p:nvPr>
        </p:nvSpPr>
        <p:spPr>
          <a:xfrm>
            <a:off x="6172200" y="2505075"/>
            <a:ext cx="5183188" cy="3684588"/>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7" name="Veri Yer Tutucusu 6"/>
          <p:cNvSpPr>
            <a:spLocks noGrp="1"/>
          </p:cNvSpPr>
          <p:nvPr>
            <p:ph type="dt" sz="half" idx="10"/>
          </p:nvPr>
        </p:nvSpPr>
        <p:spPr/>
        <p:txBody>
          <a:bodyPr/>
          <a:lstStyle/>
          <a:p>
            <a:fld id="{612C887E-8A27-4379-B3B7-94E056AD5027}" type="datetimeFigureOut">
              <a:rPr lang="en-US" smtClean="0"/>
              <a:pPr/>
              <a:t>6/11/2020</a:t>
            </a:fld>
            <a:endParaRPr lang="en-US"/>
          </a:p>
        </p:txBody>
      </p:sp>
      <p:sp>
        <p:nvSpPr>
          <p:cNvPr id="8" name="Altbilgi Yer Tutucusu 7"/>
          <p:cNvSpPr>
            <a:spLocks noGrp="1"/>
          </p:cNvSpPr>
          <p:nvPr>
            <p:ph type="ftr" sz="quarter" idx="11"/>
          </p:nvPr>
        </p:nvSpPr>
        <p:spPr/>
        <p:txBody>
          <a:bodyPr/>
          <a:lstStyle/>
          <a:p>
            <a:endParaRPr lang="en-US"/>
          </a:p>
        </p:txBody>
      </p:sp>
      <p:sp>
        <p:nvSpPr>
          <p:cNvPr id="9" name="Slayt Numarası Yer Tutucusu 8"/>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36227102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en-US"/>
          </a:p>
        </p:txBody>
      </p:sp>
      <p:sp>
        <p:nvSpPr>
          <p:cNvPr id="3" name="Veri Yer Tutucusu 2"/>
          <p:cNvSpPr>
            <a:spLocks noGrp="1"/>
          </p:cNvSpPr>
          <p:nvPr>
            <p:ph type="dt" sz="half" idx="10"/>
          </p:nvPr>
        </p:nvSpPr>
        <p:spPr/>
        <p:txBody>
          <a:bodyPr/>
          <a:lstStyle/>
          <a:p>
            <a:fld id="{612C887E-8A27-4379-B3B7-94E056AD5027}" type="datetimeFigureOut">
              <a:rPr lang="en-US" smtClean="0"/>
              <a:pPr/>
              <a:t>6/11/2020</a:t>
            </a:fld>
            <a:endParaRPr lang="en-US"/>
          </a:p>
        </p:txBody>
      </p:sp>
      <p:sp>
        <p:nvSpPr>
          <p:cNvPr id="4" name="Altbilgi Yer Tutucusu 3"/>
          <p:cNvSpPr>
            <a:spLocks noGrp="1"/>
          </p:cNvSpPr>
          <p:nvPr>
            <p:ph type="ftr" sz="quarter" idx="11"/>
          </p:nvPr>
        </p:nvSpPr>
        <p:spPr/>
        <p:txBody>
          <a:bodyPr/>
          <a:lstStyle/>
          <a:p>
            <a:endParaRPr lang="en-US"/>
          </a:p>
        </p:txBody>
      </p:sp>
      <p:sp>
        <p:nvSpPr>
          <p:cNvPr id="5" name="Slayt Numarası Yer Tutucusu 4"/>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12818299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612C887E-8A27-4379-B3B7-94E056AD5027}" type="datetimeFigureOut">
              <a:rPr lang="en-US" smtClean="0"/>
              <a:pPr/>
              <a:t>6/11/2020</a:t>
            </a:fld>
            <a:endParaRPr lang="en-US"/>
          </a:p>
        </p:txBody>
      </p:sp>
      <p:sp>
        <p:nvSpPr>
          <p:cNvPr id="3" name="Altbilgi Yer Tutucusu 2"/>
          <p:cNvSpPr>
            <a:spLocks noGrp="1"/>
          </p:cNvSpPr>
          <p:nvPr>
            <p:ph type="ftr" sz="quarter" idx="11"/>
          </p:nvPr>
        </p:nvSpPr>
        <p:spPr/>
        <p:txBody>
          <a:bodyPr/>
          <a:lstStyle/>
          <a:p>
            <a:endParaRPr lang="en-US"/>
          </a:p>
        </p:txBody>
      </p:sp>
      <p:sp>
        <p:nvSpPr>
          <p:cNvPr id="4" name="Slayt Numarası Yer Tutucusu 3"/>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26089597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en-US"/>
          </a:p>
        </p:txBody>
      </p:sp>
      <p:sp>
        <p:nvSpPr>
          <p:cNvPr id="3" name="İçerik Yer Tutucus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mek için tıklatın</a:t>
            </a:r>
          </a:p>
        </p:txBody>
      </p:sp>
      <p:sp>
        <p:nvSpPr>
          <p:cNvPr id="5" name="Veri Yer Tutucusu 4"/>
          <p:cNvSpPr>
            <a:spLocks noGrp="1"/>
          </p:cNvSpPr>
          <p:nvPr>
            <p:ph type="dt" sz="half" idx="10"/>
          </p:nvPr>
        </p:nvSpPr>
        <p:spPr/>
        <p:txBody>
          <a:bodyPr/>
          <a:lstStyle/>
          <a:p>
            <a:fld id="{612C887E-8A27-4379-B3B7-94E056AD5027}" type="datetimeFigureOut">
              <a:rPr lang="en-US" smtClean="0"/>
              <a:pPr/>
              <a:t>6/11/2020</a:t>
            </a:fld>
            <a:endParaRPr lang="en-US"/>
          </a:p>
        </p:txBody>
      </p:sp>
      <p:sp>
        <p:nvSpPr>
          <p:cNvPr id="6" name="Altbilgi Yer Tutucusu 5"/>
          <p:cNvSpPr>
            <a:spLocks noGrp="1"/>
          </p:cNvSpPr>
          <p:nvPr>
            <p:ph type="ftr" sz="quarter" idx="11"/>
          </p:nvPr>
        </p:nvSpPr>
        <p:spPr/>
        <p:txBody>
          <a:bodyPr/>
          <a:lstStyle/>
          <a:p>
            <a:endParaRPr lang="en-US"/>
          </a:p>
        </p:txBody>
      </p:sp>
      <p:sp>
        <p:nvSpPr>
          <p:cNvPr id="7" name="Slayt Numarası Yer Tutucusu 6"/>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2259497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en-US"/>
          </a:p>
        </p:txBody>
      </p:sp>
      <p:sp>
        <p:nvSpPr>
          <p:cNvPr id="3" name="Resim Yer Tutucusu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mek için tıklatın</a:t>
            </a:r>
          </a:p>
        </p:txBody>
      </p:sp>
      <p:sp>
        <p:nvSpPr>
          <p:cNvPr id="5" name="Veri Yer Tutucusu 4"/>
          <p:cNvSpPr>
            <a:spLocks noGrp="1"/>
          </p:cNvSpPr>
          <p:nvPr>
            <p:ph type="dt" sz="half" idx="10"/>
          </p:nvPr>
        </p:nvSpPr>
        <p:spPr/>
        <p:txBody>
          <a:bodyPr/>
          <a:lstStyle/>
          <a:p>
            <a:fld id="{612C887E-8A27-4379-B3B7-94E056AD5027}" type="datetimeFigureOut">
              <a:rPr lang="en-US" smtClean="0"/>
              <a:pPr/>
              <a:t>6/11/2020</a:t>
            </a:fld>
            <a:endParaRPr lang="en-US"/>
          </a:p>
        </p:txBody>
      </p:sp>
      <p:sp>
        <p:nvSpPr>
          <p:cNvPr id="6" name="Altbilgi Yer Tutucusu 5"/>
          <p:cNvSpPr>
            <a:spLocks noGrp="1"/>
          </p:cNvSpPr>
          <p:nvPr>
            <p:ph type="ftr" sz="quarter" idx="11"/>
          </p:nvPr>
        </p:nvSpPr>
        <p:spPr/>
        <p:txBody>
          <a:bodyPr/>
          <a:lstStyle/>
          <a:p>
            <a:endParaRPr lang="en-US"/>
          </a:p>
        </p:txBody>
      </p:sp>
      <p:sp>
        <p:nvSpPr>
          <p:cNvPr id="7" name="Slayt Numarası Yer Tutucusu 6"/>
          <p:cNvSpPr>
            <a:spLocks noGrp="1"/>
          </p:cNvSpPr>
          <p:nvPr>
            <p:ph type="sldNum" sz="quarter" idx="12"/>
          </p:nvPr>
        </p:nvSpPr>
        <p:spPr/>
        <p:txBody>
          <a:bodyPr/>
          <a:lstStyle/>
          <a:p>
            <a:fld id="{52417BAC-AD27-4367-93BC-03BF7B01E6B3}" type="slidenum">
              <a:rPr lang="en-US" smtClean="0"/>
              <a:pPr/>
              <a:t>‹#›</a:t>
            </a:fld>
            <a:endParaRPr lang="en-US"/>
          </a:p>
        </p:txBody>
      </p:sp>
    </p:spTree>
    <p:extLst>
      <p:ext uri="{BB962C8B-B14F-4D97-AF65-F5344CB8AC3E}">
        <p14:creationId xmlns:p14="http://schemas.microsoft.com/office/powerpoint/2010/main" val="3829902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smtClean="0"/>
              <a:t>Asıl başlık stili için tıklatın</a:t>
            </a:r>
            <a:endParaRPr lang="en-US"/>
          </a:p>
        </p:txBody>
      </p:sp>
      <p:sp>
        <p:nvSpPr>
          <p:cNvPr id="3" name="Metin Yer Tutucus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a:p>
        </p:txBody>
      </p:sp>
      <p:sp>
        <p:nvSpPr>
          <p:cNvPr id="4" name="Veri Yer Tutucusu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2C887E-8A27-4379-B3B7-94E056AD5027}" type="datetimeFigureOut">
              <a:rPr lang="en-US" smtClean="0"/>
              <a:pPr/>
              <a:t>6/11/2020</a:t>
            </a:fld>
            <a:endParaRPr lang="en-US"/>
          </a:p>
        </p:txBody>
      </p:sp>
      <p:sp>
        <p:nvSpPr>
          <p:cNvPr id="5" name="Altbilgi Yer Tutucusu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ayt Numarası Yer Tutucus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417BAC-AD27-4367-93BC-03BF7B01E6B3}" type="slidenum">
              <a:rPr lang="en-US" smtClean="0"/>
              <a:pPr/>
              <a:t>‹#›</a:t>
            </a:fld>
            <a:endParaRPr lang="en-US"/>
          </a:p>
        </p:txBody>
      </p:sp>
    </p:spTree>
    <p:extLst>
      <p:ext uri="{BB962C8B-B14F-4D97-AF65-F5344CB8AC3E}">
        <p14:creationId xmlns:p14="http://schemas.microsoft.com/office/powerpoint/2010/main" val="38674548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9601" y="274674"/>
            <a:ext cx="10972800" cy="1143000"/>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9601" y="1600235"/>
            <a:ext cx="10972800" cy="4525963"/>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9600" y="6356438"/>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pPr fontAlgn="base">
              <a:spcBef>
                <a:spcPct val="0"/>
              </a:spcBef>
              <a:spcAft>
                <a:spcPct val="0"/>
              </a:spcAft>
              <a:defRPr/>
            </a:pPr>
            <a:fld id="{0B6C97E4-4A94-4161-A551-2FAB721F66D1}" type="datetime1">
              <a:rPr lang="en-US" smtClean="0">
                <a:solidFill>
                  <a:prstClr val="black">
                    <a:tint val="75000"/>
                  </a:prstClr>
                </a:solidFill>
                <a:ea typeface="ヒラギノ角ゴ Pro W3" pitchFamily="1" charset="-128"/>
              </a:rPr>
              <a:pPr fontAlgn="base">
                <a:spcBef>
                  <a:spcPct val="0"/>
                </a:spcBef>
                <a:spcAft>
                  <a:spcPct val="0"/>
                </a:spcAft>
                <a:defRPr/>
              </a:pPr>
              <a:t>6/11/2020</a:t>
            </a:fld>
            <a:endParaRPr lang="en-CA">
              <a:solidFill>
                <a:prstClr val="black">
                  <a:tint val="75000"/>
                </a:prstClr>
              </a:solidFill>
              <a:ea typeface="ヒラギノ角ゴ Pro W3" pitchFamily="1" charset="-128"/>
            </a:endParaRPr>
          </a:p>
        </p:txBody>
      </p:sp>
      <p:sp>
        <p:nvSpPr>
          <p:cNvPr id="5" name="4 Altbilgi Yer Tutucusu"/>
          <p:cNvSpPr>
            <a:spLocks noGrp="1"/>
          </p:cNvSpPr>
          <p:nvPr>
            <p:ph type="ftr" sz="quarter" idx="3"/>
          </p:nvPr>
        </p:nvSpPr>
        <p:spPr>
          <a:xfrm>
            <a:off x="4165600" y="6356438"/>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pPr fontAlgn="base">
              <a:spcBef>
                <a:spcPct val="0"/>
              </a:spcBef>
              <a:spcAft>
                <a:spcPct val="0"/>
              </a:spcAft>
              <a:defRPr/>
            </a:pPr>
            <a:endParaRPr lang="en-CA">
              <a:solidFill>
                <a:prstClr val="black">
                  <a:tint val="75000"/>
                </a:prstClr>
              </a:solidFill>
              <a:ea typeface="ヒラギノ角ゴ Pro W3" pitchFamily="1" charset="-128"/>
            </a:endParaRPr>
          </a:p>
        </p:txBody>
      </p:sp>
      <p:sp>
        <p:nvSpPr>
          <p:cNvPr id="6" name="5 Slayt Numarası Yer Tutucusu"/>
          <p:cNvSpPr>
            <a:spLocks noGrp="1"/>
          </p:cNvSpPr>
          <p:nvPr>
            <p:ph type="sldNum" sz="quarter" idx="4"/>
          </p:nvPr>
        </p:nvSpPr>
        <p:spPr>
          <a:xfrm>
            <a:off x="8737600" y="6356438"/>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pPr fontAlgn="base">
              <a:spcBef>
                <a:spcPct val="0"/>
              </a:spcBef>
              <a:spcAft>
                <a:spcPct val="0"/>
              </a:spcAft>
              <a:defRPr/>
            </a:pPr>
            <a:fld id="{FF16F97C-866D-4F85-A1F6-DDF39F62CB6A}" type="slidenum">
              <a:rPr lang="en-CA" smtClean="0">
                <a:solidFill>
                  <a:prstClr val="black">
                    <a:tint val="75000"/>
                  </a:prstClr>
                </a:solidFill>
                <a:ea typeface="ヒラギノ角ゴ Pro W3" pitchFamily="1" charset="-128"/>
              </a:rPr>
              <a:pPr fontAlgn="base">
                <a:spcBef>
                  <a:spcPct val="0"/>
                </a:spcBef>
                <a:spcAft>
                  <a:spcPct val="0"/>
                </a:spcAft>
                <a:defRPr/>
              </a:pPr>
              <a:t>‹#›</a:t>
            </a:fld>
            <a:endParaRPr lang="en-CA">
              <a:solidFill>
                <a:prstClr val="black">
                  <a:tint val="75000"/>
                </a:prstClr>
              </a:solidFill>
              <a:ea typeface="ヒラギノ角ゴ Pro W3" pitchFamily="1" charset="-128"/>
            </a:endParaRPr>
          </a:p>
        </p:txBody>
      </p:sp>
    </p:spTree>
    <p:extLst>
      <p:ext uri="{BB962C8B-B14F-4D97-AF65-F5344CB8AC3E}">
        <p14:creationId xmlns:p14="http://schemas.microsoft.com/office/powerpoint/2010/main" val="379053710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ctr" defTabSz="1219275" rtl="0" eaLnBrk="1" latinLnBrk="0" hangingPunct="1">
        <a:spcBef>
          <a:spcPct val="0"/>
        </a:spcBef>
        <a:buNone/>
        <a:defRPr sz="5867" kern="1200">
          <a:solidFill>
            <a:schemeClr val="tx1"/>
          </a:solidFill>
          <a:latin typeface="+mj-lt"/>
          <a:ea typeface="+mj-ea"/>
          <a:cs typeface="+mj-cs"/>
        </a:defRPr>
      </a:lvl1pPr>
    </p:titleStyle>
    <p:bodyStyle>
      <a:lvl1pPr marL="457229" indent="-457229" algn="l" defTabSz="1219275"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661" indent="-381024" algn="l" defTabSz="1219275" rtl="0" eaLnBrk="1" latinLnBrk="0" hangingPunct="1">
        <a:spcBef>
          <a:spcPct val="20000"/>
        </a:spcBef>
        <a:buFont typeface="Arial" pitchFamily="34" charset="0"/>
        <a:buChar char="–"/>
        <a:defRPr sz="3734" kern="1200">
          <a:solidFill>
            <a:schemeClr val="tx1"/>
          </a:solidFill>
          <a:latin typeface="+mn-lt"/>
          <a:ea typeface="+mn-ea"/>
          <a:cs typeface="+mn-cs"/>
        </a:defRPr>
      </a:lvl2pPr>
      <a:lvl3pPr marL="1524094" indent="-304819" algn="l" defTabSz="1219275"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732"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369"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3006"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644"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2282"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919" indent="-304819" algn="l" defTabSz="1219275"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tr-TR"/>
      </a:defPPr>
      <a:lvl1pPr marL="0" algn="l" defTabSz="1219275" rtl="0" eaLnBrk="1" latinLnBrk="0" hangingPunct="1">
        <a:defRPr sz="2400" kern="1200">
          <a:solidFill>
            <a:schemeClr val="tx1"/>
          </a:solidFill>
          <a:latin typeface="+mn-lt"/>
          <a:ea typeface="+mn-ea"/>
          <a:cs typeface="+mn-cs"/>
        </a:defRPr>
      </a:lvl1pPr>
      <a:lvl2pPr marL="609637" algn="l" defTabSz="1219275" rtl="0" eaLnBrk="1" latinLnBrk="0" hangingPunct="1">
        <a:defRPr sz="2400" kern="1200">
          <a:solidFill>
            <a:schemeClr val="tx1"/>
          </a:solidFill>
          <a:latin typeface="+mn-lt"/>
          <a:ea typeface="+mn-ea"/>
          <a:cs typeface="+mn-cs"/>
        </a:defRPr>
      </a:lvl2pPr>
      <a:lvl3pPr marL="1219275" algn="l" defTabSz="1219275" rtl="0" eaLnBrk="1" latinLnBrk="0" hangingPunct="1">
        <a:defRPr sz="2400" kern="1200">
          <a:solidFill>
            <a:schemeClr val="tx1"/>
          </a:solidFill>
          <a:latin typeface="+mn-lt"/>
          <a:ea typeface="+mn-ea"/>
          <a:cs typeface="+mn-cs"/>
        </a:defRPr>
      </a:lvl3pPr>
      <a:lvl4pPr marL="1828913" algn="l" defTabSz="1219275" rtl="0" eaLnBrk="1" latinLnBrk="0" hangingPunct="1">
        <a:defRPr sz="2400" kern="1200">
          <a:solidFill>
            <a:schemeClr val="tx1"/>
          </a:solidFill>
          <a:latin typeface="+mn-lt"/>
          <a:ea typeface="+mn-ea"/>
          <a:cs typeface="+mn-cs"/>
        </a:defRPr>
      </a:lvl4pPr>
      <a:lvl5pPr marL="2438550" algn="l" defTabSz="1219275" rtl="0" eaLnBrk="1" latinLnBrk="0" hangingPunct="1">
        <a:defRPr sz="2400" kern="1200">
          <a:solidFill>
            <a:schemeClr val="tx1"/>
          </a:solidFill>
          <a:latin typeface="+mn-lt"/>
          <a:ea typeface="+mn-ea"/>
          <a:cs typeface="+mn-cs"/>
        </a:defRPr>
      </a:lvl5pPr>
      <a:lvl6pPr marL="3048188" algn="l" defTabSz="1219275" rtl="0" eaLnBrk="1" latinLnBrk="0" hangingPunct="1">
        <a:defRPr sz="2400" kern="1200">
          <a:solidFill>
            <a:schemeClr val="tx1"/>
          </a:solidFill>
          <a:latin typeface="+mn-lt"/>
          <a:ea typeface="+mn-ea"/>
          <a:cs typeface="+mn-cs"/>
        </a:defRPr>
      </a:lvl6pPr>
      <a:lvl7pPr marL="3657825" algn="l" defTabSz="1219275" rtl="0" eaLnBrk="1" latinLnBrk="0" hangingPunct="1">
        <a:defRPr sz="2400" kern="1200">
          <a:solidFill>
            <a:schemeClr val="tx1"/>
          </a:solidFill>
          <a:latin typeface="+mn-lt"/>
          <a:ea typeface="+mn-ea"/>
          <a:cs typeface="+mn-cs"/>
        </a:defRPr>
      </a:lvl7pPr>
      <a:lvl8pPr marL="4267462" algn="l" defTabSz="1219275" rtl="0" eaLnBrk="1" latinLnBrk="0" hangingPunct="1">
        <a:defRPr sz="2400" kern="1200">
          <a:solidFill>
            <a:schemeClr val="tx1"/>
          </a:solidFill>
          <a:latin typeface="+mn-lt"/>
          <a:ea typeface="+mn-ea"/>
          <a:cs typeface="+mn-cs"/>
        </a:defRPr>
      </a:lvl8pPr>
      <a:lvl9pPr marL="4877101" algn="l" defTabSz="121927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8.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3.png"/><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notesSlide" Target="../notesSlides/notesSlide9.xml"/><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slideLayout" Target="../slideLayouts/slideLayout13.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s/_rels/slide11.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3.png"/><Relationship Id="rId7" Type="http://schemas.openxmlformats.org/officeDocument/2006/relationships/diagramColors" Target="../diagrams/colors3.xml"/><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2.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26" Type="http://schemas.openxmlformats.org/officeDocument/2006/relationships/image" Target="../media/image10.png"/><Relationship Id="rId3" Type="http://schemas.openxmlformats.org/officeDocument/2006/relationships/tags" Target="../tags/tag58.xml"/><Relationship Id="rId21" Type="http://schemas.openxmlformats.org/officeDocument/2006/relationships/tags" Target="../tags/tag76.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image" Target="../media/image3.png"/><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notesSlide" Target="../notesSlides/notesSlide11.xml"/><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slideLayout" Target="../slideLayouts/slideLayout13.xml"/><Relationship Id="rId10" Type="http://schemas.openxmlformats.org/officeDocument/2006/relationships/tags" Target="../tags/tag65.xml"/><Relationship Id="rId19" Type="http://schemas.openxmlformats.org/officeDocument/2006/relationships/tags" Target="../tags/tag74.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11.jp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7.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7.xml"/><Relationship Id="rId6" Type="http://schemas.openxmlformats.org/officeDocument/2006/relationships/image" Target="../media/image3.png"/><Relationship Id="rId5" Type="http://schemas.openxmlformats.org/officeDocument/2006/relationships/image" Target="../media/image16.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3.png"/><Relationship Id="rId7" Type="http://schemas.openxmlformats.org/officeDocument/2006/relationships/diagramColors" Target="../diagrams/colors4.xml"/><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8.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hyperlink" Target="Cari%20&#304;&#351;lemler%20Hesab&#305;na%20Katk&#305;%20Sa&#287;layacak%20&#220;r&#252;n%20Listesi.pdf" TargetMode="External"/><Relationship Id="rId2" Type="http://schemas.openxmlformats.org/officeDocument/2006/relationships/tags" Target="../tags/tag79.xml"/><Relationship Id="rId16" Type="http://schemas.openxmlformats.org/officeDocument/2006/relationships/image" Target="../media/image3.png"/><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5" Type="http://schemas.openxmlformats.org/officeDocument/2006/relationships/slideLayout" Target="../slideLayouts/slideLayout13.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92.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png"/><Relationship Id="rId7"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5.jpeg"/><Relationship Id="rId5" Type="http://schemas.openxmlformats.org/officeDocument/2006/relationships/hyperlink" Target="http://www.google.com.tr/url?sa=i&amp;rct=j&amp;q=&amp;esrc=s&amp;source=images&amp;cd=&amp;cad=rja&amp;uact=8&amp;ved=0CAcQjRxqFQoTCO3QpbjR-ccCFce9Ggod0NIICg&amp;url=http://skollworldforum.org/organization/global-social-benefit-incubator/&amp;bvm=bv.102537793,d.bGg&amp;psig=AFQjCNG6InTn97Qdy0mE7Mv_y_b98t2qdw&amp;ust=1442426974648304" TargetMode="External"/><Relationship Id="rId4" Type="http://schemas.openxmlformats.org/officeDocument/2006/relationships/image" Target="../media/image4.jpeg"/><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3.png"/><Relationship Id="rId5" Type="http://schemas.openxmlformats.org/officeDocument/2006/relationships/slideLayout" Target="../slideLayouts/slideLayout13.xml"/><Relationship Id="rId4" Type="http://schemas.openxmlformats.org/officeDocument/2006/relationships/tags" Target="../tags/tag96.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tags" Target="../tags/tag99.xml"/><Relationship Id="rId7" Type="http://schemas.openxmlformats.org/officeDocument/2006/relationships/diagramData" Target="../diagrams/data5.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3.png"/><Relationship Id="rId11" Type="http://schemas.microsoft.com/office/2007/relationships/diagramDrawing" Target="../diagrams/drawing5.xml"/><Relationship Id="rId5" Type="http://schemas.openxmlformats.org/officeDocument/2006/relationships/notesSlide" Target="../notesSlides/notesSlide16.xml"/><Relationship Id="rId10" Type="http://schemas.openxmlformats.org/officeDocument/2006/relationships/diagramColors" Target="../diagrams/colors5.xml"/><Relationship Id="rId4" Type="http://schemas.openxmlformats.org/officeDocument/2006/relationships/slideLayout" Target="../slideLayouts/slideLayout13.xml"/><Relationship Id="rId9" Type="http://schemas.openxmlformats.org/officeDocument/2006/relationships/diagramQuickStyle" Target="../diagrams/quickStyle5.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3.xml"/><Relationship Id="rId1" Type="http://schemas.openxmlformats.org/officeDocument/2006/relationships/tags" Target="../tags/tag100.xml"/></Relationships>
</file>

<file path=ppt/slides/_rels/slide23.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18" Type="http://schemas.openxmlformats.org/officeDocument/2006/relationships/tags" Target="../tags/tag118.xml"/><Relationship Id="rId3" Type="http://schemas.openxmlformats.org/officeDocument/2006/relationships/tags" Target="../tags/tag103.xml"/><Relationship Id="rId21" Type="http://schemas.openxmlformats.org/officeDocument/2006/relationships/tags" Target="../tags/tag121.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image" Target="../media/image3.png"/><Relationship Id="rId2" Type="http://schemas.openxmlformats.org/officeDocument/2006/relationships/tags" Target="../tags/tag102.xml"/><Relationship Id="rId16" Type="http://schemas.openxmlformats.org/officeDocument/2006/relationships/tags" Target="../tags/tag116.xml"/><Relationship Id="rId20" Type="http://schemas.openxmlformats.org/officeDocument/2006/relationships/tags" Target="../tags/tag120.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24" Type="http://schemas.openxmlformats.org/officeDocument/2006/relationships/slideLayout" Target="../slideLayouts/slideLayout13.xml"/><Relationship Id="rId5" Type="http://schemas.openxmlformats.org/officeDocument/2006/relationships/tags" Target="../tags/tag105.xml"/><Relationship Id="rId15" Type="http://schemas.openxmlformats.org/officeDocument/2006/relationships/tags" Target="../tags/tag115.xml"/><Relationship Id="rId23" Type="http://schemas.openxmlformats.org/officeDocument/2006/relationships/tags" Target="../tags/tag123.xml"/><Relationship Id="rId10" Type="http://schemas.openxmlformats.org/officeDocument/2006/relationships/tags" Target="../tags/tag110.xml"/><Relationship Id="rId19" Type="http://schemas.openxmlformats.org/officeDocument/2006/relationships/tags" Target="../tags/tag119.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s>
</file>

<file path=ppt/slides/_rels/slide24.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3.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slideLayout" Target="../slideLayouts/slideLayout13.xml"/><Relationship Id="rId5" Type="http://schemas.openxmlformats.org/officeDocument/2006/relationships/tags" Target="../tags/tag128.xml"/><Relationship Id="rId10" Type="http://schemas.openxmlformats.org/officeDocument/2006/relationships/tags" Target="../tags/tag133.xml"/><Relationship Id="rId4" Type="http://schemas.openxmlformats.org/officeDocument/2006/relationships/tags" Target="../tags/tag127.xml"/><Relationship Id="rId9" Type="http://schemas.openxmlformats.org/officeDocument/2006/relationships/tags" Target="../tags/tag132.xml"/></Relationships>
</file>

<file path=ppt/slides/_rels/slide25.xml.rels><?xml version="1.0" encoding="UTF-8" standalone="yes"?>
<Relationships xmlns="http://schemas.openxmlformats.org/package/2006/relationships"><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9" Type="http://schemas.openxmlformats.org/officeDocument/2006/relationships/tags" Target="../tags/tag172.xml"/><Relationship Id="rId21" Type="http://schemas.openxmlformats.org/officeDocument/2006/relationships/tags" Target="../tags/tag154.xml"/><Relationship Id="rId34" Type="http://schemas.openxmlformats.org/officeDocument/2006/relationships/tags" Target="../tags/tag167.xml"/><Relationship Id="rId42" Type="http://schemas.openxmlformats.org/officeDocument/2006/relationships/tags" Target="../tags/tag175.xml"/><Relationship Id="rId47" Type="http://schemas.openxmlformats.org/officeDocument/2006/relationships/tags" Target="../tags/tag180.xml"/><Relationship Id="rId50" Type="http://schemas.openxmlformats.org/officeDocument/2006/relationships/tags" Target="../tags/tag183.xml"/><Relationship Id="rId55" Type="http://schemas.openxmlformats.org/officeDocument/2006/relationships/slideLayout" Target="../slideLayouts/slideLayout13.xml"/><Relationship Id="rId7" Type="http://schemas.openxmlformats.org/officeDocument/2006/relationships/tags" Target="../tags/tag140.xml"/><Relationship Id="rId2" Type="http://schemas.openxmlformats.org/officeDocument/2006/relationships/tags" Target="../tags/tag135.xml"/><Relationship Id="rId16" Type="http://schemas.openxmlformats.org/officeDocument/2006/relationships/tags" Target="../tags/tag149.xml"/><Relationship Id="rId29" Type="http://schemas.openxmlformats.org/officeDocument/2006/relationships/tags" Target="../tags/tag162.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tags" Target="../tags/tag165.xml"/><Relationship Id="rId37" Type="http://schemas.openxmlformats.org/officeDocument/2006/relationships/tags" Target="../tags/tag170.xml"/><Relationship Id="rId40" Type="http://schemas.openxmlformats.org/officeDocument/2006/relationships/tags" Target="../tags/tag173.xml"/><Relationship Id="rId45" Type="http://schemas.openxmlformats.org/officeDocument/2006/relationships/tags" Target="../tags/tag178.xml"/><Relationship Id="rId53" Type="http://schemas.openxmlformats.org/officeDocument/2006/relationships/tags" Target="../tags/tag186.xml"/><Relationship Id="rId5" Type="http://schemas.openxmlformats.org/officeDocument/2006/relationships/tags" Target="../tags/tag138.xml"/><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tags" Target="../tags/tag164.xml"/><Relationship Id="rId44" Type="http://schemas.openxmlformats.org/officeDocument/2006/relationships/tags" Target="../tags/tag177.xml"/><Relationship Id="rId52" Type="http://schemas.openxmlformats.org/officeDocument/2006/relationships/tags" Target="../tags/tag185.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tags" Target="../tags/tag163.xml"/><Relationship Id="rId35" Type="http://schemas.openxmlformats.org/officeDocument/2006/relationships/tags" Target="../tags/tag168.xml"/><Relationship Id="rId43" Type="http://schemas.openxmlformats.org/officeDocument/2006/relationships/tags" Target="../tags/tag176.xml"/><Relationship Id="rId48" Type="http://schemas.openxmlformats.org/officeDocument/2006/relationships/tags" Target="../tags/tag181.xml"/><Relationship Id="rId56" Type="http://schemas.openxmlformats.org/officeDocument/2006/relationships/image" Target="../media/image3.png"/><Relationship Id="rId8" Type="http://schemas.openxmlformats.org/officeDocument/2006/relationships/tags" Target="../tags/tag141.xml"/><Relationship Id="rId51" Type="http://schemas.openxmlformats.org/officeDocument/2006/relationships/tags" Target="../tags/tag184.xml"/><Relationship Id="rId3" Type="http://schemas.openxmlformats.org/officeDocument/2006/relationships/tags" Target="../tags/tag136.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tags" Target="../tags/tag166.xml"/><Relationship Id="rId38" Type="http://schemas.openxmlformats.org/officeDocument/2006/relationships/tags" Target="../tags/tag171.xml"/><Relationship Id="rId46" Type="http://schemas.openxmlformats.org/officeDocument/2006/relationships/tags" Target="../tags/tag179.xml"/><Relationship Id="rId20" Type="http://schemas.openxmlformats.org/officeDocument/2006/relationships/tags" Target="../tags/tag153.xml"/><Relationship Id="rId41" Type="http://schemas.openxmlformats.org/officeDocument/2006/relationships/tags" Target="../tags/tag174.xml"/><Relationship Id="rId54" Type="http://schemas.openxmlformats.org/officeDocument/2006/relationships/tags" Target="../tags/tag187.xml"/><Relationship Id="rId1" Type="http://schemas.openxmlformats.org/officeDocument/2006/relationships/tags" Target="../tags/tag134.xml"/><Relationship Id="rId6" Type="http://schemas.openxmlformats.org/officeDocument/2006/relationships/tags" Target="../tags/tag139.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36" Type="http://schemas.openxmlformats.org/officeDocument/2006/relationships/tags" Target="../tags/tag169.xml"/><Relationship Id="rId49" Type="http://schemas.openxmlformats.org/officeDocument/2006/relationships/tags" Target="../tags/tag182.xml"/></Relationships>
</file>

<file path=ppt/slides/_rels/slide26.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slideLayout" Target="../slideLayouts/slideLayout13.xml"/><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tags" Target="../tags/tag199.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5" Type="http://schemas.openxmlformats.org/officeDocument/2006/relationships/tags" Target="../tags/tag192.xml"/><Relationship Id="rId10" Type="http://schemas.openxmlformats.org/officeDocument/2006/relationships/tags" Target="../tags/tag197.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image" Target="../media/image3.png"/></Relationships>
</file>

<file path=ppt/slides/_rels/slide27.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image" Target="../media/image3.png"/><Relationship Id="rId3" Type="http://schemas.openxmlformats.org/officeDocument/2006/relationships/tags" Target="../tags/tag202.xml"/><Relationship Id="rId21" Type="http://schemas.openxmlformats.org/officeDocument/2006/relationships/tags" Target="../tags/tag220.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notesSlide" Target="../notesSlides/notesSlide17.xml"/><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tags" Target="../tags/tag219.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tags" Target="../tags/tag210.xml"/><Relationship Id="rId24" Type="http://schemas.openxmlformats.org/officeDocument/2006/relationships/slideLayout" Target="../slideLayouts/slideLayout13.xml"/><Relationship Id="rId5" Type="http://schemas.openxmlformats.org/officeDocument/2006/relationships/tags" Target="../tags/tag204.xml"/><Relationship Id="rId15" Type="http://schemas.openxmlformats.org/officeDocument/2006/relationships/tags" Target="../tags/tag214.xml"/><Relationship Id="rId23" Type="http://schemas.openxmlformats.org/officeDocument/2006/relationships/tags" Target="../tags/tag222.xml"/><Relationship Id="rId10" Type="http://schemas.openxmlformats.org/officeDocument/2006/relationships/tags" Target="../tags/tag209.xml"/><Relationship Id="rId19" Type="http://schemas.openxmlformats.org/officeDocument/2006/relationships/tags" Target="../tags/tag218.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tags" Target="../tags/tag221.xml"/><Relationship Id="rId27" Type="http://schemas.openxmlformats.org/officeDocument/2006/relationships/image" Target="../media/image10.pn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image" Target="../media/image8.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8.xml"/><Relationship Id="rId1" Type="http://schemas.openxmlformats.org/officeDocument/2006/relationships/slideLayout" Target="../slideLayouts/slideLayout18.xml"/><Relationship Id="rId4" Type="http://schemas.openxmlformats.org/officeDocument/2006/relationships/image" Target="../media/image9.png"/></Relationships>
</file>

<file path=ppt/slides/_rels/slide31.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slideLayout" Target="../slideLayouts/slideLayout13.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tags" Target="../tags/tag239.xml"/><Relationship Id="rId2" Type="http://schemas.openxmlformats.org/officeDocument/2006/relationships/tags" Target="../tags/tag224.xml"/><Relationship Id="rId16" Type="http://schemas.openxmlformats.org/officeDocument/2006/relationships/tags" Target="../tags/tag238.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5" Type="http://schemas.openxmlformats.org/officeDocument/2006/relationships/tags" Target="../tags/tag227.xml"/><Relationship Id="rId15" Type="http://schemas.openxmlformats.org/officeDocument/2006/relationships/tags" Target="../tags/tag237.xml"/><Relationship Id="rId10" Type="http://schemas.openxmlformats.org/officeDocument/2006/relationships/tags" Target="../tags/tag232.xml"/><Relationship Id="rId19" Type="http://schemas.openxmlformats.org/officeDocument/2006/relationships/image" Target="../media/image3.png"/><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23.jpeg"/><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image" Target="../media/image22.jpeg"/><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image" Target="../media/image21.jpeg"/><Relationship Id="rId5" Type="http://schemas.openxmlformats.org/officeDocument/2006/relationships/tags" Target="../tags/tag244.xml"/><Relationship Id="rId10" Type="http://schemas.openxmlformats.org/officeDocument/2006/relationships/image" Target="../media/image3.png"/><Relationship Id="rId4" Type="http://schemas.openxmlformats.org/officeDocument/2006/relationships/tags" Target="../tags/tag243.xml"/><Relationship Id="rId9" Type="http://schemas.openxmlformats.org/officeDocument/2006/relationships/notesSlide" Target="../notesSlides/notesSlide19.xml"/><Relationship Id="rId14" Type="http://schemas.openxmlformats.org/officeDocument/2006/relationships/image" Target="../media/image24.jpeg"/></Relationships>
</file>

<file path=ppt/slides/_rels/slide34.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notesSlide" Target="../notesSlides/notesSlide20.xml"/><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slideLayout" Target="../slideLayouts/slideLayout13.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tags" Target="../tags/tag252.xml"/><Relationship Id="rId11" Type="http://schemas.openxmlformats.org/officeDocument/2006/relationships/tags" Target="../tags/tag257.xml"/><Relationship Id="rId5" Type="http://schemas.openxmlformats.org/officeDocument/2006/relationships/tags" Target="../tags/tag251.xml"/><Relationship Id="rId10" Type="http://schemas.openxmlformats.org/officeDocument/2006/relationships/tags" Target="../tags/tag256.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image" Target="../media/image3.png"/></Relationships>
</file>

<file path=ppt/slides/_rels/slide35.xml.rels><?xml version="1.0" encoding="UTF-8" standalone="yes"?>
<Relationships xmlns="http://schemas.openxmlformats.org/package/2006/relationships"><Relationship Id="rId13" Type="http://schemas.openxmlformats.org/officeDocument/2006/relationships/tags" Target="../tags/tag270.xml"/><Relationship Id="rId18" Type="http://schemas.openxmlformats.org/officeDocument/2006/relationships/tags" Target="../tags/tag275.xml"/><Relationship Id="rId26" Type="http://schemas.openxmlformats.org/officeDocument/2006/relationships/tags" Target="../tags/tag283.xml"/><Relationship Id="rId39" Type="http://schemas.openxmlformats.org/officeDocument/2006/relationships/tags" Target="../tags/tag296.xml"/><Relationship Id="rId21" Type="http://schemas.openxmlformats.org/officeDocument/2006/relationships/tags" Target="../tags/tag278.xml"/><Relationship Id="rId34" Type="http://schemas.openxmlformats.org/officeDocument/2006/relationships/tags" Target="../tags/tag291.xml"/><Relationship Id="rId42" Type="http://schemas.openxmlformats.org/officeDocument/2006/relationships/tags" Target="../tags/tag299.xml"/><Relationship Id="rId47" Type="http://schemas.openxmlformats.org/officeDocument/2006/relationships/tags" Target="../tags/tag304.xml"/><Relationship Id="rId50" Type="http://schemas.openxmlformats.org/officeDocument/2006/relationships/tags" Target="../tags/tag307.xml"/><Relationship Id="rId55" Type="http://schemas.openxmlformats.org/officeDocument/2006/relationships/tags" Target="../tags/tag312.xml"/><Relationship Id="rId7" Type="http://schemas.openxmlformats.org/officeDocument/2006/relationships/tags" Target="../tags/tag264.xml"/><Relationship Id="rId2" Type="http://schemas.openxmlformats.org/officeDocument/2006/relationships/tags" Target="../tags/tag259.xml"/><Relationship Id="rId16" Type="http://schemas.openxmlformats.org/officeDocument/2006/relationships/tags" Target="../tags/tag273.xml"/><Relationship Id="rId29" Type="http://schemas.openxmlformats.org/officeDocument/2006/relationships/tags" Target="../tags/tag286.xml"/><Relationship Id="rId11" Type="http://schemas.openxmlformats.org/officeDocument/2006/relationships/tags" Target="../tags/tag268.xml"/><Relationship Id="rId24" Type="http://schemas.openxmlformats.org/officeDocument/2006/relationships/tags" Target="../tags/tag281.xml"/><Relationship Id="rId32" Type="http://schemas.openxmlformats.org/officeDocument/2006/relationships/tags" Target="../tags/tag289.xml"/><Relationship Id="rId37" Type="http://schemas.openxmlformats.org/officeDocument/2006/relationships/tags" Target="../tags/tag294.xml"/><Relationship Id="rId40" Type="http://schemas.openxmlformats.org/officeDocument/2006/relationships/tags" Target="../tags/tag297.xml"/><Relationship Id="rId45" Type="http://schemas.openxmlformats.org/officeDocument/2006/relationships/tags" Target="../tags/tag302.xml"/><Relationship Id="rId53" Type="http://schemas.openxmlformats.org/officeDocument/2006/relationships/tags" Target="../tags/tag310.xml"/><Relationship Id="rId58" Type="http://schemas.openxmlformats.org/officeDocument/2006/relationships/tags" Target="../tags/tag315.xml"/><Relationship Id="rId5" Type="http://schemas.openxmlformats.org/officeDocument/2006/relationships/tags" Target="../tags/tag262.xml"/><Relationship Id="rId61" Type="http://schemas.openxmlformats.org/officeDocument/2006/relationships/image" Target="../media/image3.png"/><Relationship Id="rId19" Type="http://schemas.openxmlformats.org/officeDocument/2006/relationships/tags" Target="../tags/tag276.xml"/><Relationship Id="rId14" Type="http://schemas.openxmlformats.org/officeDocument/2006/relationships/tags" Target="../tags/tag271.xml"/><Relationship Id="rId22" Type="http://schemas.openxmlformats.org/officeDocument/2006/relationships/tags" Target="../tags/tag279.xml"/><Relationship Id="rId27" Type="http://schemas.openxmlformats.org/officeDocument/2006/relationships/tags" Target="../tags/tag284.xml"/><Relationship Id="rId30" Type="http://schemas.openxmlformats.org/officeDocument/2006/relationships/tags" Target="../tags/tag287.xml"/><Relationship Id="rId35" Type="http://schemas.openxmlformats.org/officeDocument/2006/relationships/tags" Target="../tags/tag292.xml"/><Relationship Id="rId43" Type="http://schemas.openxmlformats.org/officeDocument/2006/relationships/tags" Target="../tags/tag300.xml"/><Relationship Id="rId48" Type="http://schemas.openxmlformats.org/officeDocument/2006/relationships/tags" Target="../tags/tag305.xml"/><Relationship Id="rId56" Type="http://schemas.openxmlformats.org/officeDocument/2006/relationships/tags" Target="../tags/tag313.xml"/><Relationship Id="rId8" Type="http://schemas.openxmlformats.org/officeDocument/2006/relationships/tags" Target="../tags/tag265.xml"/><Relationship Id="rId51" Type="http://schemas.openxmlformats.org/officeDocument/2006/relationships/tags" Target="../tags/tag308.xml"/><Relationship Id="rId3" Type="http://schemas.openxmlformats.org/officeDocument/2006/relationships/tags" Target="../tags/tag260.xml"/><Relationship Id="rId12" Type="http://schemas.openxmlformats.org/officeDocument/2006/relationships/tags" Target="../tags/tag269.xml"/><Relationship Id="rId17" Type="http://schemas.openxmlformats.org/officeDocument/2006/relationships/tags" Target="../tags/tag274.xml"/><Relationship Id="rId25" Type="http://schemas.openxmlformats.org/officeDocument/2006/relationships/tags" Target="../tags/tag282.xml"/><Relationship Id="rId33" Type="http://schemas.openxmlformats.org/officeDocument/2006/relationships/tags" Target="../tags/tag290.xml"/><Relationship Id="rId38" Type="http://schemas.openxmlformats.org/officeDocument/2006/relationships/tags" Target="../tags/tag295.xml"/><Relationship Id="rId46" Type="http://schemas.openxmlformats.org/officeDocument/2006/relationships/tags" Target="../tags/tag303.xml"/><Relationship Id="rId59" Type="http://schemas.openxmlformats.org/officeDocument/2006/relationships/tags" Target="../tags/tag316.xml"/><Relationship Id="rId20" Type="http://schemas.openxmlformats.org/officeDocument/2006/relationships/tags" Target="../tags/tag277.xml"/><Relationship Id="rId41" Type="http://schemas.openxmlformats.org/officeDocument/2006/relationships/tags" Target="../tags/tag298.xml"/><Relationship Id="rId54" Type="http://schemas.openxmlformats.org/officeDocument/2006/relationships/tags" Target="../tags/tag311.xml"/><Relationship Id="rId1" Type="http://schemas.openxmlformats.org/officeDocument/2006/relationships/tags" Target="../tags/tag258.xml"/><Relationship Id="rId6" Type="http://schemas.openxmlformats.org/officeDocument/2006/relationships/tags" Target="../tags/tag263.xml"/><Relationship Id="rId15" Type="http://schemas.openxmlformats.org/officeDocument/2006/relationships/tags" Target="../tags/tag272.xml"/><Relationship Id="rId23" Type="http://schemas.openxmlformats.org/officeDocument/2006/relationships/tags" Target="../tags/tag280.xml"/><Relationship Id="rId28" Type="http://schemas.openxmlformats.org/officeDocument/2006/relationships/tags" Target="../tags/tag285.xml"/><Relationship Id="rId36" Type="http://schemas.openxmlformats.org/officeDocument/2006/relationships/tags" Target="../tags/tag293.xml"/><Relationship Id="rId49" Type="http://schemas.openxmlformats.org/officeDocument/2006/relationships/tags" Target="../tags/tag306.xml"/><Relationship Id="rId57" Type="http://schemas.openxmlformats.org/officeDocument/2006/relationships/tags" Target="../tags/tag314.xml"/><Relationship Id="rId10" Type="http://schemas.openxmlformats.org/officeDocument/2006/relationships/tags" Target="../tags/tag267.xml"/><Relationship Id="rId31" Type="http://schemas.openxmlformats.org/officeDocument/2006/relationships/tags" Target="../tags/tag288.xml"/><Relationship Id="rId44" Type="http://schemas.openxmlformats.org/officeDocument/2006/relationships/tags" Target="../tags/tag301.xml"/><Relationship Id="rId52" Type="http://schemas.openxmlformats.org/officeDocument/2006/relationships/tags" Target="../tags/tag309.xml"/><Relationship Id="rId60" Type="http://schemas.openxmlformats.org/officeDocument/2006/relationships/slideLayout" Target="../slideLayouts/slideLayout13.xml"/><Relationship Id="rId4" Type="http://schemas.openxmlformats.org/officeDocument/2006/relationships/tags" Target="../tags/tag261.xml"/><Relationship Id="rId9" Type="http://schemas.openxmlformats.org/officeDocument/2006/relationships/tags" Target="../tags/tag266.xml"/></Relationships>
</file>

<file path=ppt/slides/_rels/slide3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1.xml"/><Relationship Id="rId1" Type="http://schemas.openxmlformats.org/officeDocument/2006/relationships/slideLayout" Target="../slideLayouts/slideLayout18.xml"/><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1.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3.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slideLayout" Target="../slideLayouts/slideLayout13.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s>
</file>

<file path=ppt/slides/_rels/slide9.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3.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notesSlide" Target="../notesSlides/notesSlide8.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slideLayout" Target="../slideLayouts/slideLayout13.xml"/><Relationship Id="rId5" Type="http://schemas.openxmlformats.org/officeDocument/2006/relationships/tags" Target="../tags/tag28.xml"/><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3000" r="-13000"/>
          </a:stretch>
        </a:blipFill>
        <a:effectLst/>
      </p:bgPr>
    </p:bg>
    <p:spTree>
      <p:nvGrpSpPr>
        <p:cNvPr id="1" name=""/>
        <p:cNvGrpSpPr/>
        <p:nvPr/>
      </p:nvGrpSpPr>
      <p:grpSpPr>
        <a:xfrm>
          <a:off x="0" y="0"/>
          <a:ext cx="0" cy="0"/>
          <a:chOff x="0" y="0"/>
          <a:chExt cx="0" cy="0"/>
        </a:xfrm>
      </p:grpSpPr>
      <p:sp>
        <p:nvSpPr>
          <p:cNvPr id="4" name="3 Metin kutusu"/>
          <p:cNvSpPr txBox="1"/>
          <p:nvPr/>
        </p:nvSpPr>
        <p:spPr>
          <a:xfrm>
            <a:off x="830055" y="2574102"/>
            <a:ext cx="10795267" cy="4247317"/>
          </a:xfrm>
          <a:prstGeom prst="rect">
            <a:avLst/>
          </a:prstGeom>
          <a:noFill/>
        </p:spPr>
        <p:txBody>
          <a:bodyPr wrap="square" rtlCol="0">
            <a:spAutoFit/>
          </a:bodyPr>
          <a:lstStyle/>
          <a:p>
            <a:pPr algn="ctr"/>
            <a:r>
              <a:rPr lang="tr-TR" sz="5400" b="1" dirty="0">
                <a:solidFill>
                  <a:prstClr val="white"/>
                </a:solidFill>
              </a:rPr>
              <a:t>TEKNOLOJİ, YENİLİK VE YERLİLEŞTİRME </a:t>
            </a:r>
          </a:p>
          <a:p>
            <a:pPr algn="ctr"/>
            <a:r>
              <a:rPr lang="tr-TR" sz="5400" b="1" dirty="0">
                <a:solidFill>
                  <a:prstClr val="white"/>
                </a:solidFill>
              </a:rPr>
              <a:t>DAİRESİ </a:t>
            </a:r>
            <a:r>
              <a:rPr lang="tr-TR" sz="5400" b="1" dirty="0" smtClean="0">
                <a:solidFill>
                  <a:prstClr val="white"/>
                </a:solidFill>
              </a:rPr>
              <a:t>BAŞKANLIĞI</a:t>
            </a:r>
          </a:p>
          <a:p>
            <a:pPr algn="ctr"/>
            <a:endParaRPr lang="tr-TR" sz="5400" b="1" dirty="0" smtClean="0">
              <a:solidFill>
                <a:prstClr val="white"/>
              </a:solidFill>
            </a:endParaRPr>
          </a:p>
          <a:p>
            <a:pPr algn="ctr"/>
            <a:r>
              <a:rPr lang="tr-TR" sz="5400" b="1" dirty="0" smtClean="0">
                <a:solidFill>
                  <a:prstClr val="white"/>
                </a:solidFill>
              </a:rPr>
              <a:t>Haziran 2020</a:t>
            </a:r>
            <a:endParaRPr lang="tr-TR" sz="5400" b="1" dirty="0">
              <a:solidFill>
                <a:prstClr val="white"/>
              </a:solidFill>
            </a:endParaRPr>
          </a:p>
        </p:txBody>
      </p:sp>
      <p:pic>
        <p:nvPicPr>
          <p:cNvPr id="5" name="Resim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91681" y="734052"/>
            <a:ext cx="2290277" cy="1483227"/>
          </a:xfrm>
          <a:prstGeom prst="rect">
            <a:avLst/>
          </a:prstGeom>
        </p:spPr>
      </p:pic>
    </p:spTree>
    <p:extLst>
      <p:ext uri="{BB962C8B-B14F-4D97-AF65-F5344CB8AC3E}">
        <p14:creationId xmlns:p14="http://schemas.microsoft.com/office/powerpoint/2010/main" val="1155087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686315" y="972031"/>
            <a:ext cx="11052167" cy="5775426"/>
            <a:chOff x="726606" y="1935356"/>
            <a:chExt cx="7690789" cy="4272830"/>
          </a:xfrm>
        </p:grpSpPr>
        <p:grpSp>
          <p:nvGrpSpPr>
            <p:cNvPr id="68" name="Group 67"/>
            <p:cNvGrpSpPr>
              <a:grpSpLocks noChangeAspect="1"/>
            </p:cNvGrpSpPr>
            <p:nvPr/>
          </p:nvGrpSpPr>
          <p:grpSpPr>
            <a:xfrm>
              <a:off x="6947321" y="2270743"/>
              <a:ext cx="1470074" cy="1483078"/>
              <a:chOff x="9268877" y="1596791"/>
              <a:chExt cx="1005840" cy="1014737"/>
            </a:xfrm>
          </p:grpSpPr>
          <p:sp>
            <p:nvSpPr>
              <p:cNvPr id="67"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sp>
            <p:nvSpPr>
              <p:cNvPr id="6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grpSp>
        <p:cxnSp>
          <p:nvCxnSpPr>
            <p:cNvPr id="6"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sp>
          <p:nvSpPr>
            <p:cNvPr id="31" name="Oval 30"/>
            <p:cNvSpPr>
              <a:spLocks noChangeAspect="1"/>
            </p:cNvSpPr>
            <p:nvPr/>
          </p:nvSpPr>
          <p:spPr>
            <a:xfrm>
              <a:off x="4360558" y="2175153"/>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sp>
          <p:nvSpPr>
            <p:cNvPr id="32" name="Oval 31"/>
            <p:cNvSpPr>
              <a:spLocks noChangeAspect="1"/>
            </p:cNvSpPr>
            <p:nvPr/>
          </p:nvSpPr>
          <p:spPr>
            <a:xfrm>
              <a:off x="6673776" y="2174263"/>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4046873" y="2391093"/>
              <a:ext cx="671954" cy="275052"/>
            </a:xfrm>
            <a:prstGeom prst="rect">
              <a:avLst/>
            </a:prstGeom>
            <a:noFill/>
          </p:spPr>
          <p:txBody>
            <a:bodyPr wrap="none" rtlCol="0">
              <a:spAutoFit/>
            </a:bodyPr>
            <a:lstStyle/>
            <a:p>
              <a:pPr algn="ctr" defTabSz="518085">
                <a:defRPr/>
              </a:pPr>
              <a:r>
                <a:rPr lang="tr-TR" sz="1807" b="1" kern="0" dirty="0">
                  <a:solidFill>
                    <a:srgbClr val="1F497D"/>
                  </a:solidFill>
                </a:rPr>
                <a:t>Başvuru</a:t>
              </a:r>
              <a:endParaRPr lang="en-US" sz="1466" b="1" kern="0" dirty="0">
                <a:solidFill>
                  <a:srgbClr val="1F497D"/>
                </a:solidFill>
              </a:endParaRPr>
            </a:p>
          </p:txBody>
        </p:sp>
        <p:sp>
          <p:nvSpPr>
            <p:cNvPr id="93" name="TextBox 92"/>
            <p:cNvSpPr txBox="1"/>
            <p:nvPr/>
          </p:nvSpPr>
          <p:spPr>
            <a:xfrm>
              <a:off x="5986490" y="2441331"/>
              <a:ext cx="1621334" cy="274243"/>
            </a:xfrm>
            <a:prstGeom prst="rect">
              <a:avLst/>
            </a:prstGeom>
            <a:noFill/>
          </p:spPr>
          <p:txBody>
            <a:bodyPr wrap="none" rtlCol="0">
              <a:spAutoFit/>
            </a:bodyPr>
            <a:lstStyle/>
            <a:p>
              <a:pPr algn="ctr" defTabSz="518085">
                <a:defRPr/>
              </a:pPr>
              <a:r>
                <a:rPr lang="tr-TR" sz="1807" b="1" kern="0" dirty="0">
                  <a:solidFill>
                    <a:srgbClr val="1F497D"/>
                  </a:solidFill>
                </a:rPr>
                <a:t>Başvuruların Kontrolü</a:t>
              </a:r>
              <a:r>
                <a:rPr lang="en-US" sz="1466" b="1" kern="0" dirty="0">
                  <a:solidFill>
                    <a:srgbClr val="1F497D"/>
                  </a:solidFill>
                </a:rPr>
                <a:t> </a:t>
              </a:r>
            </a:p>
          </p:txBody>
        </p:sp>
        <p:sp>
          <p:nvSpPr>
            <p:cNvPr id="95" name="TextBox 94"/>
            <p:cNvSpPr txBox="1"/>
            <p:nvPr/>
          </p:nvSpPr>
          <p:spPr>
            <a:xfrm>
              <a:off x="3187798" y="2762492"/>
              <a:ext cx="2501039" cy="546485"/>
            </a:xfrm>
            <a:prstGeom prst="rect">
              <a:avLst/>
            </a:prstGeom>
            <a:noFill/>
          </p:spPr>
          <p:txBody>
            <a:bodyPr wrap="square" rtlCol="0">
              <a:spAutoFit/>
            </a:bodyPr>
            <a:lstStyle/>
            <a:p>
              <a:pPr algn="ctr" defTabSz="518085">
                <a:defRPr/>
              </a:pPr>
              <a:r>
                <a:rPr lang="tr-TR" sz="1400" i="1" kern="0" dirty="0"/>
                <a:t>K</a:t>
              </a:r>
              <a:r>
                <a:rPr lang="en-US" sz="1400" i="1" kern="0" dirty="0" err="1"/>
                <a:t>esin</a:t>
              </a:r>
              <a:r>
                <a:rPr lang="en-US" sz="1400" i="1" kern="0" dirty="0"/>
                <a:t> </a:t>
              </a:r>
              <a:r>
                <a:rPr lang="en-US" sz="1400" i="1" kern="0" dirty="0" err="1" smtClean="0"/>
                <a:t>başvuruya</a:t>
              </a:r>
              <a:r>
                <a:rPr lang="tr-TR" sz="1400" i="1" kern="0" dirty="0" smtClean="0"/>
                <a:t> </a:t>
              </a:r>
              <a:r>
                <a:rPr lang="en-US" sz="1400" i="1" kern="0" dirty="0" err="1" smtClean="0"/>
                <a:t>davet</a:t>
              </a:r>
              <a:r>
                <a:rPr lang="tr-TR" sz="1400" i="1" kern="0" dirty="0" smtClean="0"/>
                <a:t> edilme</a:t>
              </a:r>
            </a:p>
            <a:p>
              <a:pPr algn="ctr" defTabSz="518085">
                <a:defRPr/>
              </a:pPr>
              <a:r>
                <a:rPr lang="en-US" sz="1400" i="1" kern="0" dirty="0" err="1" smtClean="0"/>
                <a:t>KOSGEB’e</a:t>
              </a:r>
              <a:r>
                <a:rPr lang="en-US" sz="1400" i="1" kern="0" dirty="0" smtClean="0"/>
                <a:t> </a:t>
              </a:r>
              <a:r>
                <a:rPr lang="en-US" sz="1400" i="1" kern="0" dirty="0" err="1" smtClean="0"/>
                <a:t>yönlendiril</a:t>
              </a:r>
              <a:r>
                <a:rPr lang="tr-TR" sz="1400" i="1" kern="0" dirty="0" smtClean="0"/>
                <a:t>me</a:t>
              </a:r>
              <a:endParaRPr lang="en-US" sz="1400" i="1" kern="0" dirty="0"/>
            </a:p>
            <a:p>
              <a:pPr algn="ctr" defTabSz="518085">
                <a:defRPr/>
              </a:pPr>
              <a:r>
                <a:rPr lang="tr-TR" sz="1400" i="1" kern="0" dirty="0" smtClean="0"/>
                <a:t>KBS üzerinden Destek Başvurusu</a:t>
              </a:r>
              <a:endParaRPr lang="en-US" sz="1400" i="1" kern="0" dirty="0"/>
            </a:p>
          </p:txBody>
        </p:sp>
        <p:sp>
          <p:nvSpPr>
            <p:cNvPr id="96" name="TextBox 95"/>
            <p:cNvSpPr txBox="1"/>
            <p:nvPr/>
          </p:nvSpPr>
          <p:spPr>
            <a:xfrm>
              <a:off x="5785847" y="2759388"/>
              <a:ext cx="2173696" cy="546485"/>
            </a:xfrm>
            <a:prstGeom prst="rect">
              <a:avLst/>
            </a:prstGeom>
            <a:noFill/>
          </p:spPr>
          <p:txBody>
            <a:bodyPr wrap="square" rtlCol="0">
              <a:spAutoFit/>
            </a:bodyPr>
            <a:lstStyle/>
            <a:p>
              <a:pPr algn="ctr" defTabSz="518085">
                <a:defRPr/>
              </a:pPr>
              <a:r>
                <a:rPr lang="tr-TR" sz="1400" i="1" kern="0" dirty="0" smtClean="0"/>
                <a:t>Varsa eksik/hataların tespiti</a:t>
              </a:r>
            </a:p>
            <a:p>
              <a:pPr algn="ctr" defTabSz="518085">
                <a:defRPr/>
              </a:pPr>
              <a:r>
                <a:rPr lang="tr-TR" sz="1400" i="1" kern="0" dirty="0" smtClean="0"/>
                <a:t>Eksik/hataların İşletmeye bildirilmesi Mevzuata uygun hale getirilmesi</a:t>
              </a:r>
              <a:endParaRPr lang="en-US" sz="1400" i="1" kern="0" dirty="0"/>
            </a:p>
          </p:txBody>
        </p:sp>
        <p:grpSp>
          <p:nvGrpSpPr>
            <p:cNvPr id="134" name="POWER_USER_ID_ICONS_Cup"/>
            <p:cNvGrpSpPr>
              <a:grpSpLocks noChangeAspect="1"/>
            </p:cNvGrpSpPr>
            <p:nvPr>
              <p:custDataLst>
                <p:tags r:id="rId2"/>
              </p:custDataLst>
            </p:nvPr>
          </p:nvGrpSpPr>
          <p:grpSpPr bwMode="auto">
            <a:xfrm>
              <a:off x="7787205" y="4771529"/>
              <a:ext cx="559408" cy="603779"/>
              <a:chOff x="69" y="56"/>
              <a:chExt cx="353" cy="381"/>
            </a:xfrm>
            <a:solidFill>
              <a:schemeClr val="tx2"/>
            </a:solidFill>
          </p:grpSpPr>
          <p:sp>
            <p:nvSpPr>
              <p:cNvPr id="135" name="POWER_USER_ID_ICONS_Cup"/>
              <p:cNvSpPr>
                <a:spLocks/>
              </p:cNvSpPr>
              <p:nvPr>
                <p:custDataLst>
                  <p:tags r:id="rId18"/>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36" name="POWER_USER_ID_ICONS_Cup"/>
              <p:cNvSpPr>
                <a:spLocks/>
              </p:cNvSpPr>
              <p:nvPr>
                <p:custDataLst>
                  <p:tags r:id="rId19"/>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37" name="POWER_USER_ID_ICONS_Cup"/>
              <p:cNvSpPr>
                <a:spLocks/>
              </p:cNvSpPr>
              <p:nvPr>
                <p:custDataLst>
                  <p:tags r:id="rId20"/>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38" name="POWER_USER_ID_ICONS_Cup"/>
              <p:cNvSpPr>
                <a:spLocks/>
              </p:cNvSpPr>
              <p:nvPr>
                <p:custDataLst>
                  <p:tags r:id="rId21"/>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39" name="POWER_USER_ID_ICONS_Cup"/>
              <p:cNvSpPr>
                <a:spLocks/>
              </p:cNvSpPr>
              <p:nvPr>
                <p:custDataLst>
                  <p:tags r:id="rId22"/>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grpSp>
        <p:grpSp>
          <p:nvGrpSpPr>
            <p:cNvPr id="140" name="POWER_USER_ID_ICONS_Flag5"/>
            <p:cNvGrpSpPr>
              <a:grpSpLocks noChangeAspect="1"/>
            </p:cNvGrpSpPr>
            <p:nvPr>
              <p:custDataLst>
                <p:tags r:id="rId3"/>
              </p:custDataLst>
            </p:nvPr>
          </p:nvGrpSpPr>
          <p:grpSpPr bwMode="auto">
            <a:xfrm>
              <a:off x="726606" y="1935356"/>
              <a:ext cx="362108" cy="466410"/>
              <a:chOff x="8" y="5"/>
              <a:chExt cx="368" cy="474"/>
            </a:xfrm>
            <a:solidFill>
              <a:schemeClr val="tx2"/>
            </a:solidFill>
          </p:grpSpPr>
          <p:sp>
            <p:nvSpPr>
              <p:cNvPr id="141" name="POWER_USER_ID_ICONS_Flag5"/>
              <p:cNvSpPr>
                <a:spLocks/>
              </p:cNvSpPr>
              <p:nvPr>
                <p:custDataLst>
                  <p:tags r:id="rId4"/>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42" name="POWER_USER_ID_ICONS_Flag5"/>
              <p:cNvSpPr>
                <a:spLocks noChangeArrowheads="1"/>
              </p:cNvSpPr>
              <p:nvPr>
                <p:custDataLst>
                  <p:tags r:id="rId5"/>
                </p:custDataLst>
              </p:nvPr>
            </p:nvSpPr>
            <p:spPr bwMode="auto">
              <a:xfrm>
                <a:off x="34" y="26"/>
                <a:ext cx="55"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43" name="POWER_USER_ID_ICONS_Flag5"/>
              <p:cNvSpPr>
                <a:spLocks noChangeArrowheads="1"/>
              </p:cNvSpPr>
              <p:nvPr>
                <p:custDataLst>
                  <p:tags r:id="rId6"/>
                </p:custDataLst>
              </p:nvPr>
            </p:nvSpPr>
            <p:spPr bwMode="auto">
              <a:xfrm>
                <a:off x="88" y="81"/>
                <a:ext cx="56"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44" name="POWER_USER_ID_ICONS_Flag5"/>
              <p:cNvSpPr>
                <a:spLocks noChangeArrowheads="1"/>
              </p:cNvSpPr>
              <p:nvPr>
                <p:custDataLst>
                  <p:tags r:id="rId7"/>
                </p:custDataLst>
              </p:nvPr>
            </p:nvSpPr>
            <p:spPr bwMode="auto">
              <a:xfrm>
                <a:off x="34" y="136"/>
                <a:ext cx="55"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45" name="POWER_USER_ID_ICONS_Flag5"/>
              <p:cNvSpPr>
                <a:spLocks noChangeArrowheads="1"/>
              </p:cNvSpPr>
              <p:nvPr>
                <p:custDataLst>
                  <p:tags r:id="rId8"/>
                </p:custDataLst>
              </p:nvPr>
            </p:nvSpPr>
            <p:spPr bwMode="auto">
              <a:xfrm>
                <a:off x="88" y="191"/>
                <a:ext cx="56"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46" name="POWER_USER_ID_ICONS_Flag5"/>
              <p:cNvSpPr>
                <a:spLocks noChangeArrowheads="1"/>
              </p:cNvSpPr>
              <p:nvPr>
                <p:custDataLst>
                  <p:tags r:id="rId9"/>
                </p:custDataLst>
              </p:nvPr>
            </p:nvSpPr>
            <p:spPr bwMode="auto">
              <a:xfrm>
                <a:off x="144" y="26"/>
                <a:ext cx="54"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47" name="POWER_USER_ID_ICONS_Flag5"/>
              <p:cNvSpPr>
                <a:spLocks noChangeArrowheads="1"/>
              </p:cNvSpPr>
              <p:nvPr>
                <p:custDataLst>
                  <p:tags r:id="rId10"/>
                </p:custDataLst>
              </p:nvPr>
            </p:nvSpPr>
            <p:spPr bwMode="auto">
              <a:xfrm>
                <a:off x="198" y="81"/>
                <a:ext cx="55"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48" name="POWER_USER_ID_ICONS_Flag5"/>
              <p:cNvSpPr>
                <a:spLocks noChangeArrowheads="1"/>
              </p:cNvSpPr>
              <p:nvPr>
                <p:custDataLst>
                  <p:tags r:id="rId11"/>
                </p:custDataLst>
              </p:nvPr>
            </p:nvSpPr>
            <p:spPr bwMode="auto">
              <a:xfrm>
                <a:off x="144" y="136"/>
                <a:ext cx="54"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49" name="POWER_USER_ID_ICONS_Flag5"/>
              <p:cNvSpPr>
                <a:spLocks noChangeArrowheads="1"/>
              </p:cNvSpPr>
              <p:nvPr>
                <p:custDataLst>
                  <p:tags r:id="rId12"/>
                </p:custDataLst>
              </p:nvPr>
            </p:nvSpPr>
            <p:spPr bwMode="auto">
              <a:xfrm>
                <a:off x="198" y="191"/>
                <a:ext cx="55"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50" name="POWER_USER_ID_ICONS_Flag5"/>
              <p:cNvSpPr>
                <a:spLocks noChangeArrowheads="1"/>
              </p:cNvSpPr>
              <p:nvPr>
                <p:custDataLst>
                  <p:tags r:id="rId13"/>
                </p:custDataLst>
              </p:nvPr>
            </p:nvSpPr>
            <p:spPr bwMode="auto">
              <a:xfrm>
                <a:off x="253" y="26"/>
                <a:ext cx="56"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51" name="POWER_USER_ID_ICONS_Flag5"/>
              <p:cNvSpPr>
                <a:spLocks noChangeArrowheads="1"/>
              </p:cNvSpPr>
              <p:nvPr>
                <p:custDataLst>
                  <p:tags r:id="rId14"/>
                </p:custDataLst>
              </p:nvPr>
            </p:nvSpPr>
            <p:spPr bwMode="auto">
              <a:xfrm>
                <a:off x="309" y="81"/>
                <a:ext cx="54"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52" name="POWER_USER_ID_ICONS_Flag5"/>
              <p:cNvSpPr>
                <a:spLocks noChangeArrowheads="1"/>
              </p:cNvSpPr>
              <p:nvPr>
                <p:custDataLst>
                  <p:tags r:id="rId15"/>
                </p:custDataLst>
              </p:nvPr>
            </p:nvSpPr>
            <p:spPr bwMode="auto">
              <a:xfrm>
                <a:off x="253" y="136"/>
                <a:ext cx="56"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53" name="POWER_USER_ID_ICONS_Flag5"/>
              <p:cNvSpPr>
                <a:spLocks noChangeArrowheads="1"/>
              </p:cNvSpPr>
              <p:nvPr>
                <p:custDataLst>
                  <p:tags r:id="rId16"/>
                </p:custDataLst>
              </p:nvPr>
            </p:nvSpPr>
            <p:spPr bwMode="auto">
              <a:xfrm>
                <a:off x="309" y="191"/>
                <a:ext cx="54" cy="56"/>
              </a:xfrm>
              <a:prstGeom prst="rect">
                <a:avLst/>
              </a:prstGeom>
              <a:grpFill/>
              <a:ln w="0">
                <a:noFill/>
                <a:prstDash val="solid"/>
                <a:miter lim="800000"/>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sp>
            <p:nvSpPr>
              <p:cNvPr id="154" name="POWER_USER_ID_ICONS_Flag5"/>
              <p:cNvSpPr>
                <a:spLocks noEditPoints="1"/>
              </p:cNvSpPr>
              <p:nvPr>
                <p:custDataLst>
                  <p:tags r:id="rId17"/>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9079" tIns="34539" rIns="69079" bIns="34539" numCol="1" anchor="t" anchorCtr="0" compatLnSpc="1">
                <a:prstTxWarp prst="textNoShape">
                  <a:avLst/>
                </a:prstTxWarp>
              </a:bodyPr>
              <a:lstStyle/>
              <a:p>
                <a:pPr defTabSz="518085">
                  <a:defRPr/>
                </a:pPr>
                <a:endParaRPr lang="en-US" sz="1067" kern="0" dirty="0">
                  <a:solidFill>
                    <a:sysClr val="windowText" lastClr="000000"/>
                  </a:solidFill>
                </a:endParaRPr>
              </a:p>
            </p:txBody>
          </p:sp>
        </p:grpSp>
        <p:grpSp>
          <p:nvGrpSpPr>
            <p:cNvPr id="155" name="Group 154"/>
            <p:cNvGrpSpPr>
              <a:grpSpLocks noChangeAspect="1"/>
            </p:cNvGrpSpPr>
            <p:nvPr/>
          </p:nvGrpSpPr>
          <p:grpSpPr>
            <a:xfrm rot="10800000">
              <a:off x="777435" y="3753771"/>
              <a:ext cx="1470074" cy="1483025"/>
              <a:chOff x="9268877" y="1596827"/>
              <a:chExt cx="1005840" cy="1014701"/>
            </a:xfrm>
          </p:grpSpPr>
          <p:sp>
            <p:nvSpPr>
              <p:cNvPr id="1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sp>
            <p:nvSpPr>
              <p:cNvPr id="157" name="Arc 156"/>
              <p:cNvSpPr>
                <a:spLocks noChangeAspect="1"/>
              </p:cNvSpPr>
              <p:nvPr/>
            </p:nvSpPr>
            <p:spPr>
              <a:xfrm>
                <a:off x="9268877" y="1596827"/>
                <a:ext cx="1005805" cy="1005804"/>
              </a:xfrm>
              <a:prstGeom prst="arc">
                <a:avLst>
                  <a:gd name="adj1" fmla="val 16199998"/>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grpSp>
        <p:sp>
          <p:nvSpPr>
            <p:cNvPr id="158" name="Oval 157"/>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sp>
          <p:nvSpPr>
            <p:cNvPr id="159" name="Oval 158"/>
            <p:cNvSpPr>
              <a:spLocks noChangeAspect="1"/>
            </p:cNvSpPr>
            <p:nvPr/>
          </p:nvSpPr>
          <p:spPr>
            <a:xfrm>
              <a:off x="4442645" y="3669824"/>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sp>
          <p:nvSpPr>
            <p:cNvPr id="160" name="Oval 159"/>
            <p:cNvSpPr>
              <a:spLocks noChangeAspect="1"/>
            </p:cNvSpPr>
            <p:nvPr/>
          </p:nvSpPr>
          <p:spPr>
            <a:xfrm>
              <a:off x="6813579" y="36587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sp>
          <p:nvSpPr>
            <p:cNvPr id="161" name="TextBox 160"/>
            <p:cNvSpPr txBox="1"/>
            <p:nvPr/>
          </p:nvSpPr>
          <p:spPr>
            <a:xfrm>
              <a:off x="6269666" y="3817254"/>
              <a:ext cx="1136569" cy="275052"/>
            </a:xfrm>
            <a:prstGeom prst="rect">
              <a:avLst/>
            </a:prstGeom>
            <a:noFill/>
          </p:spPr>
          <p:txBody>
            <a:bodyPr wrap="none" rtlCol="0">
              <a:spAutoFit/>
            </a:bodyPr>
            <a:lstStyle/>
            <a:p>
              <a:pPr algn="ctr" defTabSz="518085">
                <a:defRPr/>
              </a:pPr>
              <a:r>
                <a:rPr lang="tr-TR" sz="1807" b="1" kern="0" dirty="0">
                  <a:solidFill>
                    <a:srgbClr val="1F497D"/>
                  </a:solidFill>
                </a:rPr>
                <a:t>Değerlendirme</a:t>
              </a:r>
              <a:endParaRPr lang="en-US" sz="1466" b="1" kern="0" dirty="0">
                <a:solidFill>
                  <a:srgbClr val="1F497D"/>
                </a:solidFill>
              </a:endParaRPr>
            </a:p>
          </p:txBody>
        </p:sp>
        <p:sp>
          <p:nvSpPr>
            <p:cNvPr id="162" name="TextBox 161"/>
            <p:cNvSpPr txBox="1"/>
            <p:nvPr/>
          </p:nvSpPr>
          <p:spPr>
            <a:xfrm>
              <a:off x="3627154" y="3851766"/>
              <a:ext cx="1811658" cy="275052"/>
            </a:xfrm>
            <a:prstGeom prst="rect">
              <a:avLst/>
            </a:prstGeom>
            <a:noFill/>
          </p:spPr>
          <p:txBody>
            <a:bodyPr wrap="none" rtlCol="0">
              <a:spAutoFit/>
            </a:bodyPr>
            <a:lstStyle/>
            <a:p>
              <a:pPr algn="ctr" defTabSz="518085">
                <a:defRPr/>
              </a:pPr>
              <a:r>
                <a:rPr lang="tr-TR" sz="1807" b="1" kern="0" dirty="0">
                  <a:solidFill>
                    <a:srgbClr val="1F497D"/>
                  </a:solidFill>
                </a:rPr>
                <a:t>Faaliyetlerin</a:t>
              </a:r>
              <a:r>
                <a:rPr lang="tr-TR" sz="1466" b="1" kern="0" dirty="0">
                  <a:solidFill>
                    <a:srgbClr val="1F497D"/>
                  </a:solidFill>
                </a:rPr>
                <a:t> </a:t>
              </a:r>
              <a:r>
                <a:rPr lang="tr-TR" sz="1807" b="1" kern="0" dirty="0">
                  <a:solidFill>
                    <a:srgbClr val="1F497D"/>
                  </a:solidFill>
                </a:rPr>
                <a:t>Yürütülmesi</a:t>
              </a:r>
              <a:endParaRPr lang="en-US" sz="1466" b="1" kern="0" dirty="0">
                <a:solidFill>
                  <a:srgbClr val="1F497D"/>
                </a:solidFill>
              </a:endParaRPr>
            </a:p>
          </p:txBody>
        </p:sp>
        <p:sp>
          <p:nvSpPr>
            <p:cNvPr id="163" name="TextBox 162"/>
            <p:cNvSpPr txBox="1"/>
            <p:nvPr/>
          </p:nvSpPr>
          <p:spPr>
            <a:xfrm>
              <a:off x="6024764" y="4125461"/>
              <a:ext cx="1695862" cy="227703"/>
            </a:xfrm>
            <a:prstGeom prst="rect">
              <a:avLst/>
            </a:prstGeom>
            <a:noFill/>
          </p:spPr>
          <p:txBody>
            <a:bodyPr wrap="square" rtlCol="0">
              <a:spAutoFit/>
            </a:bodyPr>
            <a:lstStyle/>
            <a:p>
              <a:pPr algn="ctr" defTabSz="518085">
                <a:defRPr/>
              </a:pPr>
              <a:r>
                <a:rPr lang="tr-TR" sz="1400" i="1" kern="0" dirty="0" smtClean="0"/>
                <a:t>Komite değerlendirmesi</a:t>
              </a:r>
              <a:endParaRPr lang="en-US" sz="1400" i="1" kern="0" dirty="0"/>
            </a:p>
          </p:txBody>
        </p:sp>
        <p:sp>
          <p:nvSpPr>
            <p:cNvPr id="164" name="TextBox 163"/>
            <p:cNvSpPr txBox="1"/>
            <p:nvPr/>
          </p:nvSpPr>
          <p:spPr>
            <a:xfrm>
              <a:off x="3563739" y="4175663"/>
              <a:ext cx="2075895" cy="387094"/>
            </a:xfrm>
            <a:prstGeom prst="rect">
              <a:avLst/>
            </a:prstGeom>
            <a:noFill/>
          </p:spPr>
          <p:txBody>
            <a:bodyPr wrap="square" rtlCol="0">
              <a:spAutoFit/>
            </a:bodyPr>
            <a:lstStyle/>
            <a:p>
              <a:pPr algn="ctr" defTabSz="518085">
                <a:defRPr/>
              </a:pPr>
              <a:r>
                <a:rPr lang="tr-TR" sz="1400" i="1" kern="0" dirty="0" smtClean="0"/>
                <a:t>Proje faaliyetlerinin yürütülmesi</a:t>
              </a:r>
            </a:p>
            <a:p>
              <a:pPr algn="ctr" defTabSz="518085">
                <a:defRPr/>
              </a:pPr>
              <a:r>
                <a:rPr lang="en-US" sz="1400" i="1" kern="0" dirty="0" smtClean="0"/>
                <a:t>4</a:t>
              </a:r>
              <a:r>
                <a:rPr lang="tr-TR" sz="1400" i="1" kern="0" dirty="0" smtClean="0"/>
                <a:t>’er</a:t>
              </a:r>
              <a:r>
                <a:rPr lang="en-US" sz="1400" i="1" kern="0" dirty="0" smtClean="0"/>
                <a:t> </a:t>
              </a:r>
              <a:r>
                <a:rPr lang="en-US" sz="1400" i="1" kern="0" dirty="0" err="1"/>
                <a:t>aylık</a:t>
              </a:r>
              <a:r>
                <a:rPr lang="en-US" sz="1400" i="1" kern="0" dirty="0"/>
                <a:t> </a:t>
              </a:r>
              <a:r>
                <a:rPr lang="en-US" sz="1400" i="1" kern="0" dirty="0" err="1"/>
                <a:t>dönemsel</a:t>
              </a:r>
              <a:r>
                <a:rPr lang="en-US" sz="1400" i="1" kern="0" dirty="0"/>
                <a:t> </a:t>
              </a:r>
              <a:r>
                <a:rPr lang="en-US" sz="1400" i="1" kern="0" dirty="0" err="1" smtClean="0"/>
                <a:t>izleme</a:t>
              </a:r>
              <a:endParaRPr lang="en-US" sz="1400" i="1" kern="0" dirty="0"/>
            </a:p>
          </p:txBody>
        </p:sp>
        <p:sp>
          <p:nvSpPr>
            <p:cNvPr id="165" name="TextBox 164"/>
            <p:cNvSpPr txBox="1"/>
            <p:nvPr/>
          </p:nvSpPr>
          <p:spPr>
            <a:xfrm>
              <a:off x="1721725" y="3803892"/>
              <a:ext cx="651803" cy="275052"/>
            </a:xfrm>
            <a:prstGeom prst="rect">
              <a:avLst/>
            </a:prstGeom>
            <a:noFill/>
          </p:spPr>
          <p:txBody>
            <a:bodyPr wrap="none" rtlCol="0">
              <a:spAutoFit/>
            </a:bodyPr>
            <a:lstStyle/>
            <a:p>
              <a:pPr algn="ctr" defTabSz="518085">
                <a:defRPr/>
              </a:pPr>
              <a:r>
                <a:rPr lang="en-US" sz="1807" b="1" kern="0" dirty="0" err="1">
                  <a:solidFill>
                    <a:srgbClr val="1F497D"/>
                  </a:solidFill>
                </a:rPr>
                <a:t>Ödeme</a:t>
              </a:r>
              <a:r>
                <a:rPr lang="en-US" sz="1466" b="1" kern="0" dirty="0">
                  <a:solidFill>
                    <a:srgbClr val="1F497D"/>
                  </a:solidFill>
                </a:rPr>
                <a:t> </a:t>
              </a:r>
            </a:p>
          </p:txBody>
        </p:sp>
        <p:sp>
          <p:nvSpPr>
            <p:cNvPr id="166" name="TextBox 165"/>
            <p:cNvSpPr txBox="1"/>
            <p:nvPr/>
          </p:nvSpPr>
          <p:spPr>
            <a:xfrm>
              <a:off x="1035212" y="4158403"/>
              <a:ext cx="2307523" cy="546485"/>
            </a:xfrm>
            <a:prstGeom prst="rect">
              <a:avLst/>
            </a:prstGeom>
            <a:noFill/>
          </p:spPr>
          <p:txBody>
            <a:bodyPr wrap="square" rtlCol="0">
              <a:spAutoFit/>
            </a:bodyPr>
            <a:lstStyle/>
            <a:p>
              <a:pPr algn="ctr" defTabSz="518085">
                <a:defRPr/>
              </a:pPr>
              <a:r>
                <a:rPr lang="tr-TR" sz="1400" i="1" kern="0" dirty="0" smtClean="0"/>
                <a:t>Dönemsel izlemenin raporlanması</a:t>
              </a:r>
            </a:p>
            <a:p>
              <a:pPr algn="ctr" defTabSz="518085">
                <a:defRPr/>
              </a:pPr>
              <a:r>
                <a:rPr lang="tr-TR" sz="1400" i="1" kern="0" dirty="0" smtClean="0"/>
                <a:t>Gerçekleşen giderler için destek talebi</a:t>
              </a:r>
            </a:p>
            <a:p>
              <a:pPr algn="ctr" defTabSz="518085">
                <a:defRPr/>
              </a:pPr>
              <a:endParaRPr lang="en-US" sz="1400" i="1" kern="0" dirty="0"/>
            </a:p>
          </p:txBody>
        </p:sp>
        <p:sp>
          <p:nvSpPr>
            <p:cNvPr id="167" name="Oval 166"/>
            <p:cNvSpPr>
              <a:spLocks noChangeAspect="1"/>
            </p:cNvSpPr>
            <p:nvPr/>
          </p:nvSpPr>
          <p:spPr>
            <a:xfrm>
              <a:off x="2699220"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sp>
          <p:nvSpPr>
            <p:cNvPr id="169" name="Oval 168"/>
            <p:cNvSpPr>
              <a:spLocks noChangeAspect="1"/>
            </p:cNvSpPr>
            <p:nvPr/>
          </p:nvSpPr>
          <p:spPr>
            <a:xfrm>
              <a:off x="6419407"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85">
                <a:defRPr/>
              </a:pPr>
              <a:endParaRPr lang="en-US" sz="1067" kern="0" dirty="0">
                <a:solidFill>
                  <a:sysClr val="windowText" lastClr="000000"/>
                </a:solidFill>
              </a:endParaRPr>
            </a:p>
          </p:txBody>
        </p:sp>
        <p:sp>
          <p:nvSpPr>
            <p:cNvPr id="170" name="TextBox 169"/>
            <p:cNvSpPr txBox="1"/>
            <p:nvPr/>
          </p:nvSpPr>
          <p:spPr>
            <a:xfrm>
              <a:off x="1920182" y="5306089"/>
              <a:ext cx="1762398" cy="275052"/>
            </a:xfrm>
            <a:prstGeom prst="rect">
              <a:avLst/>
            </a:prstGeom>
            <a:noFill/>
          </p:spPr>
          <p:txBody>
            <a:bodyPr wrap="none" rtlCol="0">
              <a:spAutoFit/>
            </a:bodyPr>
            <a:lstStyle/>
            <a:p>
              <a:pPr algn="ctr" defTabSz="518085">
                <a:defRPr/>
              </a:pPr>
              <a:r>
                <a:rPr lang="tr-TR" sz="1807" b="1" kern="0" dirty="0">
                  <a:solidFill>
                    <a:srgbClr val="1F497D"/>
                  </a:solidFill>
                </a:rPr>
                <a:t>Projenin Tamamlanması</a:t>
              </a:r>
              <a:endParaRPr lang="en-US" sz="1807" b="1" kern="0" dirty="0">
                <a:solidFill>
                  <a:srgbClr val="1F497D"/>
                </a:solidFill>
              </a:endParaRPr>
            </a:p>
          </p:txBody>
        </p:sp>
        <p:sp>
          <p:nvSpPr>
            <p:cNvPr id="172" name="TextBox 171"/>
            <p:cNvSpPr txBox="1"/>
            <p:nvPr/>
          </p:nvSpPr>
          <p:spPr>
            <a:xfrm>
              <a:off x="1552769" y="5661701"/>
              <a:ext cx="2554516" cy="546485"/>
            </a:xfrm>
            <a:prstGeom prst="rect">
              <a:avLst/>
            </a:prstGeom>
            <a:noFill/>
          </p:spPr>
          <p:txBody>
            <a:bodyPr wrap="square" rtlCol="0">
              <a:spAutoFit/>
            </a:bodyPr>
            <a:lstStyle/>
            <a:p>
              <a:pPr algn="ctr" defTabSz="518085">
                <a:defRPr/>
              </a:pPr>
              <a:r>
                <a:rPr lang="tr-TR" sz="1400" i="1" kern="0" dirty="0" smtClean="0"/>
                <a:t>P</a:t>
              </a:r>
              <a:r>
                <a:rPr lang="en-US" sz="1400" i="1" kern="0" dirty="0" err="1" smtClean="0"/>
                <a:t>roje</a:t>
              </a:r>
              <a:r>
                <a:rPr lang="tr-TR" sz="1400" i="1" kern="0" dirty="0" err="1" smtClean="0"/>
                <a:t>nin</a:t>
              </a:r>
              <a:r>
                <a:rPr lang="tr-TR" sz="1400" i="1" kern="0" dirty="0" smtClean="0"/>
                <a:t> </a:t>
              </a:r>
              <a:r>
                <a:rPr lang="en-US" sz="1400" i="1" kern="0" dirty="0" err="1" smtClean="0"/>
                <a:t>tamamlanması</a:t>
              </a:r>
              <a:endParaRPr lang="tr-TR" sz="1400" i="1" kern="0" dirty="0" smtClean="0"/>
            </a:p>
            <a:p>
              <a:pPr algn="ctr" defTabSz="518085">
                <a:defRPr/>
              </a:pPr>
              <a:r>
                <a:rPr lang="tr-TR" sz="1400" i="1" kern="0" dirty="0" smtClean="0"/>
                <a:t>Portal üzerinden KOSGEB’e yönlendirilme</a:t>
              </a:r>
            </a:p>
            <a:p>
              <a:pPr algn="ctr" defTabSz="518085">
                <a:defRPr/>
              </a:pPr>
              <a:r>
                <a:rPr lang="tr-TR" sz="1400" i="1" kern="0" dirty="0" smtClean="0"/>
                <a:t>KBS üzerinden tamamlama talebi</a:t>
              </a:r>
              <a:endParaRPr lang="en-US" sz="1400" i="1" kern="0" dirty="0"/>
            </a:p>
          </p:txBody>
        </p:sp>
        <p:sp>
          <p:nvSpPr>
            <p:cNvPr id="174" name="TextBox 173"/>
            <p:cNvSpPr txBox="1"/>
            <p:nvPr/>
          </p:nvSpPr>
          <p:spPr>
            <a:xfrm>
              <a:off x="5443630" y="5306089"/>
              <a:ext cx="1709123" cy="274049"/>
            </a:xfrm>
            <a:prstGeom prst="rect">
              <a:avLst/>
            </a:prstGeom>
            <a:noFill/>
          </p:spPr>
          <p:txBody>
            <a:bodyPr wrap="none" rtlCol="0">
              <a:spAutoFit/>
            </a:bodyPr>
            <a:lstStyle/>
            <a:p>
              <a:pPr algn="ctr" defTabSz="518085">
                <a:defRPr/>
              </a:pPr>
              <a:r>
                <a:rPr lang="tr-TR" sz="1807" b="1" kern="0" dirty="0" smtClean="0">
                  <a:solidFill>
                    <a:srgbClr val="1F497D"/>
                  </a:solidFill>
                </a:rPr>
                <a:t>Program Sonrası İzleme</a:t>
              </a:r>
              <a:endParaRPr lang="en-US" sz="1807" b="1" kern="0" dirty="0">
                <a:solidFill>
                  <a:srgbClr val="1F497D"/>
                </a:solidFill>
              </a:endParaRPr>
            </a:p>
          </p:txBody>
        </p:sp>
        <p:sp>
          <p:nvSpPr>
            <p:cNvPr id="175" name="TextBox 174"/>
            <p:cNvSpPr txBox="1"/>
            <p:nvPr/>
          </p:nvSpPr>
          <p:spPr>
            <a:xfrm>
              <a:off x="5046276" y="5620117"/>
              <a:ext cx="2604654" cy="227703"/>
            </a:xfrm>
            <a:prstGeom prst="rect">
              <a:avLst/>
            </a:prstGeom>
            <a:noFill/>
          </p:spPr>
          <p:txBody>
            <a:bodyPr wrap="square" rtlCol="0">
              <a:spAutoFit/>
            </a:bodyPr>
            <a:lstStyle/>
            <a:p>
              <a:pPr algn="ctr" defTabSz="518085">
                <a:defRPr/>
              </a:pPr>
              <a:r>
                <a:rPr lang="tr-TR" sz="1400" i="1" kern="0" dirty="0" smtClean="0"/>
                <a:t>İşletmenin proje sonrası izlenmesi</a:t>
              </a:r>
              <a:endParaRPr lang="en-US" sz="1400" i="1" kern="0" dirty="0"/>
            </a:p>
          </p:txBody>
        </p:sp>
      </p:grpSp>
      <p:pic>
        <p:nvPicPr>
          <p:cNvPr id="105" name="Picture 3"/>
          <p:cNvPicPr>
            <a:picLocks noChangeAspect="1" noChangeArrowheads="1"/>
          </p:cNvPicPr>
          <p:nvPr/>
        </p:nvPicPr>
        <p:blipFill>
          <a:blip r:embed="rId25" cstate="print"/>
          <a:srcRect/>
          <a:stretch>
            <a:fillRect/>
          </a:stretch>
        </p:blipFill>
        <p:spPr bwMode="auto">
          <a:xfrm>
            <a:off x="10992261" y="68823"/>
            <a:ext cx="960051" cy="509772"/>
          </a:xfrm>
          <a:prstGeom prst="rect">
            <a:avLst/>
          </a:prstGeom>
          <a:noFill/>
          <a:ln w="9525">
            <a:noFill/>
            <a:miter lim="800000"/>
            <a:headEnd/>
            <a:tailEnd/>
          </a:ln>
        </p:spPr>
      </p:pic>
      <p:sp>
        <p:nvSpPr>
          <p:cNvPr id="106" name="Text Box 2"/>
          <p:cNvSpPr txBox="1">
            <a:spLocks noChangeArrowheads="1"/>
          </p:cNvSpPr>
          <p:nvPr/>
        </p:nvSpPr>
        <p:spPr bwMode="auto">
          <a:xfrm>
            <a:off x="370681" y="239665"/>
            <a:ext cx="8093936" cy="410390"/>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203876">
              <a:buClr>
                <a:srgbClr val="F9A91C"/>
              </a:buClr>
              <a:buSzPct val="125000"/>
              <a:defRPr/>
            </a:pPr>
            <a:r>
              <a:rPr lang="tr-TR" sz="2667" b="1" dirty="0">
                <a:solidFill>
                  <a:srgbClr val="F9A91C"/>
                </a:solidFill>
                <a:latin typeface="Times New Roman" panose="02020603050405020304" pitchFamily="18" charset="0"/>
                <a:cs typeface="Times New Roman" panose="02020603050405020304" pitchFamily="18" charset="0"/>
              </a:rPr>
              <a:t>Destek Programı Süreçleri</a:t>
            </a:r>
          </a:p>
        </p:txBody>
      </p:sp>
      <p:sp>
        <p:nvSpPr>
          <p:cNvPr id="103" name="TextBox 91"/>
          <p:cNvSpPr txBox="1"/>
          <p:nvPr/>
        </p:nvSpPr>
        <p:spPr>
          <a:xfrm>
            <a:off x="1370031" y="1582831"/>
            <a:ext cx="2367956" cy="648511"/>
          </a:xfrm>
          <a:prstGeom prst="rect">
            <a:avLst/>
          </a:prstGeom>
          <a:noFill/>
        </p:spPr>
        <p:txBody>
          <a:bodyPr wrap="none" rtlCol="0">
            <a:spAutoFit/>
          </a:bodyPr>
          <a:lstStyle/>
          <a:p>
            <a:pPr algn="ctr" defTabSz="518085">
              <a:defRPr/>
            </a:pPr>
            <a:r>
              <a:rPr lang="tr-TR" sz="1807" b="1" kern="0" dirty="0" smtClean="0">
                <a:solidFill>
                  <a:srgbClr val="1F497D"/>
                </a:solidFill>
              </a:rPr>
              <a:t>Bakanlığa Ön Başvuru</a:t>
            </a:r>
            <a:r>
              <a:rPr lang="tr-TR" sz="1807" b="1" kern="0" dirty="0">
                <a:solidFill>
                  <a:srgbClr val="1F497D"/>
                </a:solidFill>
              </a:rPr>
              <a:t/>
            </a:r>
            <a:br>
              <a:rPr lang="tr-TR" sz="1807" b="1" kern="0" dirty="0">
                <a:solidFill>
                  <a:srgbClr val="1F497D"/>
                </a:solidFill>
              </a:rPr>
            </a:br>
            <a:r>
              <a:rPr lang="tr-TR" sz="1807" b="1" kern="0" dirty="0">
                <a:solidFill>
                  <a:srgbClr val="1F497D"/>
                </a:solidFill>
              </a:rPr>
              <a:t>ve </a:t>
            </a:r>
            <a:r>
              <a:rPr lang="tr-TR" sz="1807" b="1" kern="0" dirty="0" smtClean="0">
                <a:solidFill>
                  <a:srgbClr val="1F497D"/>
                </a:solidFill>
              </a:rPr>
              <a:t>Bakanlık İncelemesi</a:t>
            </a:r>
            <a:endParaRPr lang="en-US" sz="1466" b="1" kern="0" dirty="0">
              <a:solidFill>
                <a:srgbClr val="1F497D"/>
              </a:solidFill>
            </a:endParaRPr>
          </a:p>
        </p:txBody>
      </p:sp>
      <p:sp>
        <p:nvSpPr>
          <p:cNvPr id="107" name="TextBox 94"/>
          <p:cNvSpPr txBox="1"/>
          <p:nvPr/>
        </p:nvSpPr>
        <p:spPr>
          <a:xfrm>
            <a:off x="696213" y="2105882"/>
            <a:ext cx="3841932" cy="738664"/>
          </a:xfrm>
          <a:prstGeom prst="rect">
            <a:avLst/>
          </a:prstGeom>
          <a:noFill/>
        </p:spPr>
        <p:txBody>
          <a:bodyPr wrap="square" rtlCol="0">
            <a:spAutoFit/>
          </a:bodyPr>
          <a:lstStyle/>
          <a:p>
            <a:pPr algn="ctr" defTabSz="518085">
              <a:buClr>
                <a:schemeClr val="tx2"/>
              </a:buClr>
              <a:defRPr/>
            </a:pPr>
            <a:r>
              <a:rPr lang="tr-TR" sz="1400" i="1" kern="0" dirty="0" smtClean="0"/>
              <a:t>Projeye konu ürün</a:t>
            </a:r>
          </a:p>
          <a:p>
            <a:pPr algn="ctr" defTabSz="518085">
              <a:buClr>
                <a:schemeClr val="tx2"/>
              </a:buClr>
              <a:defRPr/>
            </a:pPr>
            <a:r>
              <a:rPr lang="tr-TR" sz="1400" i="1" kern="0" dirty="0" smtClean="0"/>
              <a:t>Asgari </a:t>
            </a:r>
            <a:r>
              <a:rPr lang="tr-TR" sz="1400" i="1" kern="0" dirty="0"/>
              <a:t>proje </a:t>
            </a:r>
            <a:r>
              <a:rPr lang="tr-TR" sz="1400" i="1" kern="0" dirty="0" smtClean="0"/>
              <a:t>tutarı </a:t>
            </a:r>
          </a:p>
          <a:p>
            <a:pPr algn="ctr" defTabSz="518085">
              <a:buClr>
                <a:schemeClr val="tx2"/>
              </a:buClr>
              <a:defRPr/>
            </a:pPr>
            <a:r>
              <a:rPr lang="tr-TR" sz="1400" i="1" kern="0" dirty="0" smtClean="0"/>
              <a:t>Çağrı duyurusunda belirtilen temel kriterler</a:t>
            </a:r>
            <a:endParaRPr lang="en-US" sz="1400" i="1" kern="0" dirty="0"/>
          </a:p>
        </p:txBody>
      </p:sp>
    </p:spTree>
    <p:custDataLst>
      <p:tags r:id="rId1"/>
    </p:custDataLst>
    <p:extLst>
      <p:ext uri="{BB962C8B-B14F-4D97-AF65-F5344CB8AC3E}">
        <p14:creationId xmlns:p14="http://schemas.microsoft.com/office/powerpoint/2010/main" val="4289935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etin kutusu 6"/>
          <p:cNvSpPr txBox="1"/>
          <p:nvPr/>
        </p:nvSpPr>
        <p:spPr>
          <a:xfrm>
            <a:off x="228605" y="49988"/>
            <a:ext cx="6374389" cy="647070"/>
          </a:xfrm>
          <a:prstGeom prst="rect">
            <a:avLst/>
          </a:prstGeom>
          <a:solidFill>
            <a:schemeClr val="bg1"/>
          </a:solidFill>
        </p:spPr>
        <p:txBody>
          <a:bodyPr wrap="square" lIns="90165" tIns="45082" rIns="90165" bIns="45082" rtlCol="0">
            <a:spAutoFit/>
          </a:bodyPr>
          <a:lstStyle/>
          <a:p>
            <a:pPr defTabSz="917770"/>
            <a:r>
              <a:rPr lang="tr-TR" sz="3613" b="1" dirty="0">
                <a:solidFill>
                  <a:srgbClr val="00A3CA"/>
                </a:solidFill>
                <a:effectLst>
                  <a:outerShdw blurRad="38100" dist="38100" dir="2700000" algn="tl">
                    <a:srgbClr val="000000">
                      <a:alpha val="43137"/>
                    </a:srgbClr>
                  </a:outerShdw>
                </a:effectLst>
              </a:rPr>
              <a:t>BAŞVURU </a:t>
            </a:r>
            <a:r>
              <a:rPr lang="tr-TR" sz="3613" b="1" dirty="0" smtClean="0">
                <a:solidFill>
                  <a:srgbClr val="00A3CA"/>
                </a:solidFill>
                <a:effectLst>
                  <a:outerShdw blurRad="38100" dist="38100" dir="2700000" algn="tl">
                    <a:srgbClr val="000000">
                      <a:alpha val="43137"/>
                    </a:srgbClr>
                  </a:outerShdw>
                </a:effectLst>
              </a:rPr>
              <a:t>SAYILARI*</a:t>
            </a:r>
            <a:endParaRPr lang="tr-TR" sz="3613" b="1" dirty="0">
              <a:solidFill>
                <a:srgbClr val="00A3CA"/>
              </a:solidFill>
              <a:effectLst>
                <a:outerShdw blurRad="38100" dist="38100" dir="2700000" algn="tl">
                  <a:srgbClr val="000000">
                    <a:alpha val="43137"/>
                  </a:srgbClr>
                </a:outerShdw>
              </a:effectLst>
            </a:endParaRPr>
          </a:p>
        </p:txBody>
      </p:sp>
      <p:pic>
        <p:nvPicPr>
          <p:cNvPr id="8" name="Picture 3"/>
          <p:cNvPicPr>
            <a:picLocks noChangeAspect="1" noChangeArrowheads="1"/>
          </p:cNvPicPr>
          <p:nvPr/>
        </p:nvPicPr>
        <p:blipFill>
          <a:blip r:embed="rId3" cstate="print"/>
          <a:srcRect/>
          <a:stretch>
            <a:fillRect/>
          </a:stretch>
        </p:blipFill>
        <p:spPr bwMode="auto">
          <a:xfrm>
            <a:off x="10407810" y="177147"/>
            <a:ext cx="722673" cy="509742"/>
          </a:xfrm>
          <a:prstGeom prst="rect">
            <a:avLst/>
          </a:prstGeom>
          <a:noFill/>
          <a:ln w="9525">
            <a:noFill/>
            <a:miter lim="800000"/>
            <a:headEnd/>
            <a:tailEnd/>
          </a:ln>
        </p:spPr>
      </p:pic>
      <p:grpSp>
        <p:nvGrpSpPr>
          <p:cNvPr id="5" name="Grup 4"/>
          <p:cNvGrpSpPr/>
          <p:nvPr/>
        </p:nvGrpSpPr>
        <p:grpSpPr>
          <a:xfrm>
            <a:off x="1164033" y="755267"/>
            <a:ext cx="9917416" cy="5383066"/>
            <a:chOff x="1164033" y="755267"/>
            <a:chExt cx="9917416" cy="5383066"/>
          </a:xfrm>
        </p:grpSpPr>
        <p:graphicFrame>
          <p:nvGraphicFramePr>
            <p:cNvPr id="6" name="Diyagram 5"/>
            <p:cNvGraphicFramePr/>
            <p:nvPr>
              <p:extLst>
                <p:ext uri="{D42A27DB-BD31-4B8C-83A1-F6EECF244321}">
                  <p14:modId xmlns:p14="http://schemas.microsoft.com/office/powerpoint/2010/main" val="2157646867"/>
                </p:ext>
              </p:extLst>
            </p:nvPr>
          </p:nvGraphicFramePr>
          <p:xfrm>
            <a:off x="1164033" y="755267"/>
            <a:ext cx="9917416" cy="53830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Metin kutusu 2"/>
            <p:cNvSpPr txBox="1"/>
            <p:nvPr/>
          </p:nvSpPr>
          <p:spPr>
            <a:xfrm>
              <a:off x="7157584" y="5020802"/>
              <a:ext cx="513216" cy="463354"/>
            </a:xfrm>
            <a:prstGeom prst="rect">
              <a:avLst/>
            </a:prstGeom>
            <a:noFill/>
          </p:spPr>
          <p:txBody>
            <a:bodyPr wrap="square" rtlCol="0" anchor="ctr">
              <a:spAutoFit/>
            </a:bodyPr>
            <a:lstStyle/>
            <a:p>
              <a:r>
                <a:rPr lang="tr-TR" sz="2409" b="1" dirty="0" smtClean="0"/>
                <a:t>51</a:t>
              </a:r>
              <a:endParaRPr lang="tr-TR" sz="2409" b="1" dirty="0"/>
            </a:p>
          </p:txBody>
        </p:sp>
      </p:grpSp>
    </p:spTree>
    <p:extLst>
      <p:ext uri="{BB962C8B-B14F-4D97-AF65-F5344CB8AC3E}">
        <p14:creationId xmlns:p14="http://schemas.microsoft.com/office/powerpoint/2010/main" val="5611037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Pentagon 33"/>
          <p:cNvSpPr/>
          <p:nvPr/>
        </p:nvSpPr>
        <p:spPr bwMode="auto">
          <a:xfrm>
            <a:off x="631641" y="2936543"/>
            <a:ext cx="1046053" cy="696811"/>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4" name="Rectangle 63"/>
          <p:cNvSpPr>
            <a:spLocks/>
          </p:cNvSpPr>
          <p:nvPr/>
        </p:nvSpPr>
        <p:spPr bwMode="auto">
          <a:xfrm>
            <a:off x="1728494" y="3809008"/>
            <a:ext cx="9898148"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lvl="0" fontAlgn="base">
              <a:lnSpc>
                <a:spcPct val="90000"/>
              </a:lnSpc>
              <a:defRPr/>
            </a:pPr>
            <a:r>
              <a:rPr lang="en-US" kern="0" dirty="0" err="1">
                <a:solidFill>
                  <a:srgbClr val="000000"/>
                </a:solidFill>
                <a:latin typeface="Calibri" panose="020F0502020204030204" pitchFamily="34" charset="0"/>
                <a:cs typeface="Arial" pitchFamily="34" charset="0"/>
              </a:rPr>
              <a:t>Toplam</a:t>
            </a:r>
            <a:r>
              <a:rPr lang="en-US" kern="0" dirty="0">
                <a:solidFill>
                  <a:srgbClr val="000000"/>
                </a:solidFill>
                <a:latin typeface="Calibri" panose="020F0502020204030204" pitchFamily="34" charset="0"/>
                <a:cs typeface="Arial" pitchFamily="34" charset="0"/>
              </a:rPr>
              <a:t> KOSGEB </a:t>
            </a:r>
            <a:r>
              <a:rPr lang="en-US" kern="0" dirty="0" err="1">
                <a:solidFill>
                  <a:srgbClr val="000000"/>
                </a:solidFill>
                <a:latin typeface="Calibri" panose="020F0502020204030204" pitchFamily="34" charset="0"/>
                <a:cs typeface="Arial" pitchFamily="34" charset="0"/>
              </a:rPr>
              <a:t>Destek</a:t>
            </a:r>
            <a:r>
              <a:rPr lang="en-US" kern="0" dirty="0">
                <a:solidFill>
                  <a:srgbClr val="000000"/>
                </a:solidFill>
                <a:latin typeface="Calibri" panose="020F0502020204030204" pitchFamily="34" charset="0"/>
                <a:cs typeface="Arial" pitchFamily="34" charset="0"/>
              </a:rPr>
              <a:t> </a:t>
            </a:r>
            <a:r>
              <a:rPr lang="en-US" kern="0" dirty="0" err="1">
                <a:solidFill>
                  <a:srgbClr val="000000"/>
                </a:solidFill>
                <a:latin typeface="Calibri" panose="020F0502020204030204" pitchFamily="34" charset="0"/>
                <a:cs typeface="Arial" pitchFamily="34" charset="0"/>
              </a:rPr>
              <a:t>Tutarı</a:t>
            </a:r>
            <a:r>
              <a:rPr lang="en-US" kern="0" dirty="0">
                <a:solidFill>
                  <a:srgbClr val="000000"/>
                </a:solidFill>
                <a:latin typeface="Calibri" panose="020F0502020204030204" pitchFamily="34" charset="0"/>
                <a:cs typeface="Arial" pitchFamily="34" charset="0"/>
              </a:rPr>
              <a:t>: </a:t>
            </a:r>
            <a:r>
              <a:rPr lang="tr-TR" b="1" kern="0" dirty="0">
                <a:solidFill>
                  <a:srgbClr val="000000"/>
                </a:solidFill>
                <a:latin typeface="Calibri" panose="020F0502020204030204" pitchFamily="34" charset="0"/>
                <a:cs typeface="Arial" pitchFamily="34" charset="0"/>
              </a:rPr>
              <a:t>317 Milyon TL</a:t>
            </a:r>
            <a:endParaRPr lang="en-US" b="1" kern="0" dirty="0">
              <a:solidFill>
                <a:srgbClr val="000000"/>
              </a:solidFill>
              <a:latin typeface="Calibri" panose="020F0502020204030204" pitchFamily="34" charset="0"/>
              <a:cs typeface="Arial" pitchFamily="34" charset="0"/>
            </a:endParaRPr>
          </a:p>
        </p:txBody>
      </p:sp>
      <p:sp>
        <p:nvSpPr>
          <p:cNvPr id="67" name="Rectangle 66"/>
          <p:cNvSpPr>
            <a:spLocks/>
          </p:cNvSpPr>
          <p:nvPr/>
        </p:nvSpPr>
        <p:spPr bwMode="auto">
          <a:xfrm>
            <a:off x="1515698" y="2036905"/>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lvl="0" fontAlgn="base">
              <a:lnSpc>
                <a:spcPct val="90000"/>
              </a:lnSpc>
              <a:defRPr/>
            </a:pPr>
            <a:r>
              <a:rPr lang="tr-TR" kern="0" dirty="0" smtClean="0">
                <a:solidFill>
                  <a:srgbClr val="000000"/>
                </a:solidFill>
                <a:latin typeface="Calibri" panose="020F0502020204030204" pitchFamily="34" charset="0"/>
                <a:cs typeface="Arial" pitchFamily="34" charset="0"/>
              </a:rPr>
              <a:t>    </a:t>
            </a:r>
            <a:r>
              <a:rPr lang="en-US" kern="0" dirty="0" err="1" smtClean="0">
                <a:solidFill>
                  <a:srgbClr val="000000"/>
                </a:solidFill>
                <a:latin typeface="Calibri" panose="020F0502020204030204" pitchFamily="34" charset="0"/>
                <a:cs typeface="Arial" pitchFamily="34" charset="0"/>
              </a:rPr>
              <a:t>Orta</a:t>
            </a:r>
            <a:r>
              <a:rPr lang="en-US" kern="0" dirty="0" smtClean="0">
                <a:solidFill>
                  <a:srgbClr val="000000"/>
                </a:solidFill>
                <a:latin typeface="Calibri" panose="020F0502020204030204" pitchFamily="34" charset="0"/>
                <a:cs typeface="Arial" pitchFamily="34" charset="0"/>
              </a:rPr>
              <a:t> </a:t>
            </a:r>
            <a:r>
              <a:rPr lang="en-US" kern="0" dirty="0" err="1">
                <a:solidFill>
                  <a:srgbClr val="000000"/>
                </a:solidFill>
                <a:latin typeface="Calibri" panose="020F0502020204030204" pitchFamily="34" charset="0"/>
                <a:cs typeface="Arial" pitchFamily="34" charset="0"/>
              </a:rPr>
              <a:t>Yüksek</a:t>
            </a:r>
            <a:r>
              <a:rPr lang="en-US" kern="0" dirty="0">
                <a:solidFill>
                  <a:srgbClr val="000000"/>
                </a:solidFill>
                <a:latin typeface="Calibri" panose="020F0502020204030204" pitchFamily="34" charset="0"/>
                <a:cs typeface="Arial" pitchFamily="34" charset="0"/>
              </a:rPr>
              <a:t> </a:t>
            </a:r>
            <a:r>
              <a:rPr lang="en-US" kern="0" dirty="0" err="1" smtClean="0">
                <a:solidFill>
                  <a:srgbClr val="000000"/>
                </a:solidFill>
                <a:latin typeface="Calibri" panose="020F0502020204030204" pitchFamily="34" charset="0"/>
                <a:cs typeface="Arial" pitchFamily="34" charset="0"/>
              </a:rPr>
              <a:t>Teknoloji</a:t>
            </a:r>
            <a:r>
              <a:rPr lang="en-US" kern="0" dirty="0" smtClean="0">
                <a:solidFill>
                  <a:srgbClr val="000000"/>
                </a:solidFill>
                <a:latin typeface="Calibri" panose="020F0502020204030204" pitchFamily="34" charset="0"/>
                <a:cs typeface="Arial" pitchFamily="34" charset="0"/>
              </a:rPr>
              <a:t>:</a:t>
            </a:r>
            <a:r>
              <a:rPr lang="tr-TR" kern="0" dirty="0" smtClean="0">
                <a:solidFill>
                  <a:srgbClr val="000000"/>
                </a:solidFill>
                <a:latin typeface="Calibri" panose="020F0502020204030204" pitchFamily="34" charset="0"/>
                <a:cs typeface="Arial" pitchFamily="34" charset="0"/>
              </a:rPr>
              <a:t>76</a:t>
            </a:r>
            <a:endParaRPr lang="en-US" kern="0" dirty="0">
              <a:solidFill>
                <a:srgbClr val="000000"/>
              </a:solidFill>
              <a:latin typeface="Calibri" panose="020F0502020204030204" pitchFamily="34" charset="0"/>
              <a:cs typeface="Arial" pitchFamily="34" charset="0"/>
            </a:endParaRPr>
          </a:p>
          <a:p>
            <a:pPr lvl="0" fontAlgn="base">
              <a:lnSpc>
                <a:spcPct val="90000"/>
              </a:lnSpc>
              <a:defRPr/>
            </a:pPr>
            <a:r>
              <a:rPr lang="tr-TR" kern="0" dirty="0" smtClean="0">
                <a:solidFill>
                  <a:srgbClr val="000000"/>
                </a:solidFill>
                <a:latin typeface="Calibri" panose="020F0502020204030204" pitchFamily="34" charset="0"/>
                <a:cs typeface="Arial" pitchFamily="34" charset="0"/>
              </a:rPr>
              <a:t>    </a:t>
            </a:r>
            <a:r>
              <a:rPr lang="en-US" kern="0" dirty="0" err="1" smtClean="0">
                <a:solidFill>
                  <a:srgbClr val="000000"/>
                </a:solidFill>
                <a:latin typeface="Calibri" panose="020F0502020204030204" pitchFamily="34" charset="0"/>
                <a:cs typeface="Arial" pitchFamily="34" charset="0"/>
              </a:rPr>
              <a:t>Yüksek</a:t>
            </a:r>
            <a:r>
              <a:rPr lang="en-US" kern="0" dirty="0" smtClean="0">
                <a:solidFill>
                  <a:srgbClr val="000000"/>
                </a:solidFill>
                <a:latin typeface="Calibri" panose="020F0502020204030204" pitchFamily="34" charset="0"/>
                <a:cs typeface="Arial" pitchFamily="34" charset="0"/>
              </a:rPr>
              <a:t> </a:t>
            </a:r>
            <a:r>
              <a:rPr lang="en-US" kern="0" dirty="0" err="1">
                <a:solidFill>
                  <a:srgbClr val="000000"/>
                </a:solidFill>
                <a:latin typeface="Calibri" panose="020F0502020204030204" pitchFamily="34" charset="0"/>
                <a:cs typeface="Arial" pitchFamily="34" charset="0"/>
              </a:rPr>
              <a:t>Teknoloji</a:t>
            </a:r>
            <a:r>
              <a:rPr lang="en-US" kern="0" dirty="0">
                <a:solidFill>
                  <a:srgbClr val="000000"/>
                </a:solidFill>
                <a:latin typeface="Calibri" panose="020F0502020204030204" pitchFamily="34" charset="0"/>
                <a:cs typeface="Arial" pitchFamily="34" charset="0"/>
              </a:rPr>
              <a:t>: </a:t>
            </a:r>
            <a:r>
              <a:rPr lang="tr-TR" kern="0" dirty="0" smtClean="0">
                <a:solidFill>
                  <a:srgbClr val="000000"/>
                </a:solidFill>
                <a:latin typeface="Calibri" panose="020F0502020204030204" pitchFamily="34" charset="0"/>
                <a:cs typeface="Arial" pitchFamily="34" charset="0"/>
              </a:rPr>
              <a:t>20</a:t>
            </a:r>
            <a:endParaRPr lang="en-US" kern="0" dirty="0">
              <a:solidFill>
                <a:srgbClr val="000000"/>
              </a:solidFill>
              <a:latin typeface="Calibri" panose="020F0502020204030204" pitchFamily="34" charset="0"/>
              <a:cs typeface="Arial" pitchFamily="34" charset="0"/>
            </a:endParaRPr>
          </a:p>
        </p:txBody>
      </p:sp>
      <p:sp>
        <p:nvSpPr>
          <p:cNvPr id="68" name="Pentagon 19"/>
          <p:cNvSpPr/>
          <p:nvPr/>
        </p:nvSpPr>
        <p:spPr bwMode="auto">
          <a:xfrm>
            <a:off x="602369" y="2035609"/>
            <a:ext cx="1088601" cy="702574"/>
          </a:xfrm>
          <a:prstGeom prst="homePlate">
            <a:avLst>
              <a:gd name="adj" fmla="val 273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0" name="Rectangle 69"/>
          <p:cNvSpPr>
            <a:spLocks/>
          </p:cNvSpPr>
          <p:nvPr/>
        </p:nvSpPr>
        <p:spPr bwMode="auto">
          <a:xfrm>
            <a:off x="1728494" y="2921086"/>
            <a:ext cx="9881615"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lvl="0" fontAlgn="base">
              <a:lnSpc>
                <a:spcPct val="90000"/>
              </a:lnSpc>
              <a:defRPr/>
            </a:pPr>
            <a:r>
              <a:rPr lang="en-US" kern="0" dirty="0" err="1">
                <a:solidFill>
                  <a:srgbClr val="000000"/>
                </a:solidFill>
                <a:latin typeface="Calibri" panose="020F0502020204030204" pitchFamily="34" charset="0"/>
                <a:cs typeface="Arial" pitchFamily="34" charset="0"/>
              </a:rPr>
              <a:t>Toplam</a:t>
            </a:r>
            <a:r>
              <a:rPr lang="en-US" kern="0" dirty="0">
                <a:solidFill>
                  <a:srgbClr val="000000"/>
                </a:solidFill>
                <a:latin typeface="Calibri" panose="020F0502020204030204" pitchFamily="34" charset="0"/>
                <a:cs typeface="Arial" pitchFamily="34" charset="0"/>
              </a:rPr>
              <a:t> </a:t>
            </a:r>
            <a:r>
              <a:rPr lang="en-US" kern="0" dirty="0" err="1">
                <a:solidFill>
                  <a:srgbClr val="000000"/>
                </a:solidFill>
                <a:latin typeface="Calibri" panose="020F0502020204030204" pitchFamily="34" charset="0"/>
                <a:cs typeface="Arial" pitchFamily="34" charset="0"/>
              </a:rPr>
              <a:t>Proje</a:t>
            </a:r>
            <a:r>
              <a:rPr lang="en-US" kern="0" dirty="0">
                <a:solidFill>
                  <a:srgbClr val="000000"/>
                </a:solidFill>
                <a:latin typeface="Calibri" panose="020F0502020204030204" pitchFamily="34" charset="0"/>
                <a:cs typeface="Arial" pitchFamily="34" charset="0"/>
              </a:rPr>
              <a:t> </a:t>
            </a:r>
            <a:r>
              <a:rPr lang="en-US" kern="0" dirty="0" err="1">
                <a:solidFill>
                  <a:srgbClr val="000000"/>
                </a:solidFill>
                <a:latin typeface="Calibri" panose="020F0502020204030204" pitchFamily="34" charset="0"/>
                <a:cs typeface="Arial" pitchFamily="34" charset="0"/>
              </a:rPr>
              <a:t>Bütçesi</a:t>
            </a:r>
            <a:r>
              <a:rPr lang="en-US" kern="0" dirty="0">
                <a:solidFill>
                  <a:srgbClr val="000000"/>
                </a:solidFill>
                <a:latin typeface="Calibri" panose="020F0502020204030204" pitchFamily="34" charset="0"/>
                <a:cs typeface="Arial" pitchFamily="34" charset="0"/>
              </a:rPr>
              <a:t>: </a:t>
            </a:r>
            <a:r>
              <a:rPr lang="tr-TR" b="1" kern="0" dirty="0">
                <a:solidFill>
                  <a:srgbClr val="000000"/>
                </a:solidFill>
                <a:latin typeface="Calibri" panose="020F0502020204030204" pitchFamily="34" charset="0"/>
                <a:cs typeface="Arial" pitchFamily="34" charset="0"/>
              </a:rPr>
              <a:t>607 Milyon </a:t>
            </a:r>
            <a:r>
              <a:rPr lang="en-US" b="1" kern="0" dirty="0">
                <a:solidFill>
                  <a:srgbClr val="000000"/>
                </a:solidFill>
                <a:latin typeface="Calibri" panose="020F0502020204030204" pitchFamily="34" charset="0"/>
                <a:cs typeface="Arial" pitchFamily="34" charset="0"/>
              </a:rPr>
              <a:t>TL </a:t>
            </a:r>
          </a:p>
        </p:txBody>
      </p:sp>
      <p:sp>
        <p:nvSpPr>
          <p:cNvPr id="71" name="Pentagon 36"/>
          <p:cNvSpPr/>
          <p:nvPr/>
        </p:nvSpPr>
        <p:spPr bwMode="auto">
          <a:xfrm>
            <a:off x="602369" y="4655184"/>
            <a:ext cx="1059175" cy="696614"/>
          </a:xfrm>
          <a:prstGeom prst="homePlate">
            <a:avLst>
              <a:gd name="adj" fmla="val 273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9" name="Rectangle 78"/>
          <p:cNvSpPr/>
          <p:nvPr/>
        </p:nvSpPr>
        <p:spPr bwMode="auto">
          <a:xfrm>
            <a:off x="1529986" y="1171423"/>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fontAlgn="base">
              <a:lnSpc>
                <a:spcPct val="90000"/>
              </a:lnSpc>
              <a:defRPr/>
            </a:pPr>
            <a:r>
              <a:rPr lang="tr-TR" sz="1600" kern="0" dirty="0" smtClean="0">
                <a:solidFill>
                  <a:srgbClr val="000000"/>
                </a:solidFill>
                <a:latin typeface="Calibri" panose="020F0502020204030204" pitchFamily="34" charset="0"/>
                <a:cs typeface="Arial" pitchFamily="34" charset="0"/>
              </a:rPr>
              <a:t>    </a:t>
            </a:r>
            <a:r>
              <a:rPr lang="en-US" kern="0" dirty="0" smtClean="0">
                <a:solidFill>
                  <a:srgbClr val="000000"/>
                </a:solidFill>
                <a:latin typeface="Calibri" panose="020F0502020204030204" pitchFamily="34" charset="0"/>
                <a:cs typeface="Arial" pitchFamily="34" charset="0"/>
              </a:rPr>
              <a:t>Kabul </a:t>
            </a:r>
            <a:r>
              <a:rPr lang="en-US" kern="0" dirty="0" err="1">
                <a:solidFill>
                  <a:srgbClr val="000000"/>
                </a:solidFill>
                <a:latin typeface="Calibri" panose="020F0502020204030204" pitchFamily="34" charset="0"/>
                <a:cs typeface="Arial" pitchFamily="34" charset="0"/>
              </a:rPr>
              <a:t>edilen</a:t>
            </a:r>
            <a:r>
              <a:rPr lang="en-US" kern="0" dirty="0">
                <a:solidFill>
                  <a:srgbClr val="000000"/>
                </a:solidFill>
                <a:latin typeface="Calibri" panose="020F0502020204030204" pitchFamily="34" charset="0"/>
                <a:cs typeface="Arial" pitchFamily="34" charset="0"/>
              </a:rPr>
              <a:t> </a:t>
            </a:r>
            <a:r>
              <a:rPr lang="en-US" kern="0" dirty="0" err="1">
                <a:solidFill>
                  <a:srgbClr val="000000"/>
                </a:solidFill>
                <a:latin typeface="Calibri" panose="020F0502020204030204" pitchFamily="34" charset="0"/>
                <a:cs typeface="Arial" pitchFamily="34" charset="0"/>
              </a:rPr>
              <a:t>toplam</a:t>
            </a:r>
            <a:r>
              <a:rPr lang="en-US" kern="0" dirty="0">
                <a:solidFill>
                  <a:srgbClr val="000000"/>
                </a:solidFill>
                <a:latin typeface="Calibri" panose="020F0502020204030204" pitchFamily="34" charset="0"/>
                <a:cs typeface="Arial" pitchFamily="34" charset="0"/>
              </a:rPr>
              <a:t> </a:t>
            </a:r>
            <a:r>
              <a:rPr lang="en-US" kern="0" dirty="0" err="1">
                <a:solidFill>
                  <a:srgbClr val="000000"/>
                </a:solidFill>
                <a:latin typeface="Calibri" panose="020F0502020204030204" pitchFamily="34" charset="0"/>
                <a:cs typeface="Arial" pitchFamily="34" charset="0"/>
              </a:rPr>
              <a:t>proje</a:t>
            </a:r>
            <a:r>
              <a:rPr lang="en-US" kern="0" dirty="0">
                <a:solidFill>
                  <a:srgbClr val="000000"/>
                </a:solidFill>
                <a:latin typeface="Calibri" panose="020F0502020204030204" pitchFamily="34" charset="0"/>
                <a:cs typeface="Arial" pitchFamily="34" charset="0"/>
              </a:rPr>
              <a:t> </a:t>
            </a:r>
            <a:r>
              <a:rPr lang="en-US" kern="0" dirty="0" err="1">
                <a:solidFill>
                  <a:srgbClr val="000000"/>
                </a:solidFill>
                <a:latin typeface="Calibri" panose="020F0502020204030204" pitchFamily="34" charset="0"/>
                <a:cs typeface="Arial" pitchFamily="34" charset="0"/>
              </a:rPr>
              <a:t>sayısı</a:t>
            </a:r>
            <a:r>
              <a:rPr lang="en-US" kern="0" dirty="0" smtClean="0">
                <a:solidFill>
                  <a:srgbClr val="000000"/>
                </a:solidFill>
                <a:latin typeface="Calibri" panose="020F0502020204030204" pitchFamily="34" charset="0"/>
                <a:cs typeface="Arial" pitchFamily="34" charset="0"/>
              </a:rPr>
              <a:t>:</a:t>
            </a:r>
            <a:r>
              <a:rPr lang="tr-TR" kern="0" dirty="0" smtClean="0">
                <a:solidFill>
                  <a:srgbClr val="000000"/>
                </a:solidFill>
                <a:latin typeface="Calibri" panose="020F0502020204030204" pitchFamily="34" charset="0"/>
                <a:cs typeface="Arial" pitchFamily="34" charset="0"/>
              </a:rPr>
              <a:t> 96</a:t>
            </a:r>
            <a:r>
              <a:rPr lang="en-US" kern="0" dirty="0" smtClean="0">
                <a:solidFill>
                  <a:srgbClr val="000000"/>
                </a:solidFill>
                <a:latin typeface="Calibri" panose="020F0502020204030204" pitchFamily="34" charset="0"/>
                <a:cs typeface="Arial" pitchFamily="34" charset="0"/>
              </a:rPr>
              <a:t> </a:t>
            </a:r>
            <a:r>
              <a:rPr lang="en-US" b="1" kern="0" dirty="0" smtClean="0">
                <a:solidFill>
                  <a:srgbClr val="000000"/>
                </a:solidFill>
                <a:latin typeface="Calibri" panose="020F0502020204030204" pitchFamily="34" charset="0"/>
                <a:cs typeface="Arial" pitchFamily="34" charset="0"/>
              </a:rPr>
              <a:t> </a:t>
            </a:r>
            <a:endParaRPr lang="en-US" b="1" kern="0" dirty="0">
              <a:solidFill>
                <a:srgbClr val="000000"/>
              </a:solidFill>
              <a:latin typeface="Calibri" panose="020F0502020204030204" pitchFamily="34" charset="0"/>
              <a:cs typeface="Arial" pitchFamily="34" charset="0"/>
            </a:endParaRPr>
          </a:p>
        </p:txBody>
      </p:sp>
      <p:sp>
        <p:nvSpPr>
          <p:cNvPr id="80" name="Pentagon 26"/>
          <p:cNvSpPr/>
          <p:nvPr/>
        </p:nvSpPr>
        <p:spPr bwMode="auto">
          <a:xfrm>
            <a:off x="617440" y="1162897"/>
            <a:ext cx="1075482" cy="707864"/>
          </a:xfrm>
          <a:prstGeom prst="homePlate">
            <a:avLst>
              <a:gd name="adj" fmla="val 27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83" name="Pentagon 47"/>
          <p:cNvSpPr/>
          <p:nvPr/>
        </p:nvSpPr>
        <p:spPr bwMode="auto">
          <a:xfrm>
            <a:off x="605033" y="3733046"/>
            <a:ext cx="1046053" cy="696811"/>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21" name="POWER_USER_ID_ICONS_Certificate"/>
          <p:cNvGrpSpPr>
            <a:grpSpLocks noChangeAspect="1"/>
          </p:cNvGrpSpPr>
          <p:nvPr>
            <p:custDataLst>
              <p:tags r:id="rId2"/>
            </p:custDataLst>
          </p:nvPr>
        </p:nvGrpSpPr>
        <p:grpSpPr bwMode="auto">
          <a:xfrm>
            <a:off x="768708" y="3089162"/>
            <a:ext cx="655638" cy="512763"/>
            <a:chOff x="44" y="66"/>
            <a:chExt cx="413" cy="323"/>
          </a:xfrm>
          <a:solidFill>
            <a:schemeClr val="bg1"/>
          </a:solidFill>
        </p:grpSpPr>
        <p:sp>
          <p:nvSpPr>
            <p:cNvPr id="22" name="POWER_USER_ID_ICONS_Certificate"/>
            <p:cNvSpPr>
              <a:spLocks noEditPoints="1"/>
            </p:cNvSpPr>
            <p:nvPr>
              <p:custDataLst>
                <p:tags r:id="rId16"/>
              </p:custDataLst>
            </p:nvPr>
          </p:nvSpPr>
          <p:spPr bwMode="auto">
            <a:xfrm>
              <a:off x="44" y="66"/>
              <a:ext cx="413" cy="323"/>
            </a:xfrm>
            <a:custGeom>
              <a:avLst/>
              <a:gdLst>
                <a:gd name="T0" fmla="*/ 0 w 896"/>
                <a:gd name="T1" fmla="*/ 0 h 698"/>
                <a:gd name="T2" fmla="*/ 0 w 896"/>
                <a:gd name="T3" fmla="*/ 37 h 698"/>
                <a:gd name="T4" fmla="*/ 0 w 896"/>
                <a:gd name="T5" fmla="*/ 661 h 698"/>
                <a:gd name="T6" fmla="*/ 0 w 896"/>
                <a:gd name="T7" fmla="*/ 698 h 698"/>
                <a:gd name="T8" fmla="*/ 36 w 896"/>
                <a:gd name="T9" fmla="*/ 698 h 698"/>
                <a:gd name="T10" fmla="*/ 860 w 896"/>
                <a:gd name="T11" fmla="*/ 698 h 698"/>
                <a:gd name="T12" fmla="*/ 896 w 896"/>
                <a:gd name="T13" fmla="*/ 698 h 698"/>
                <a:gd name="T14" fmla="*/ 896 w 896"/>
                <a:gd name="T15" fmla="*/ 661 h 698"/>
                <a:gd name="T16" fmla="*/ 896 w 896"/>
                <a:gd name="T17" fmla="*/ 37 h 698"/>
                <a:gd name="T18" fmla="*/ 896 w 896"/>
                <a:gd name="T19" fmla="*/ 0 h 698"/>
                <a:gd name="T20" fmla="*/ 860 w 896"/>
                <a:gd name="T21" fmla="*/ 0 h 698"/>
                <a:gd name="T22" fmla="*/ 36 w 896"/>
                <a:gd name="T23" fmla="*/ 0 h 698"/>
                <a:gd name="T24" fmla="*/ 0 w 896"/>
                <a:gd name="T25" fmla="*/ 0 h 698"/>
                <a:gd name="T26" fmla="*/ 72 w 896"/>
                <a:gd name="T27" fmla="*/ 74 h 698"/>
                <a:gd name="T28" fmla="*/ 824 w 896"/>
                <a:gd name="T29" fmla="*/ 74 h 698"/>
                <a:gd name="T30" fmla="*/ 824 w 896"/>
                <a:gd name="T31" fmla="*/ 624 h 698"/>
                <a:gd name="T32" fmla="*/ 72 w 896"/>
                <a:gd name="T33" fmla="*/ 624 h 698"/>
                <a:gd name="T34" fmla="*/ 72 w 896"/>
                <a:gd name="T35" fmla="*/ 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6" h="698">
                  <a:moveTo>
                    <a:pt x="0" y="0"/>
                  </a:moveTo>
                  <a:lnTo>
                    <a:pt x="0" y="37"/>
                  </a:lnTo>
                  <a:lnTo>
                    <a:pt x="0" y="661"/>
                  </a:lnTo>
                  <a:lnTo>
                    <a:pt x="0" y="698"/>
                  </a:lnTo>
                  <a:lnTo>
                    <a:pt x="36" y="698"/>
                  </a:lnTo>
                  <a:lnTo>
                    <a:pt x="860" y="698"/>
                  </a:lnTo>
                  <a:lnTo>
                    <a:pt x="896" y="698"/>
                  </a:lnTo>
                  <a:lnTo>
                    <a:pt x="896" y="661"/>
                  </a:lnTo>
                  <a:lnTo>
                    <a:pt x="896" y="37"/>
                  </a:lnTo>
                  <a:lnTo>
                    <a:pt x="896" y="0"/>
                  </a:lnTo>
                  <a:lnTo>
                    <a:pt x="860" y="0"/>
                  </a:lnTo>
                  <a:lnTo>
                    <a:pt x="36" y="0"/>
                  </a:lnTo>
                  <a:lnTo>
                    <a:pt x="0" y="0"/>
                  </a:lnTo>
                  <a:close/>
                  <a:moveTo>
                    <a:pt x="72" y="74"/>
                  </a:moveTo>
                  <a:lnTo>
                    <a:pt x="824" y="74"/>
                  </a:lnTo>
                  <a:lnTo>
                    <a:pt x="824" y="624"/>
                  </a:lnTo>
                  <a:lnTo>
                    <a:pt x="72" y="624"/>
                  </a:lnTo>
                  <a:lnTo>
                    <a:pt x="72" y="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3" name="POWER_USER_ID_ICONS_Certificate"/>
            <p:cNvSpPr>
              <a:spLocks noEditPoints="1"/>
            </p:cNvSpPr>
            <p:nvPr>
              <p:custDataLst>
                <p:tags r:id="rId17"/>
              </p:custDataLst>
            </p:nvPr>
          </p:nvSpPr>
          <p:spPr bwMode="auto">
            <a:xfrm>
              <a:off x="100" y="121"/>
              <a:ext cx="303" cy="213"/>
            </a:xfrm>
            <a:custGeom>
              <a:avLst/>
              <a:gdLst>
                <a:gd name="T0" fmla="*/ 0 w 657"/>
                <a:gd name="T1" fmla="*/ 0 h 462"/>
                <a:gd name="T2" fmla="*/ 0 w 657"/>
                <a:gd name="T3" fmla="*/ 6 h 462"/>
                <a:gd name="T4" fmla="*/ 0 w 657"/>
                <a:gd name="T5" fmla="*/ 456 h 462"/>
                <a:gd name="T6" fmla="*/ 0 w 657"/>
                <a:gd name="T7" fmla="*/ 462 h 462"/>
                <a:gd name="T8" fmla="*/ 5 w 657"/>
                <a:gd name="T9" fmla="*/ 462 h 462"/>
                <a:gd name="T10" fmla="*/ 651 w 657"/>
                <a:gd name="T11" fmla="*/ 462 h 462"/>
                <a:gd name="T12" fmla="*/ 657 w 657"/>
                <a:gd name="T13" fmla="*/ 462 h 462"/>
                <a:gd name="T14" fmla="*/ 657 w 657"/>
                <a:gd name="T15" fmla="*/ 456 h 462"/>
                <a:gd name="T16" fmla="*/ 657 w 657"/>
                <a:gd name="T17" fmla="*/ 6 h 462"/>
                <a:gd name="T18" fmla="*/ 657 w 657"/>
                <a:gd name="T19" fmla="*/ 0 h 462"/>
                <a:gd name="T20" fmla="*/ 651 w 657"/>
                <a:gd name="T21" fmla="*/ 0 h 462"/>
                <a:gd name="T22" fmla="*/ 5 w 657"/>
                <a:gd name="T23" fmla="*/ 0 h 462"/>
                <a:gd name="T24" fmla="*/ 0 w 657"/>
                <a:gd name="T25" fmla="*/ 0 h 462"/>
                <a:gd name="T26" fmla="*/ 11 w 657"/>
                <a:gd name="T27" fmla="*/ 12 h 462"/>
                <a:gd name="T28" fmla="*/ 645 w 657"/>
                <a:gd name="T29" fmla="*/ 12 h 462"/>
                <a:gd name="T30" fmla="*/ 645 w 657"/>
                <a:gd name="T31" fmla="*/ 450 h 462"/>
                <a:gd name="T32" fmla="*/ 11 w 657"/>
                <a:gd name="T33" fmla="*/ 450 h 462"/>
                <a:gd name="T34" fmla="*/ 11 w 657"/>
                <a:gd name="T3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7" h="462">
                  <a:moveTo>
                    <a:pt x="0" y="0"/>
                  </a:moveTo>
                  <a:lnTo>
                    <a:pt x="0" y="6"/>
                  </a:lnTo>
                  <a:lnTo>
                    <a:pt x="0" y="456"/>
                  </a:lnTo>
                  <a:lnTo>
                    <a:pt x="0" y="462"/>
                  </a:lnTo>
                  <a:lnTo>
                    <a:pt x="5" y="462"/>
                  </a:lnTo>
                  <a:lnTo>
                    <a:pt x="651" y="462"/>
                  </a:lnTo>
                  <a:lnTo>
                    <a:pt x="657" y="462"/>
                  </a:lnTo>
                  <a:lnTo>
                    <a:pt x="657" y="456"/>
                  </a:lnTo>
                  <a:lnTo>
                    <a:pt x="657" y="6"/>
                  </a:lnTo>
                  <a:lnTo>
                    <a:pt x="657" y="0"/>
                  </a:lnTo>
                  <a:lnTo>
                    <a:pt x="651" y="0"/>
                  </a:lnTo>
                  <a:lnTo>
                    <a:pt x="5" y="0"/>
                  </a:lnTo>
                  <a:lnTo>
                    <a:pt x="0" y="0"/>
                  </a:lnTo>
                  <a:close/>
                  <a:moveTo>
                    <a:pt x="11" y="12"/>
                  </a:moveTo>
                  <a:lnTo>
                    <a:pt x="645" y="12"/>
                  </a:lnTo>
                  <a:lnTo>
                    <a:pt x="645" y="450"/>
                  </a:lnTo>
                  <a:lnTo>
                    <a:pt x="11" y="450"/>
                  </a:lnTo>
                  <a:lnTo>
                    <a:pt x="11"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4" name="POWER_USER_ID_ICONS_Certificate"/>
            <p:cNvSpPr>
              <a:spLocks noEditPoints="1"/>
            </p:cNvSpPr>
            <p:nvPr>
              <p:custDataLst>
                <p:tags r:id="rId18"/>
              </p:custDataLst>
            </p:nvPr>
          </p:nvSpPr>
          <p:spPr bwMode="auto">
            <a:xfrm>
              <a:off x="331" y="221"/>
              <a:ext cx="60" cy="93"/>
            </a:xfrm>
            <a:custGeom>
              <a:avLst/>
              <a:gdLst>
                <a:gd name="T0" fmla="*/ 57 w 130"/>
                <a:gd name="T1" fmla="*/ 13 h 202"/>
                <a:gd name="T2" fmla="*/ 65 w 130"/>
                <a:gd name="T3" fmla="*/ 0 h 202"/>
                <a:gd name="T4" fmla="*/ 73 w 130"/>
                <a:gd name="T5" fmla="*/ 13 h 202"/>
                <a:gd name="T6" fmla="*/ 85 w 130"/>
                <a:gd name="T7" fmla="*/ 3 h 202"/>
                <a:gd name="T8" fmla="*/ 89 w 130"/>
                <a:gd name="T9" fmla="*/ 18 h 202"/>
                <a:gd name="T10" fmla="*/ 103 w 130"/>
                <a:gd name="T11" fmla="*/ 12 h 202"/>
                <a:gd name="T12" fmla="*/ 102 w 130"/>
                <a:gd name="T13" fmla="*/ 28 h 202"/>
                <a:gd name="T14" fmla="*/ 118 w 130"/>
                <a:gd name="T15" fmla="*/ 26 h 202"/>
                <a:gd name="T16" fmla="*/ 111 w 130"/>
                <a:gd name="T17" fmla="*/ 41 h 202"/>
                <a:gd name="T18" fmla="*/ 127 w 130"/>
                <a:gd name="T19" fmla="*/ 44 h 202"/>
                <a:gd name="T20" fmla="*/ 117 w 130"/>
                <a:gd name="T21" fmla="*/ 57 h 202"/>
                <a:gd name="T22" fmla="*/ 130 w 130"/>
                <a:gd name="T23" fmla="*/ 65 h 202"/>
                <a:gd name="T24" fmla="*/ 116 w 130"/>
                <a:gd name="T25" fmla="*/ 73 h 202"/>
                <a:gd name="T26" fmla="*/ 127 w 130"/>
                <a:gd name="T27" fmla="*/ 85 h 202"/>
                <a:gd name="T28" fmla="*/ 111 w 130"/>
                <a:gd name="T29" fmla="*/ 88 h 202"/>
                <a:gd name="T30" fmla="*/ 118 w 130"/>
                <a:gd name="T31" fmla="*/ 103 h 202"/>
                <a:gd name="T32" fmla="*/ 102 w 130"/>
                <a:gd name="T33" fmla="*/ 101 h 202"/>
                <a:gd name="T34" fmla="*/ 103 w 130"/>
                <a:gd name="T35" fmla="*/ 117 h 202"/>
                <a:gd name="T36" fmla="*/ 89 w 130"/>
                <a:gd name="T37" fmla="*/ 111 h 202"/>
                <a:gd name="T38" fmla="*/ 88 w 130"/>
                <a:gd name="T39" fmla="*/ 118 h 202"/>
                <a:gd name="T40" fmla="*/ 114 w 130"/>
                <a:gd name="T41" fmla="*/ 194 h 202"/>
                <a:gd name="T42" fmla="*/ 93 w 130"/>
                <a:gd name="T43" fmla="*/ 182 h 202"/>
                <a:gd name="T44" fmla="*/ 83 w 130"/>
                <a:gd name="T45" fmla="*/ 202 h 202"/>
                <a:gd name="T46" fmla="*/ 82 w 130"/>
                <a:gd name="T47" fmla="*/ 198 h 202"/>
                <a:gd name="T48" fmla="*/ 66 w 130"/>
                <a:gd name="T49" fmla="*/ 129 h 202"/>
                <a:gd name="T50" fmla="*/ 65 w 130"/>
                <a:gd name="T51" fmla="*/ 129 h 202"/>
                <a:gd name="T52" fmla="*/ 52 w 130"/>
                <a:gd name="T53" fmla="*/ 183 h 202"/>
                <a:gd name="T54" fmla="*/ 48 w 130"/>
                <a:gd name="T55" fmla="*/ 202 h 202"/>
                <a:gd name="T56" fmla="*/ 37 w 130"/>
                <a:gd name="T57" fmla="*/ 182 h 202"/>
                <a:gd name="T58" fmla="*/ 17 w 130"/>
                <a:gd name="T59" fmla="*/ 194 h 202"/>
                <a:gd name="T60" fmla="*/ 42 w 130"/>
                <a:gd name="T61" fmla="*/ 118 h 202"/>
                <a:gd name="T62" fmla="*/ 42 w 130"/>
                <a:gd name="T63" fmla="*/ 111 h 202"/>
                <a:gd name="T64" fmla="*/ 27 w 130"/>
                <a:gd name="T65" fmla="*/ 117 h 202"/>
                <a:gd name="T66" fmla="*/ 28 w 130"/>
                <a:gd name="T67" fmla="*/ 101 h 202"/>
                <a:gd name="T68" fmla="*/ 13 w 130"/>
                <a:gd name="T69" fmla="*/ 103 h 202"/>
                <a:gd name="T70" fmla="*/ 19 w 130"/>
                <a:gd name="T71" fmla="*/ 88 h 202"/>
                <a:gd name="T72" fmla="*/ 4 w 130"/>
                <a:gd name="T73" fmla="*/ 85 h 202"/>
                <a:gd name="T74" fmla="*/ 14 w 130"/>
                <a:gd name="T75" fmla="*/ 73 h 202"/>
                <a:gd name="T76" fmla="*/ 0 w 130"/>
                <a:gd name="T77" fmla="*/ 65 h 202"/>
                <a:gd name="T78" fmla="*/ 14 w 130"/>
                <a:gd name="T79" fmla="*/ 57 h 202"/>
                <a:gd name="T80" fmla="*/ 4 w 130"/>
                <a:gd name="T81" fmla="*/ 44 h 202"/>
                <a:gd name="T82" fmla="*/ 19 w 130"/>
                <a:gd name="T83" fmla="*/ 41 h 202"/>
                <a:gd name="T84" fmla="*/ 13 w 130"/>
                <a:gd name="T85" fmla="*/ 26 h 202"/>
                <a:gd name="T86" fmla="*/ 28 w 130"/>
                <a:gd name="T87" fmla="*/ 28 h 202"/>
                <a:gd name="T88" fmla="*/ 27 w 130"/>
                <a:gd name="T89" fmla="*/ 12 h 202"/>
                <a:gd name="T90" fmla="*/ 42 w 130"/>
                <a:gd name="T91" fmla="*/ 18 h 202"/>
                <a:gd name="T92" fmla="*/ 45 w 130"/>
                <a:gd name="T93" fmla="*/ 3 h 202"/>
                <a:gd name="T94" fmla="*/ 57 w 130"/>
                <a:gd name="T95" fmla="*/ 13 h 202"/>
                <a:gd name="T96" fmla="*/ 63 w 130"/>
                <a:gd name="T97" fmla="*/ 22 h 202"/>
                <a:gd name="T98" fmla="*/ 31 w 130"/>
                <a:gd name="T99" fmla="*/ 39 h 202"/>
                <a:gd name="T100" fmla="*/ 26 w 130"/>
                <a:gd name="T101" fmla="*/ 78 h 202"/>
                <a:gd name="T102" fmla="*/ 45 w 130"/>
                <a:gd name="T103" fmla="*/ 100 h 202"/>
                <a:gd name="T104" fmla="*/ 84 w 130"/>
                <a:gd name="T105" fmla="*/ 101 h 202"/>
                <a:gd name="T106" fmla="*/ 100 w 130"/>
                <a:gd name="T107" fmla="*/ 86 h 202"/>
                <a:gd name="T108" fmla="*/ 99 w 130"/>
                <a:gd name="T109" fmla="*/ 39 h 202"/>
                <a:gd name="T110" fmla="*/ 63 w 130"/>
                <a:gd name="T111" fmla="*/ 2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202">
                  <a:moveTo>
                    <a:pt x="57" y="13"/>
                  </a:moveTo>
                  <a:cubicBezTo>
                    <a:pt x="60" y="9"/>
                    <a:pt x="62" y="4"/>
                    <a:pt x="65" y="0"/>
                  </a:cubicBezTo>
                  <a:cubicBezTo>
                    <a:pt x="68" y="4"/>
                    <a:pt x="71" y="9"/>
                    <a:pt x="73" y="13"/>
                  </a:cubicBezTo>
                  <a:cubicBezTo>
                    <a:pt x="77" y="10"/>
                    <a:pt x="81" y="6"/>
                    <a:pt x="85" y="3"/>
                  </a:cubicBezTo>
                  <a:cubicBezTo>
                    <a:pt x="86" y="8"/>
                    <a:pt x="88" y="13"/>
                    <a:pt x="89" y="18"/>
                  </a:cubicBezTo>
                  <a:cubicBezTo>
                    <a:pt x="94" y="16"/>
                    <a:pt x="98" y="14"/>
                    <a:pt x="103" y="12"/>
                  </a:cubicBezTo>
                  <a:cubicBezTo>
                    <a:pt x="103" y="17"/>
                    <a:pt x="102" y="23"/>
                    <a:pt x="102" y="28"/>
                  </a:cubicBezTo>
                  <a:cubicBezTo>
                    <a:pt x="107" y="27"/>
                    <a:pt x="112" y="27"/>
                    <a:pt x="118" y="26"/>
                  </a:cubicBezTo>
                  <a:cubicBezTo>
                    <a:pt x="116" y="31"/>
                    <a:pt x="113" y="36"/>
                    <a:pt x="111" y="41"/>
                  </a:cubicBezTo>
                  <a:cubicBezTo>
                    <a:pt x="117" y="42"/>
                    <a:pt x="122" y="43"/>
                    <a:pt x="127" y="44"/>
                  </a:cubicBezTo>
                  <a:cubicBezTo>
                    <a:pt x="123" y="49"/>
                    <a:pt x="120" y="52"/>
                    <a:pt x="117" y="57"/>
                  </a:cubicBezTo>
                  <a:cubicBezTo>
                    <a:pt x="121" y="59"/>
                    <a:pt x="126" y="62"/>
                    <a:pt x="130" y="65"/>
                  </a:cubicBezTo>
                  <a:cubicBezTo>
                    <a:pt x="126" y="67"/>
                    <a:pt x="121" y="70"/>
                    <a:pt x="116" y="73"/>
                  </a:cubicBezTo>
                  <a:cubicBezTo>
                    <a:pt x="120" y="77"/>
                    <a:pt x="123" y="81"/>
                    <a:pt x="127" y="85"/>
                  </a:cubicBezTo>
                  <a:cubicBezTo>
                    <a:pt x="122" y="86"/>
                    <a:pt x="117" y="87"/>
                    <a:pt x="111" y="88"/>
                  </a:cubicBezTo>
                  <a:cubicBezTo>
                    <a:pt x="113" y="93"/>
                    <a:pt x="116" y="98"/>
                    <a:pt x="118" y="103"/>
                  </a:cubicBezTo>
                  <a:cubicBezTo>
                    <a:pt x="112" y="102"/>
                    <a:pt x="107" y="102"/>
                    <a:pt x="102" y="101"/>
                  </a:cubicBezTo>
                  <a:cubicBezTo>
                    <a:pt x="102" y="107"/>
                    <a:pt x="103" y="112"/>
                    <a:pt x="103" y="117"/>
                  </a:cubicBezTo>
                  <a:cubicBezTo>
                    <a:pt x="98" y="115"/>
                    <a:pt x="94" y="113"/>
                    <a:pt x="89" y="111"/>
                  </a:cubicBezTo>
                  <a:cubicBezTo>
                    <a:pt x="88" y="113"/>
                    <a:pt x="87" y="116"/>
                    <a:pt x="88" y="118"/>
                  </a:cubicBezTo>
                  <a:cubicBezTo>
                    <a:pt x="97" y="144"/>
                    <a:pt x="105" y="169"/>
                    <a:pt x="114" y="194"/>
                  </a:cubicBezTo>
                  <a:cubicBezTo>
                    <a:pt x="107" y="190"/>
                    <a:pt x="100" y="186"/>
                    <a:pt x="93" y="182"/>
                  </a:cubicBezTo>
                  <a:cubicBezTo>
                    <a:pt x="90" y="189"/>
                    <a:pt x="87" y="196"/>
                    <a:pt x="83" y="202"/>
                  </a:cubicBezTo>
                  <a:cubicBezTo>
                    <a:pt x="82" y="201"/>
                    <a:pt x="82" y="199"/>
                    <a:pt x="82" y="198"/>
                  </a:cubicBezTo>
                  <a:cubicBezTo>
                    <a:pt x="76" y="175"/>
                    <a:pt x="71" y="152"/>
                    <a:pt x="66" y="129"/>
                  </a:cubicBezTo>
                  <a:lnTo>
                    <a:pt x="65" y="129"/>
                  </a:lnTo>
                  <a:cubicBezTo>
                    <a:pt x="61" y="147"/>
                    <a:pt x="56" y="165"/>
                    <a:pt x="52" y="183"/>
                  </a:cubicBezTo>
                  <a:cubicBezTo>
                    <a:pt x="51" y="189"/>
                    <a:pt x="49" y="196"/>
                    <a:pt x="48" y="202"/>
                  </a:cubicBezTo>
                  <a:cubicBezTo>
                    <a:pt x="44" y="195"/>
                    <a:pt x="41" y="188"/>
                    <a:pt x="37" y="182"/>
                  </a:cubicBezTo>
                  <a:cubicBezTo>
                    <a:pt x="30" y="186"/>
                    <a:pt x="23" y="190"/>
                    <a:pt x="17" y="194"/>
                  </a:cubicBezTo>
                  <a:cubicBezTo>
                    <a:pt x="25" y="169"/>
                    <a:pt x="33" y="144"/>
                    <a:pt x="42" y="118"/>
                  </a:cubicBezTo>
                  <a:cubicBezTo>
                    <a:pt x="43" y="116"/>
                    <a:pt x="42" y="113"/>
                    <a:pt x="42" y="111"/>
                  </a:cubicBezTo>
                  <a:cubicBezTo>
                    <a:pt x="37" y="113"/>
                    <a:pt x="32" y="115"/>
                    <a:pt x="27" y="117"/>
                  </a:cubicBezTo>
                  <a:cubicBezTo>
                    <a:pt x="27" y="112"/>
                    <a:pt x="28" y="107"/>
                    <a:pt x="28" y="101"/>
                  </a:cubicBezTo>
                  <a:cubicBezTo>
                    <a:pt x="23" y="102"/>
                    <a:pt x="18" y="102"/>
                    <a:pt x="13" y="103"/>
                  </a:cubicBezTo>
                  <a:cubicBezTo>
                    <a:pt x="15" y="98"/>
                    <a:pt x="17" y="93"/>
                    <a:pt x="19" y="88"/>
                  </a:cubicBezTo>
                  <a:cubicBezTo>
                    <a:pt x="14" y="87"/>
                    <a:pt x="9" y="86"/>
                    <a:pt x="4" y="85"/>
                  </a:cubicBezTo>
                  <a:cubicBezTo>
                    <a:pt x="7" y="81"/>
                    <a:pt x="11" y="77"/>
                    <a:pt x="14" y="73"/>
                  </a:cubicBezTo>
                  <a:cubicBezTo>
                    <a:pt x="9" y="70"/>
                    <a:pt x="5" y="67"/>
                    <a:pt x="0" y="65"/>
                  </a:cubicBezTo>
                  <a:cubicBezTo>
                    <a:pt x="5" y="62"/>
                    <a:pt x="9" y="59"/>
                    <a:pt x="14" y="57"/>
                  </a:cubicBezTo>
                  <a:cubicBezTo>
                    <a:pt x="11" y="52"/>
                    <a:pt x="7" y="49"/>
                    <a:pt x="4" y="44"/>
                  </a:cubicBezTo>
                  <a:cubicBezTo>
                    <a:pt x="9" y="43"/>
                    <a:pt x="14" y="42"/>
                    <a:pt x="19" y="41"/>
                  </a:cubicBezTo>
                  <a:cubicBezTo>
                    <a:pt x="17" y="36"/>
                    <a:pt x="15" y="31"/>
                    <a:pt x="13" y="26"/>
                  </a:cubicBezTo>
                  <a:cubicBezTo>
                    <a:pt x="18" y="27"/>
                    <a:pt x="23" y="27"/>
                    <a:pt x="28" y="28"/>
                  </a:cubicBezTo>
                  <a:cubicBezTo>
                    <a:pt x="28" y="23"/>
                    <a:pt x="28" y="17"/>
                    <a:pt x="27" y="12"/>
                  </a:cubicBezTo>
                  <a:cubicBezTo>
                    <a:pt x="32" y="14"/>
                    <a:pt x="37" y="16"/>
                    <a:pt x="42" y="18"/>
                  </a:cubicBezTo>
                  <a:cubicBezTo>
                    <a:pt x="43" y="13"/>
                    <a:pt x="44" y="8"/>
                    <a:pt x="45" y="3"/>
                  </a:cubicBezTo>
                  <a:cubicBezTo>
                    <a:pt x="49" y="6"/>
                    <a:pt x="53" y="10"/>
                    <a:pt x="57" y="13"/>
                  </a:cubicBezTo>
                  <a:close/>
                  <a:moveTo>
                    <a:pt x="63" y="22"/>
                  </a:moveTo>
                  <a:cubicBezTo>
                    <a:pt x="51" y="22"/>
                    <a:pt x="39" y="29"/>
                    <a:pt x="31" y="39"/>
                  </a:cubicBezTo>
                  <a:cubicBezTo>
                    <a:pt x="23" y="50"/>
                    <a:pt x="22" y="65"/>
                    <a:pt x="26" y="78"/>
                  </a:cubicBezTo>
                  <a:cubicBezTo>
                    <a:pt x="29" y="87"/>
                    <a:pt x="36" y="95"/>
                    <a:pt x="45" y="100"/>
                  </a:cubicBezTo>
                  <a:cubicBezTo>
                    <a:pt x="56" y="106"/>
                    <a:pt x="71" y="107"/>
                    <a:pt x="84" y="101"/>
                  </a:cubicBezTo>
                  <a:cubicBezTo>
                    <a:pt x="90" y="98"/>
                    <a:pt x="96" y="92"/>
                    <a:pt x="100" y="86"/>
                  </a:cubicBezTo>
                  <a:cubicBezTo>
                    <a:pt x="109" y="72"/>
                    <a:pt x="109" y="53"/>
                    <a:pt x="99" y="39"/>
                  </a:cubicBezTo>
                  <a:cubicBezTo>
                    <a:pt x="91" y="28"/>
                    <a:pt x="77" y="21"/>
                    <a:pt x="63"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 name="POWER_USER_ID_ICONS_Certificate"/>
            <p:cNvSpPr>
              <a:spLocks/>
            </p:cNvSpPr>
            <p:nvPr>
              <p:custDataLst>
                <p:tags r:id="rId19"/>
              </p:custDataLst>
            </p:nvPr>
          </p:nvSpPr>
          <p:spPr bwMode="auto">
            <a:xfrm>
              <a:off x="342" y="232"/>
              <a:ext cx="37" cy="37"/>
            </a:xfrm>
            <a:custGeom>
              <a:avLst/>
              <a:gdLst>
                <a:gd name="T0" fmla="*/ 39 w 80"/>
                <a:gd name="T1" fmla="*/ 1 h 80"/>
                <a:gd name="T2" fmla="*/ 75 w 80"/>
                <a:gd name="T3" fmla="*/ 21 h 80"/>
                <a:gd name="T4" fmla="*/ 80 w 80"/>
                <a:gd name="T5" fmla="*/ 42 h 80"/>
                <a:gd name="T6" fmla="*/ 48 w 80"/>
                <a:gd name="T7" fmla="*/ 77 h 80"/>
                <a:gd name="T8" fmla="*/ 9 w 80"/>
                <a:gd name="T9" fmla="*/ 60 h 80"/>
                <a:gd name="T10" fmla="*/ 10 w 80"/>
                <a:gd name="T11" fmla="*/ 16 h 80"/>
                <a:gd name="T12" fmla="*/ 39 w 80"/>
                <a:gd name="T13" fmla="*/ 1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39" y="1"/>
                  </a:moveTo>
                  <a:cubicBezTo>
                    <a:pt x="53" y="0"/>
                    <a:pt x="69" y="8"/>
                    <a:pt x="75" y="21"/>
                  </a:cubicBezTo>
                  <a:cubicBezTo>
                    <a:pt x="79" y="28"/>
                    <a:pt x="80" y="35"/>
                    <a:pt x="80" y="42"/>
                  </a:cubicBezTo>
                  <a:cubicBezTo>
                    <a:pt x="79" y="59"/>
                    <a:pt x="65" y="75"/>
                    <a:pt x="48" y="77"/>
                  </a:cubicBezTo>
                  <a:cubicBezTo>
                    <a:pt x="33" y="80"/>
                    <a:pt x="17" y="73"/>
                    <a:pt x="9" y="60"/>
                  </a:cubicBezTo>
                  <a:cubicBezTo>
                    <a:pt x="0" y="47"/>
                    <a:pt x="1" y="29"/>
                    <a:pt x="10" y="16"/>
                  </a:cubicBezTo>
                  <a:cubicBezTo>
                    <a:pt x="17" y="7"/>
                    <a:pt x="27" y="2"/>
                    <a:pt x="39"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6" name="POWER_USER_ID_ICONS_Certificate"/>
            <p:cNvSpPr>
              <a:spLocks noEditPoints="1"/>
            </p:cNvSpPr>
            <p:nvPr>
              <p:custDataLst>
                <p:tags r:id="rId20"/>
              </p:custDataLst>
            </p:nvPr>
          </p:nvSpPr>
          <p:spPr bwMode="auto">
            <a:xfrm>
              <a:off x="132" y="165"/>
              <a:ext cx="236" cy="32"/>
            </a:xfrm>
            <a:custGeom>
              <a:avLst/>
              <a:gdLst>
                <a:gd name="T0" fmla="*/ 265 w 511"/>
                <a:gd name="T1" fmla="*/ 0 h 68"/>
                <a:gd name="T2" fmla="*/ 265 w 511"/>
                <a:gd name="T3" fmla="*/ 20 h 68"/>
                <a:gd name="T4" fmla="*/ 443 w 511"/>
                <a:gd name="T5" fmla="*/ 44 h 68"/>
                <a:gd name="T6" fmla="*/ 500 w 511"/>
                <a:gd name="T7" fmla="*/ 68 h 68"/>
                <a:gd name="T8" fmla="*/ 511 w 511"/>
                <a:gd name="T9" fmla="*/ 52 h 68"/>
                <a:gd name="T10" fmla="*/ 449 w 511"/>
                <a:gd name="T11" fmla="*/ 26 h 68"/>
                <a:gd name="T12" fmla="*/ 265 w 511"/>
                <a:gd name="T13" fmla="*/ 0 h 68"/>
                <a:gd name="T14" fmla="*/ 224 w 511"/>
                <a:gd name="T15" fmla="*/ 0 h 68"/>
                <a:gd name="T16" fmla="*/ 125 w 511"/>
                <a:gd name="T17" fmla="*/ 11 h 68"/>
                <a:gd name="T18" fmla="*/ 129 w 511"/>
                <a:gd name="T19" fmla="*/ 30 h 68"/>
                <a:gd name="T20" fmla="*/ 226 w 511"/>
                <a:gd name="T21" fmla="*/ 21 h 68"/>
                <a:gd name="T22" fmla="*/ 226 w 511"/>
                <a:gd name="T23" fmla="*/ 0 h 68"/>
                <a:gd name="T24" fmla="*/ 224 w 511"/>
                <a:gd name="T25" fmla="*/ 0 h 68"/>
                <a:gd name="T26" fmla="*/ 87 w 511"/>
                <a:gd name="T27" fmla="*/ 19 h 68"/>
                <a:gd name="T28" fmla="*/ 63 w 511"/>
                <a:gd name="T29" fmla="*/ 26 h 68"/>
                <a:gd name="T30" fmla="*/ 0 w 511"/>
                <a:gd name="T31" fmla="*/ 52 h 68"/>
                <a:gd name="T32" fmla="*/ 11 w 511"/>
                <a:gd name="T33" fmla="*/ 68 h 68"/>
                <a:gd name="T34" fmla="*/ 68 w 511"/>
                <a:gd name="T35" fmla="*/ 44 h 68"/>
                <a:gd name="T36" fmla="*/ 91 w 511"/>
                <a:gd name="T37" fmla="*/ 38 h 68"/>
                <a:gd name="T38" fmla="*/ 87 w 511"/>
                <a:gd name="T3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1" h="68">
                  <a:moveTo>
                    <a:pt x="265" y="0"/>
                  </a:moveTo>
                  <a:lnTo>
                    <a:pt x="265" y="20"/>
                  </a:lnTo>
                  <a:cubicBezTo>
                    <a:pt x="346" y="21"/>
                    <a:pt x="404" y="33"/>
                    <a:pt x="443" y="44"/>
                  </a:cubicBezTo>
                  <a:cubicBezTo>
                    <a:pt x="483" y="57"/>
                    <a:pt x="500" y="68"/>
                    <a:pt x="500" y="68"/>
                  </a:cubicBezTo>
                  <a:lnTo>
                    <a:pt x="511" y="52"/>
                  </a:lnTo>
                  <a:cubicBezTo>
                    <a:pt x="511" y="52"/>
                    <a:pt x="490" y="38"/>
                    <a:pt x="449" y="26"/>
                  </a:cubicBezTo>
                  <a:cubicBezTo>
                    <a:pt x="409" y="13"/>
                    <a:pt x="348" y="1"/>
                    <a:pt x="265" y="0"/>
                  </a:cubicBezTo>
                  <a:close/>
                  <a:moveTo>
                    <a:pt x="224" y="0"/>
                  </a:moveTo>
                  <a:cubicBezTo>
                    <a:pt x="185" y="2"/>
                    <a:pt x="153" y="6"/>
                    <a:pt x="125" y="11"/>
                  </a:cubicBezTo>
                  <a:lnTo>
                    <a:pt x="129" y="30"/>
                  </a:lnTo>
                  <a:cubicBezTo>
                    <a:pt x="156" y="26"/>
                    <a:pt x="188" y="22"/>
                    <a:pt x="226" y="21"/>
                  </a:cubicBezTo>
                  <a:lnTo>
                    <a:pt x="226" y="0"/>
                  </a:lnTo>
                  <a:cubicBezTo>
                    <a:pt x="225" y="0"/>
                    <a:pt x="224" y="0"/>
                    <a:pt x="224" y="0"/>
                  </a:cubicBezTo>
                  <a:close/>
                  <a:moveTo>
                    <a:pt x="87" y="19"/>
                  </a:moveTo>
                  <a:cubicBezTo>
                    <a:pt x="78" y="21"/>
                    <a:pt x="70" y="23"/>
                    <a:pt x="63" y="26"/>
                  </a:cubicBezTo>
                  <a:cubicBezTo>
                    <a:pt x="21" y="38"/>
                    <a:pt x="0" y="52"/>
                    <a:pt x="0" y="52"/>
                  </a:cubicBezTo>
                  <a:lnTo>
                    <a:pt x="11" y="68"/>
                  </a:lnTo>
                  <a:cubicBezTo>
                    <a:pt x="11" y="68"/>
                    <a:pt x="28" y="57"/>
                    <a:pt x="68" y="44"/>
                  </a:cubicBezTo>
                  <a:cubicBezTo>
                    <a:pt x="75" y="42"/>
                    <a:pt x="83" y="40"/>
                    <a:pt x="91" y="38"/>
                  </a:cubicBezTo>
                  <a:lnTo>
                    <a:pt x="87"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7" name="POWER_USER_ID_ICONS_Certificate"/>
            <p:cNvSpPr>
              <a:spLocks noChangeArrowheads="1"/>
            </p:cNvSpPr>
            <p:nvPr>
              <p:custDataLst>
                <p:tags r:id="rId21"/>
              </p:custDataLst>
            </p:nvPr>
          </p:nvSpPr>
          <p:spPr bwMode="auto">
            <a:xfrm>
              <a:off x="123" y="283"/>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8" name="POWER_USER_ID_ICONS_Certificate"/>
            <p:cNvSpPr>
              <a:spLocks noChangeArrowheads="1"/>
            </p:cNvSpPr>
            <p:nvPr>
              <p:custDataLst>
                <p:tags r:id="rId22"/>
              </p:custDataLst>
            </p:nvPr>
          </p:nvSpPr>
          <p:spPr bwMode="auto">
            <a:xfrm>
              <a:off x="123" y="306"/>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0" name="POWER_USER_ID_ICONS_Equality2"/>
          <p:cNvGrpSpPr>
            <a:grpSpLocks noChangeAspect="1"/>
          </p:cNvGrpSpPr>
          <p:nvPr>
            <p:custDataLst>
              <p:tags r:id="rId3"/>
            </p:custDataLst>
          </p:nvPr>
        </p:nvGrpSpPr>
        <p:grpSpPr bwMode="auto">
          <a:xfrm>
            <a:off x="710835" y="2131967"/>
            <a:ext cx="722313" cy="469900"/>
            <a:chOff x="15" y="183"/>
            <a:chExt cx="455" cy="296"/>
          </a:xfrm>
          <a:solidFill>
            <a:schemeClr val="bg1"/>
          </a:solidFill>
        </p:grpSpPr>
        <p:sp>
          <p:nvSpPr>
            <p:cNvPr id="31" name="POWER_USER_ID_ICONS_Equality2"/>
            <p:cNvSpPr>
              <a:spLocks noEditPoints="1"/>
            </p:cNvSpPr>
            <p:nvPr>
              <p:custDataLst>
                <p:tags r:id="rId12"/>
              </p:custDataLst>
            </p:nvPr>
          </p:nvSpPr>
          <p:spPr bwMode="auto">
            <a:xfrm>
              <a:off x="25" y="183"/>
              <a:ext cx="104" cy="104"/>
            </a:xfrm>
            <a:custGeom>
              <a:avLst/>
              <a:gdLst>
                <a:gd name="T0" fmla="*/ 139 w 278"/>
                <a:gd name="T1" fmla="*/ 25 h 278"/>
                <a:gd name="T2" fmla="*/ 253 w 278"/>
                <a:gd name="T3" fmla="*/ 139 h 278"/>
                <a:gd name="T4" fmla="*/ 139 w 278"/>
                <a:gd name="T5" fmla="*/ 253 h 278"/>
                <a:gd name="T6" fmla="*/ 25 w 278"/>
                <a:gd name="T7" fmla="*/ 139 h 278"/>
                <a:gd name="T8" fmla="*/ 58 w 278"/>
                <a:gd name="T9" fmla="*/ 59 h 278"/>
                <a:gd name="T10" fmla="*/ 139 w 278"/>
                <a:gd name="T11" fmla="*/ 25 h 278"/>
                <a:gd name="T12" fmla="*/ 139 w 278"/>
                <a:gd name="T13" fmla="*/ 0 h 278"/>
                <a:gd name="T14" fmla="*/ 0 w 278"/>
                <a:gd name="T15" fmla="*/ 139 h 278"/>
                <a:gd name="T16" fmla="*/ 139 w 278"/>
                <a:gd name="T17" fmla="*/ 278 h 278"/>
                <a:gd name="T18" fmla="*/ 278 w 278"/>
                <a:gd name="T19" fmla="*/ 139 h 278"/>
                <a:gd name="T20" fmla="*/ 139 w 278"/>
                <a:gd name="T2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78">
                  <a:moveTo>
                    <a:pt x="139" y="25"/>
                  </a:moveTo>
                  <a:cubicBezTo>
                    <a:pt x="202" y="25"/>
                    <a:pt x="253" y="76"/>
                    <a:pt x="253" y="139"/>
                  </a:cubicBezTo>
                  <a:cubicBezTo>
                    <a:pt x="253" y="202"/>
                    <a:pt x="202" y="253"/>
                    <a:pt x="139" y="253"/>
                  </a:cubicBezTo>
                  <a:cubicBezTo>
                    <a:pt x="76" y="253"/>
                    <a:pt x="25" y="202"/>
                    <a:pt x="25" y="139"/>
                  </a:cubicBezTo>
                  <a:cubicBezTo>
                    <a:pt x="25" y="109"/>
                    <a:pt x="37" y="80"/>
                    <a:pt x="58" y="59"/>
                  </a:cubicBezTo>
                  <a:cubicBezTo>
                    <a:pt x="80" y="37"/>
                    <a:pt x="109" y="25"/>
                    <a:pt x="139" y="25"/>
                  </a:cubicBezTo>
                  <a:close/>
                  <a:moveTo>
                    <a:pt x="139" y="0"/>
                  </a:moveTo>
                  <a:cubicBezTo>
                    <a:pt x="62" y="0"/>
                    <a:pt x="0" y="63"/>
                    <a:pt x="0" y="139"/>
                  </a:cubicBezTo>
                  <a:cubicBezTo>
                    <a:pt x="0" y="216"/>
                    <a:pt x="62" y="278"/>
                    <a:pt x="139" y="278"/>
                  </a:cubicBezTo>
                  <a:cubicBezTo>
                    <a:pt x="215" y="278"/>
                    <a:pt x="278" y="216"/>
                    <a:pt x="278" y="139"/>
                  </a:cubicBezTo>
                  <a:cubicBezTo>
                    <a:pt x="278" y="63"/>
                    <a:pt x="215" y="0"/>
                    <a:pt x="13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2" name="POWER_USER_ID_ICONS_Equality2"/>
            <p:cNvSpPr>
              <a:spLocks noChangeArrowheads="1"/>
            </p:cNvSpPr>
            <p:nvPr>
              <p:custDataLst>
                <p:tags r:id="rId13"/>
              </p:custDataLst>
            </p:nvPr>
          </p:nvSpPr>
          <p:spPr bwMode="auto">
            <a:xfrm>
              <a:off x="357" y="183"/>
              <a:ext cx="104" cy="104"/>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3" name="POWER_USER_ID_ICONS_Equality2"/>
            <p:cNvSpPr>
              <a:spLocks noEditPoints="1"/>
            </p:cNvSpPr>
            <p:nvPr>
              <p:custDataLst>
                <p:tags r:id="rId14"/>
              </p:custDataLst>
            </p:nvPr>
          </p:nvSpPr>
          <p:spPr bwMode="auto">
            <a:xfrm>
              <a:off x="15" y="299"/>
              <a:ext cx="209" cy="180"/>
            </a:xfrm>
            <a:custGeom>
              <a:avLst/>
              <a:gdLst>
                <a:gd name="T0" fmla="*/ 201 w 557"/>
                <a:gd name="T1" fmla="*/ 25 h 476"/>
                <a:gd name="T2" fmla="*/ 265 w 557"/>
                <a:gd name="T3" fmla="*/ 49 h 476"/>
                <a:gd name="T4" fmla="*/ 272 w 557"/>
                <a:gd name="T5" fmla="*/ 53 h 476"/>
                <a:gd name="T6" fmla="*/ 330 w 557"/>
                <a:gd name="T7" fmla="*/ 113 h 476"/>
                <a:gd name="T8" fmla="*/ 516 w 557"/>
                <a:gd name="T9" fmla="*/ 245 h 476"/>
                <a:gd name="T10" fmla="*/ 505 w 557"/>
                <a:gd name="T11" fmla="*/ 309 h 476"/>
                <a:gd name="T12" fmla="*/ 505 w 557"/>
                <a:gd name="T13" fmla="*/ 315 h 476"/>
                <a:gd name="T14" fmla="*/ 344 w 557"/>
                <a:gd name="T15" fmla="*/ 231 h 476"/>
                <a:gd name="T16" fmla="*/ 303 w 557"/>
                <a:gd name="T17" fmla="*/ 195 h 476"/>
                <a:gd name="T18" fmla="*/ 303 w 557"/>
                <a:gd name="T19" fmla="*/ 250 h 476"/>
                <a:gd name="T20" fmla="*/ 303 w 557"/>
                <a:gd name="T21" fmla="*/ 451 h 476"/>
                <a:gd name="T22" fmla="*/ 25 w 557"/>
                <a:gd name="T23" fmla="*/ 451 h 476"/>
                <a:gd name="T24" fmla="*/ 25 w 557"/>
                <a:gd name="T25" fmla="*/ 126 h 476"/>
                <a:gd name="T26" fmla="*/ 126 w 557"/>
                <a:gd name="T27" fmla="*/ 25 h 476"/>
                <a:gd name="T28" fmla="*/ 201 w 557"/>
                <a:gd name="T29" fmla="*/ 25 h 476"/>
                <a:gd name="T30" fmla="*/ 201 w 557"/>
                <a:gd name="T31" fmla="*/ 0 h 476"/>
                <a:gd name="T32" fmla="*/ 126 w 557"/>
                <a:gd name="T33" fmla="*/ 0 h 476"/>
                <a:gd name="T34" fmla="*/ 0 w 557"/>
                <a:gd name="T35" fmla="*/ 126 h 476"/>
                <a:gd name="T36" fmla="*/ 0 w 557"/>
                <a:gd name="T37" fmla="*/ 476 h 476"/>
                <a:gd name="T38" fmla="*/ 328 w 557"/>
                <a:gd name="T39" fmla="*/ 476 h 476"/>
                <a:gd name="T40" fmla="*/ 328 w 557"/>
                <a:gd name="T41" fmla="*/ 250 h 476"/>
                <a:gd name="T42" fmla="*/ 547 w 557"/>
                <a:gd name="T43" fmla="*/ 349 h 476"/>
                <a:gd name="T44" fmla="*/ 529 w 557"/>
                <a:gd name="T45" fmla="*/ 306 h 476"/>
                <a:gd name="T46" fmla="*/ 557 w 557"/>
                <a:gd name="T47" fmla="*/ 229 h 476"/>
                <a:gd name="T48" fmla="*/ 350 w 557"/>
                <a:gd name="T49" fmla="*/ 98 h 476"/>
                <a:gd name="T50" fmla="*/ 284 w 557"/>
                <a:gd name="T51" fmla="*/ 31 h 476"/>
                <a:gd name="T52" fmla="*/ 282 w 557"/>
                <a:gd name="T53" fmla="*/ 30 h 476"/>
                <a:gd name="T54" fmla="*/ 201 w 557"/>
                <a:gd name="T55"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7" h="476">
                  <a:moveTo>
                    <a:pt x="201" y="25"/>
                  </a:moveTo>
                  <a:cubicBezTo>
                    <a:pt x="230" y="25"/>
                    <a:pt x="252" y="38"/>
                    <a:pt x="265" y="49"/>
                  </a:cubicBezTo>
                  <a:cubicBezTo>
                    <a:pt x="268" y="51"/>
                    <a:pt x="270" y="52"/>
                    <a:pt x="272" y="53"/>
                  </a:cubicBezTo>
                  <a:cubicBezTo>
                    <a:pt x="294" y="68"/>
                    <a:pt x="311" y="90"/>
                    <a:pt x="330" y="113"/>
                  </a:cubicBezTo>
                  <a:cubicBezTo>
                    <a:pt x="366" y="157"/>
                    <a:pt x="413" y="216"/>
                    <a:pt x="516" y="245"/>
                  </a:cubicBezTo>
                  <a:cubicBezTo>
                    <a:pt x="506" y="265"/>
                    <a:pt x="502" y="287"/>
                    <a:pt x="505" y="309"/>
                  </a:cubicBezTo>
                  <a:cubicBezTo>
                    <a:pt x="505" y="311"/>
                    <a:pt x="505" y="313"/>
                    <a:pt x="505" y="315"/>
                  </a:cubicBezTo>
                  <a:cubicBezTo>
                    <a:pt x="442" y="298"/>
                    <a:pt x="389" y="271"/>
                    <a:pt x="344" y="231"/>
                  </a:cubicBezTo>
                  <a:lnTo>
                    <a:pt x="303" y="195"/>
                  </a:lnTo>
                  <a:lnTo>
                    <a:pt x="303" y="250"/>
                  </a:lnTo>
                  <a:lnTo>
                    <a:pt x="303" y="451"/>
                  </a:lnTo>
                  <a:lnTo>
                    <a:pt x="25" y="451"/>
                  </a:lnTo>
                  <a:lnTo>
                    <a:pt x="25" y="126"/>
                  </a:lnTo>
                  <a:cubicBezTo>
                    <a:pt x="25" y="71"/>
                    <a:pt x="71" y="25"/>
                    <a:pt x="126" y="25"/>
                  </a:cubicBezTo>
                  <a:lnTo>
                    <a:pt x="201" y="25"/>
                  </a:lnTo>
                  <a:moveTo>
                    <a:pt x="201" y="0"/>
                  </a:moveTo>
                  <a:lnTo>
                    <a:pt x="126" y="0"/>
                  </a:lnTo>
                  <a:cubicBezTo>
                    <a:pt x="57" y="0"/>
                    <a:pt x="0" y="57"/>
                    <a:pt x="0" y="126"/>
                  </a:cubicBezTo>
                  <a:lnTo>
                    <a:pt x="0" y="476"/>
                  </a:lnTo>
                  <a:lnTo>
                    <a:pt x="328" y="476"/>
                  </a:lnTo>
                  <a:lnTo>
                    <a:pt x="328" y="250"/>
                  </a:lnTo>
                  <a:cubicBezTo>
                    <a:pt x="375" y="292"/>
                    <a:pt x="443" y="332"/>
                    <a:pt x="547" y="349"/>
                  </a:cubicBezTo>
                  <a:cubicBezTo>
                    <a:pt x="538" y="336"/>
                    <a:pt x="531" y="322"/>
                    <a:pt x="529" y="306"/>
                  </a:cubicBezTo>
                  <a:cubicBezTo>
                    <a:pt x="526" y="276"/>
                    <a:pt x="538" y="249"/>
                    <a:pt x="557" y="229"/>
                  </a:cubicBezTo>
                  <a:cubicBezTo>
                    <a:pt x="439" y="207"/>
                    <a:pt x="391" y="149"/>
                    <a:pt x="350" y="98"/>
                  </a:cubicBezTo>
                  <a:cubicBezTo>
                    <a:pt x="329" y="72"/>
                    <a:pt x="310" y="48"/>
                    <a:pt x="284" y="31"/>
                  </a:cubicBezTo>
                  <a:cubicBezTo>
                    <a:pt x="283" y="31"/>
                    <a:pt x="282" y="31"/>
                    <a:pt x="282" y="30"/>
                  </a:cubicBezTo>
                  <a:cubicBezTo>
                    <a:pt x="260" y="12"/>
                    <a:pt x="232" y="0"/>
                    <a:pt x="20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4" name="POWER_USER_ID_ICONS_Equality2"/>
            <p:cNvSpPr>
              <a:spLocks/>
            </p:cNvSpPr>
            <p:nvPr>
              <p:custDataLst>
                <p:tags r:id="rId15"/>
              </p:custDataLst>
            </p:nvPr>
          </p:nvSpPr>
          <p:spPr bwMode="auto">
            <a:xfrm>
              <a:off x="226" y="299"/>
              <a:ext cx="244" cy="180"/>
            </a:xfrm>
            <a:custGeom>
              <a:avLst/>
              <a:gdLst>
                <a:gd name="T0" fmla="*/ 524 w 650"/>
                <a:gd name="T1" fmla="*/ 0 h 476"/>
                <a:gd name="T2" fmla="*/ 449 w 650"/>
                <a:gd name="T3" fmla="*/ 0 h 476"/>
                <a:gd name="T4" fmla="*/ 368 w 650"/>
                <a:gd name="T5" fmla="*/ 30 h 476"/>
                <a:gd name="T6" fmla="*/ 366 w 650"/>
                <a:gd name="T7" fmla="*/ 31 h 476"/>
                <a:gd name="T8" fmla="*/ 301 w 650"/>
                <a:gd name="T9" fmla="*/ 98 h 476"/>
                <a:gd name="T10" fmla="*/ 57 w 650"/>
                <a:gd name="T11" fmla="*/ 235 h 476"/>
                <a:gd name="T12" fmla="*/ 4 w 650"/>
                <a:gd name="T13" fmla="*/ 302 h 476"/>
                <a:gd name="T14" fmla="*/ 64 w 650"/>
                <a:gd name="T15" fmla="*/ 355 h 476"/>
                <a:gd name="T16" fmla="*/ 70 w 650"/>
                <a:gd name="T17" fmla="*/ 355 h 476"/>
                <a:gd name="T18" fmla="*/ 323 w 650"/>
                <a:gd name="T19" fmla="*/ 251 h 476"/>
                <a:gd name="T20" fmla="*/ 323 w 650"/>
                <a:gd name="T21" fmla="*/ 476 h 476"/>
                <a:gd name="T22" fmla="*/ 650 w 650"/>
                <a:gd name="T23" fmla="*/ 476 h 476"/>
                <a:gd name="T24" fmla="*/ 650 w 650"/>
                <a:gd name="T25" fmla="*/ 126 h 476"/>
                <a:gd name="T26" fmla="*/ 524 w 650"/>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76">
                  <a:moveTo>
                    <a:pt x="524" y="0"/>
                  </a:moveTo>
                  <a:lnTo>
                    <a:pt x="449" y="0"/>
                  </a:lnTo>
                  <a:cubicBezTo>
                    <a:pt x="418" y="0"/>
                    <a:pt x="390" y="12"/>
                    <a:pt x="368" y="30"/>
                  </a:cubicBezTo>
                  <a:cubicBezTo>
                    <a:pt x="368" y="31"/>
                    <a:pt x="367" y="31"/>
                    <a:pt x="366" y="31"/>
                  </a:cubicBezTo>
                  <a:cubicBezTo>
                    <a:pt x="340" y="48"/>
                    <a:pt x="321" y="72"/>
                    <a:pt x="301" y="98"/>
                  </a:cubicBezTo>
                  <a:cubicBezTo>
                    <a:pt x="255" y="154"/>
                    <a:pt x="203" y="219"/>
                    <a:pt x="57" y="235"/>
                  </a:cubicBezTo>
                  <a:cubicBezTo>
                    <a:pt x="24" y="239"/>
                    <a:pt x="0" y="269"/>
                    <a:pt x="4" y="302"/>
                  </a:cubicBezTo>
                  <a:cubicBezTo>
                    <a:pt x="7" y="332"/>
                    <a:pt x="33" y="355"/>
                    <a:pt x="64" y="355"/>
                  </a:cubicBezTo>
                  <a:cubicBezTo>
                    <a:pt x="66" y="355"/>
                    <a:pt x="68" y="355"/>
                    <a:pt x="70" y="355"/>
                  </a:cubicBezTo>
                  <a:cubicBezTo>
                    <a:pt x="194" y="341"/>
                    <a:pt x="270" y="297"/>
                    <a:pt x="323" y="251"/>
                  </a:cubicBezTo>
                  <a:lnTo>
                    <a:pt x="323" y="476"/>
                  </a:lnTo>
                  <a:lnTo>
                    <a:pt x="650" y="476"/>
                  </a:lnTo>
                  <a:lnTo>
                    <a:pt x="650" y="126"/>
                  </a:lnTo>
                  <a:cubicBezTo>
                    <a:pt x="650" y="57"/>
                    <a:pt x="593" y="0"/>
                    <a:pt x="52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5" name="POWER_USER_ID_ICONS_Flag"/>
          <p:cNvGrpSpPr>
            <a:grpSpLocks noChangeAspect="1"/>
          </p:cNvGrpSpPr>
          <p:nvPr>
            <p:custDataLst>
              <p:tags r:id="rId4"/>
            </p:custDataLst>
          </p:nvPr>
        </p:nvGrpSpPr>
        <p:grpSpPr bwMode="auto">
          <a:xfrm>
            <a:off x="887186" y="3802634"/>
            <a:ext cx="356235" cy="543084"/>
            <a:chOff x="142" y="90"/>
            <a:chExt cx="204" cy="311"/>
          </a:xfrm>
          <a:solidFill>
            <a:schemeClr val="bg1"/>
          </a:solidFill>
        </p:grpSpPr>
        <p:sp>
          <p:nvSpPr>
            <p:cNvPr id="36" name="POWER_USER_ID_ICONS_Flag"/>
            <p:cNvSpPr>
              <a:spLocks noChangeArrowheads="1"/>
            </p:cNvSpPr>
            <p:nvPr>
              <p:custDataLst>
                <p:tags r:id="rId10"/>
              </p:custDataLst>
            </p:nvPr>
          </p:nvSpPr>
          <p:spPr bwMode="auto">
            <a:xfrm>
              <a:off x="142" y="90"/>
              <a:ext cx="19" cy="31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7" name="POWER_USER_ID_ICONS_Flag"/>
            <p:cNvSpPr>
              <a:spLocks/>
            </p:cNvSpPr>
            <p:nvPr>
              <p:custDataLst>
                <p:tags r:id="rId11"/>
              </p:custDataLst>
            </p:nvPr>
          </p:nvSpPr>
          <p:spPr bwMode="auto">
            <a:xfrm>
              <a:off x="179" y="128"/>
              <a:ext cx="167" cy="118"/>
            </a:xfrm>
            <a:custGeom>
              <a:avLst/>
              <a:gdLst>
                <a:gd name="T0" fmla="*/ 444 w 444"/>
                <a:gd name="T1" fmla="*/ 312 h 312"/>
                <a:gd name="T2" fmla="*/ 0 w 444"/>
                <a:gd name="T3" fmla="*/ 312 h 312"/>
                <a:gd name="T4" fmla="*/ 0 w 444"/>
                <a:gd name="T5" fmla="*/ 0 h 312"/>
                <a:gd name="T6" fmla="*/ 444 w 444"/>
                <a:gd name="T7" fmla="*/ 0 h 312"/>
                <a:gd name="T8" fmla="*/ 263 w 444"/>
                <a:gd name="T9" fmla="*/ 156 h 312"/>
                <a:gd name="T10" fmla="*/ 444 w 444"/>
                <a:gd name="T11" fmla="*/ 312 h 312"/>
              </a:gdLst>
              <a:ahLst/>
              <a:cxnLst>
                <a:cxn ang="0">
                  <a:pos x="T0" y="T1"/>
                </a:cxn>
                <a:cxn ang="0">
                  <a:pos x="T2" y="T3"/>
                </a:cxn>
                <a:cxn ang="0">
                  <a:pos x="T4" y="T5"/>
                </a:cxn>
                <a:cxn ang="0">
                  <a:pos x="T6" y="T7"/>
                </a:cxn>
                <a:cxn ang="0">
                  <a:pos x="T8" y="T9"/>
                </a:cxn>
                <a:cxn ang="0">
                  <a:pos x="T10" y="T11"/>
                </a:cxn>
              </a:cxnLst>
              <a:rect l="0" t="0" r="r" b="b"/>
              <a:pathLst>
                <a:path w="444" h="312">
                  <a:moveTo>
                    <a:pt x="444" y="312"/>
                  </a:moveTo>
                  <a:lnTo>
                    <a:pt x="0" y="312"/>
                  </a:lnTo>
                  <a:lnTo>
                    <a:pt x="0" y="0"/>
                  </a:lnTo>
                  <a:lnTo>
                    <a:pt x="444" y="0"/>
                  </a:lnTo>
                  <a:lnTo>
                    <a:pt x="263" y="156"/>
                  </a:lnTo>
                  <a:lnTo>
                    <a:pt x="444" y="3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8" name="POWER_USER_ID_ICONS_Fossil_Fuel"/>
          <p:cNvGrpSpPr>
            <a:grpSpLocks noChangeAspect="1"/>
          </p:cNvGrpSpPr>
          <p:nvPr>
            <p:custDataLst>
              <p:tags r:id="rId5"/>
            </p:custDataLst>
          </p:nvPr>
        </p:nvGrpSpPr>
        <p:grpSpPr bwMode="auto">
          <a:xfrm>
            <a:off x="717392" y="4648932"/>
            <a:ext cx="666750" cy="671513"/>
            <a:chOff x="29" y="32"/>
            <a:chExt cx="420" cy="423"/>
          </a:xfrm>
          <a:solidFill>
            <a:schemeClr val="bg1"/>
          </a:solidFill>
        </p:grpSpPr>
        <p:sp>
          <p:nvSpPr>
            <p:cNvPr id="39" name="POWER_USER_ID_ICONS_Fossil_Fuel"/>
            <p:cNvSpPr>
              <a:spLocks noEditPoints="1"/>
            </p:cNvSpPr>
            <p:nvPr>
              <p:custDataLst>
                <p:tags r:id="rId6"/>
              </p:custDataLst>
            </p:nvPr>
          </p:nvSpPr>
          <p:spPr bwMode="auto">
            <a:xfrm>
              <a:off x="29" y="190"/>
              <a:ext cx="420" cy="265"/>
            </a:xfrm>
            <a:custGeom>
              <a:avLst/>
              <a:gdLst>
                <a:gd name="T0" fmla="*/ 833 w 1117"/>
                <a:gd name="T1" fmla="*/ 317 h 704"/>
                <a:gd name="T2" fmla="*/ 833 w 1117"/>
                <a:gd name="T3" fmla="*/ 155 h 704"/>
                <a:gd name="T4" fmla="*/ 548 w 1117"/>
                <a:gd name="T5" fmla="*/ 317 h 704"/>
                <a:gd name="T6" fmla="*/ 548 w 1117"/>
                <a:gd name="T7" fmla="*/ 155 h 704"/>
                <a:gd name="T8" fmla="*/ 268 w 1117"/>
                <a:gd name="T9" fmla="*/ 317 h 704"/>
                <a:gd name="T10" fmla="*/ 227 w 1117"/>
                <a:gd name="T11" fmla="*/ 0 h 704"/>
                <a:gd name="T12" fmla="*/ 77 w 1117"/>
                <a:gd name="T13" fmla="*/ 0 h 704"/>
                <a:gd name="T14" fmla="*/ 0 w 1117"/>
                <a:gd name="T15" fmla="*/ 704 h 704"/>
                <a:gd name="T16" fmla="*/ 1117 w 1117"/>
                <a:gd name="T17" fmla="*/ 704 h 704"/>
                <a:gd name="T18" fmla="*/ 1117 w 1117"/>
                <a:gd name="T19" fmla="*/ 155 h 704"/>
                <a:gd name="T20" fmla="*/ 833 w 1117"/>
                <a:gd name="T21" fmla="*/ 317 h 704"/>
                <a:gd name="T22" fmla="*/ 452 w 1117"/>
                <a:gd name="T23" fmla="*/ 494 h 704"/>
                <a:gd name="T24" fmla="*/ 369 w 1117"/>
                <a:gd name="T25" fmla="*/ 494 h 704"/>
                <a:gd name="T26" fmla="*/ 369 w 1117"/>
                <a:gd name="T27" fmla="*/ 382 h 704"/>
                <a:gd name="T28" fmla="*/ 452 w 1117"/>
                <a:gd name="T29" fmla="*/ 382 h 704"/>
                <a:gd name="T30" fmla="*/ 452 w 1117"/>
                <a:gd name="T31" fmla="*/ 494 h 704"/>
                <a:gd name="T32" fmla="*/ 733 w 1117"/>
                <a:gd name="T33" fmla="*/ 494 h 704"/>
                <a:gd name="T34" fmla="*/ 651 w 1117"/>
                <a:gd name="T35" fmla="*/ 494 h 704"/>
                <a:gd name="T36" fmla="*/ 651 w 1117"/>
                <a:gd name="T37" fmla="*/ 382 h 704"/>
                <a:gd name="T38" fmla="*/ 733 w 1117"/>
                <a:gd name="T39" fmla="*/ 382 h 704"/>
                <a:gd name="T40" fmla="*/ 733 w 1117"/>
                <a:gd name="T41" fmla="*/ 494 h 704"/>
                <a:gd name="T42" fmla="*/ 1016 w 1117"/>
                <a:gd name="T43" fmla="*/ 494 h 704"/>
                <a:gd name="T44" fmla="*/ 933 w 1117"/>
                <a:gd name="T45" fmla="*/ 494 h 704"/>
                <a:gd name="T46" fmla="*/ 933 w 1117"/>
                <a:gd name="T47" fmla="*/ 382 h 704"/>
                <a:gd name="T48" fmla="*/ 1016 w 1117"/>
                <a:gd name="T49" fmla="*/ 382 h 704"/>
                <a:gd name="T50" fmla="*/ 1016 w 1117"/>
                <a:gd name="T51" fmla="*/ 494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7" h="704">
                  <a:moveTo>
                    <a:pt x="833" y="317"/>
                  </a:moveTo>
                  <a:lnTo>
                    <a:pt x="833" y="155"/>
                  </a:lnTo>
                  <a:lnTo>
                    <a:pt x="548" y="317"/>
                  </a:lnTo>
                  <a:lnTo>
                    <a:pt x="548" y="155"/>
                  </a:lnTo>
                  <a:lnTo>
                    <a:pt x="268" y="317"/>
                  </a:lnTo>
                  <a:lnTo>
                    <a:pt x="227" y="0"/>
                  </a:lnTo>
                  <a:lnTo>
                    <a:pt x="77" y="0"/>
                  </a:lnTo>
                  <a:lnTo>
                    <a:pt x="0" y="704"/>
                  </a:lnTo>
                  <a:lnTo>
                    <a:pt x="1117" y="704"/>
                  </a:lnTo>
                  <a:lnTo>
                    <a:pt x="1117" y="155"/>
                  </a:lnTo>
                  <a:lnTo>
                    <a:pt x="833" y="317"/>
                  </a:lnTo>
                  <a:close/>
                  <a:moveTo>
                    <a:pt x="452" y="494"/>
                  </a:moveTo>
                  <a:lnTo>
                    <a:pt x="369" y="494"/>
                  </a:lnTo>
                  <a:lnTo>
                    <a:pt x="369" y="382"/>
                  </a:lnTo>
                  <a:lnTo>
                    <a:pt x="452" y="382"/>
                  </a:lnTo>
                  <a:lnTo>
                    <a:pt x="452" y="494"/>
                  </a:lnTo>
                  <a:close/>
                  <a:moveTo>
                    <a:pt x="733" y="494"/>
                  </a:moveTo>
                  <a:lnTo>
                    <a:pt x="651" y="494"/>
                  </a:lnTo>
                  <a:lnTo>
                    <a:pt x="651" y="382"/>
                  </a:lnTo>
                  <a:lnTo>
                    <a:pt x="733" y="382"/>
                  </a:lnTo>
                  <a:lnTo>
                    <a:pt x="733" y="494"/>
                  </a:lnTo>
                  <a:close/>
                  <a:moveTo>
                    <a:pt x="1016" y="494"/>
                  </a:moveTo>
                  <a:lnTo>
                    <a:pt x="933" y="494"/>
                  </a:lnTo>
                  <a:lnTo>
                    <a:pt x="933" y="382"/>
                  </a:lnTo>
                  <a:lnTo>
                    <a:pt x="1016" y="382"/>
                  </a:lnTo>
                  <a:lnTo>
                    <a:pt x="1016" y="4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0" name="POWER_USER_ID_ICONS_Fossil_Fuel"/>
            <p:cNvSpPr>
              <a:spLocks/>
            </p:cNvSpPr>
            <p:nvPr>
              <p:custDataLst>
                <p:tags r:id="rId7"/>
              </p:custDataLst>
            </p:nvPr>
          </p:nvSpPr>
          <p:spPr bwMode="auto">
            <a:xfrm>
              <a:off x="112" y="102"/>
              <a:ext cx="0" cy="1"/>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2"/>
                    <a:pt x="0" y="2"/>
                    <a:pt x="0" y="2"/>
                  </a:cubicBezTo>
                  <a:cubicBezTo>
                    <a:pt x="0" y="2"/>
                    <a:pt x="2" y="2"/>
                    <a:pt x="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1" name="POWER_USER_ID_ICONS_Fossil_Fuel"/>
            <p:cNvSpPr>
              <a:spLocks/>
            </p:cNvSpPr>
            <p:nvPr>
              <p:custDataLst>
                <p:tags r:id="rId8"/>
              </p:custDataLst>
            </p:nvPr>
          </p:nvSpPr>
          <p:spPr bwMode="auto">
            <a:xfrm>
              <a:off x="38" y="44"/>
              <a:ext cx="98" cy="138"/>
            </a:xfrm>
            <a:custGeom>
              <a:avLst/>
              <a:gdLst>
                <a:gd name="T0" fmla="*/ 256 w 261"/>
                <a:gd name="T1" fmla="*/ 120 h 365"/>
                <a:gd name="T2" fmla="*/ 256 w 261"/>
                <a:gd name="T3" fmla="*/ 120 h 365"/>
                <a:gd name="T4" fmla="*/ 196 w 261"/>
                <a:gd name="T5" fmla="*/ 155 h 365"/>
                <a:gd name="T6" fmla="*/ 195 w 261"/>
                <a:gd name="T7" fmla="*/ 157 h 365"/>
                <a:gd name="T8" fmla="*/ 196 w 261"/>
                <a:gd name="T9" fmla="*/ 155 h 365"/>
                <a:gd name="T10" fmla="*/ 159 w 261"/>
                <a:gd name="T11" fmla="*/ 57 h 365"/>
                <a:gd name="T12" fmla="*/ 127 w 261"/>
                <a:gd name="T13" fmla="*/ 4 h 365"/>
                <a:gd name="T14" fmla="*/ 125 w 261"/>
                <a:gd name="T15" fmla="*/ 0 h 365"/>
                <a:gd name="T16" fmla="*/ 123 w 261"/>
                <a:gd name="T17" fmla="*/ 2 h 365"/>
                <a:gd name="T18" fmla="*/ 109 w 261"/>
                <a:gd name="T19" fmla="*/ 83 h 365"/>
                <a:gd name="T20" fmla="*/ 91 w 261"/>
                <a:gd name="T21" fmla="*/ 103 h 365"/>
                <a:gd name="T22" fmla="*/ 69 w 261"/>
                <a:gd name="T23" fmla="*/ 69 h 365"/>
                <a:gd name="T24" fmla="*/ 65 w 261"/>
                <a:gd name="T25" fmla="*/ 65 h 365"/>
                <a:gd name="T26" fmla="*/ 64 w 261"/>
                <a:gd name="T27" fmla="*/ 65 h 365"/>
                <a:gd name="T28" fmla="*/ 59 w 261"/>
                <a:gd name="T29" fmla="*/ 183 h 365"/>
                <a:gd name="T30" fmla="*/ 41 w 261"/>
                <a:gd name="T31" fmla="*/ 200 h 365"/>
                <a:gd name="T32" fmla="*/ 19 w 261"/>
                <a:gd name="T33" fmla="*/ 181 h 365"/>
                <a:gd name="T34" fmla="*/ 15 w 261"/>
                <a:gd name="T35" fmla="*/ 179 h 365"/>
                <a:gd name="T36" fmla="*/ 12 w 261"/>
                <a:gd name="T37" fmla="*/ 180 h 365"/>
                <a:gd name="T38" fmla="*/ 2 w 261"/>
                <a:gd name="T39" fmla="*/ 244 h 365"/>
                <a:gd name="T40" fmla="*/ 99 w 261"/>
                <a:gd name="T41" fmla="*/ 361 h 365"/>
                <a:gd name="T42" fmla="*/ 70 w 261"/>
                <a:gd name="T43" fmla="*/ 323 h 365"/>
                <a:gd name="T44" fmla="*/ 70 w 261"/>
                <a:gd name="T45" fmla="*/ 323 h 365"/>
                <a:gd name="T46" fmla="*/ 94 w 261"/>
                <a:gd name="T47" fmla="*/ 253 h 365"/>
                <a:gd name="T48" fmla="*/ 104 w 261"/>
                <a:gd name="T49" fmla="*/ 290 h 365"/>
                <a:gd name="T50" fmla="*/ 117 w 261"/>
                <a:gd name="T51" fmla="*/ 269 h 365"/>
                <a:gd name="T52" fmla="*/ 139 w 261"/>
                <a:gd name="T53" fmla="*/ 218 h 365"/>
                <a:gd name="T54" fmla="*/ 152 w 261"/>
                <a:gd name="T55" fmla="*/ 263 h 365"/>
                <a:gd name="T56" fmla="*/ 175 w 261"/>
                <a:gd name="T57" fmla="*/ 323 h 365"/>
                <a:gd name="T58" fmla="*/ 145 w 261"/>
                <a:gd name="T59" fmla="*/ 363 h 365"/>
                <a:gd name="T60" fmla="*/ 143 w 261"/>
                <a:gd name="T61" fmla="*/ 365 h 365"/>
                <a:gd name="T62" fmla="*/ 241 w 261"/>
                <a:gd name="T63" fmla="*/ 260 h 365"/>
                <a:gd name="T64" fmla="*/ 241 w 261"/>
                <a:gd name="T65" fmla="*/ 260 h 365"/>
                <a:gd name="T66" fmla="*/ 241 w 261"/>
                <a:gd name="T67" fmla="*/ 260 h 365"/>
                <a:gd name="T68" fmla="*/ 243 w 261"/>
                <a:gd name="T69" fmla="*/ 247 h 365"/>
                <a:gd name="T70" fmla="*/ 235 w 261"/>
                <a:gd name="T71" fmla="*/ 205 h 365"/>
                <a:gd name="T72" fmla="*/ 234 w 261"/>
                <a:gd name="T73" fmla="*/ 199 h 365"/>
                <a:gd name="T74" fmla="*/ 233 w 261"/>
                <a:gd name="T75" fmla="*/ 193 h 365"/>
                <a:gd name="T76" fmla="*/ 233 w 261"/>
                <a:gd name="T77" fmla="*/ 193 h 365"/>
                <a:gd name="T78" fmla="*/ 256 w 261"/>
                <a:gd name="T79" fmla="*/ 124 h 365"/>
                <a:gd name="T80" fmla="*/ 256 w 261"/>
                <a:gd name="T81" fmla="*/ 12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1" h="365">
                  <a:moveTo>
                    <a:pt x="256" y="120"/>
                  </a:moveTo>
                  <a:lnTo>
                    <a:pt x="256" y="120"/>
                  </a:lnTo>
                  <a:cubicBezTo>
                    <a:pt x="215" y="120"/>
                    <a:pt x="200" y="148"/>
                    <a:pt x="196" y="155"/>
                  </a:cubicBezTo>
                  <a:cubicBezTo>
                    <a:pt x="196" y="155"/>
                    <a:pt x="196" y="157"/>
                    <a:pt x="195" y="157"/>
                  </a:cubicBezTo>
                  <a:lnTo>
                    <a:pt x="196" y="155"/>
                  </a:lnTo>
                  <a:cubicBezTo>
                    <a:pt x="209" y="124"/>
                    <a:pt x="201" y="72"/>
                    <a:pt x="159" y="57"/>
                  </a:cubicBezTo>
                  <a:cubicBezTo>
                    <a:pt x="127" y="45"/>
                    <a:pt x="126" y="18"/>
                    <a:pt x="127" y="4"/>
                  </a:cubicBezTo>
                  <a:cubicBezTo>
                    <a:pt x="127" y="2"/>
                    <a:pt x="126" y="0"/>
                    <a:pt x="125" y="0"/>
                  </a:cubicBezTo>
                  <a:cubicBezTo>
                    <a:pt x="124" y="0"/>
                    <a:pt x="124" y="0"/>
                    <a:pt x="123" y="2"/>
                  </a:cubicBezTo>
                  <a:cubicBezTo>
                    <a:pt x="89" y="30"/>
                    <a:pt x="109" y="64"/>
                    <a:pt x="109" y="83"/>
                  </a:cubicBezTo>
                  <a:cubicBezTo>
                    <a:pt x="109" y="92"/>
                    <a:pt x="104" y="103"/>
                    <a:pt x="91" y="103"/>
                  </a:cubicBezTo>
                  <a:cubicBezTo>
                    <a:pt x="71" y="103"/>
                    <a:pt x="69" y="80"/>
                    <a:pt x="69" y="69"/>
                  </a:cubicBezTo>
                  <a:cubicBezTo>
                    <a:pt x="69" y="68"/>
                    <a:pt x="68" y="65"/>
                    <a:pt x="65" y="65"/>
                  </a:cubicBezTo>
                  <a:lnTo>
                    <a:pt x="64" y="65"/>
                  </a:lnTo>
                  <a:cubicBezTo>
                    <a:pt x="16" y="100"/>
                    <a:pt x="56" y="154"/>
                    <a:pt x="59" y="183"/>
                  </a:cubicBezTo>
                  <a:cubicBezTo>
                    <a:pt x="60" y="194"/>
                    <a:pt x="51" y="200"/>
                    <a:pt x="41" y="200"/>
                  </a:cubicBezTo>
                  <a:cubicBezTo>
                    <a:pt x="26" y="200"/>
                    <a:pt x="21" y="189"/>
                    <a:pt x="19" y="181"/>
                  </a:cubicBezTo>
                  <a:cubicBezTo>
                    <a:pt x="19" y="180"/>
                    <a:pt x="17" y="179"/>
                    <a:pt x="15" y="179"/>
                  </a:cubicBezTo>
                  <a:cubicBezTo>
                    <a:pt x="14" y="179"/>
                    <a:pt x="12" y="179"/>
                    <a:pt x="12" y="180"/>
                  </a:cubicBezTo>
                  <a:cubicBezTo>
                    <a:pt x="0" y="204"/>
                    <a:pt x="2" y="244"/>
                    <a:pt x="2" y="244"/>
                  </a:cubicBezTo>
                  <a:cubicBezTo>
                    <a:pt x="2" y="303"/>
                    <a:pt x="45" y="350"/>
                    <a:pt x="99" y="361"/>
                  </a:cubicBezTo>
                  <a:cubicBezTo>
                    <a:pt x="84" y="354"/>
                    <a:pt x="74" y="339"/>
                    <a:pt x="70" y="323"/>
                  </a:cubicBezTo>
                  <a:lnTo>
                    <a:pt x="70" y="323"/>
                  </a:lnTo>
                  <a:cubicBezTo>
                    <a:pt x="69" y="295"/>
                    <a:pt x="79" y="265"/>
                    <a:pt x="94" y="253"/>
                  </a:cubicBezTo>
                  <a:cubicBezTo>
                    <a:pt x="94" y="253"/>
                    <a:pt x="84" y="289"/>
                    <a:pt x="104" y="290"/>
                  </a:cubicBezTo>
                  <a:cubicBezTo>
                    <a:pt x="115" y="291"/>
                    <a:pt x="119" y="280"/>
                    <a:pt x="117" y="269"/>
                  </a:cubicBezTo>
                  <a:cubicBezTo>
                    <a:pt x="110" y="230"/>
                    <a:pt x="140" y="215"/>
                    <a:pt x="139" y="218"/>
                  </a:cubicBezTo>
                  <a:cubicBezTo>
                    <a:pt x="135" y="228"/>
                    <a:pt x="132" y="245"/>
                    <a:pt x="152" y="263"/>
                  </a:cubicBezTo>
                  <a:cubicBezTo>
                    <a:pt x="174" y="281"/>
                    <a:pt x="178" y="310"/>
                    <a:pt x="175" y="323"/>
                  </a:cubicBezTo>
                  <a:cubicBezTo>
                    <a:pt x="173" y="340"/>
                    <a:pt x="161" y="355"/>
                    <a:pt x="145" y="363"/>
                  </a:cubicBezTo>
                  <a:cubicBezTo>
                    <a:pt x="145" y="364"/>
                    <a:pt x="144" y="364"/>
                    <a:pt x="143" y="365"/>
                  </a:cubicBezTo>
                  <a:cubicBezTo>
                    <a:pt x="194" y="356"/>
                    <a:pt x="235" y="313"/>
                    <a:pt x="241" y="260"/>
                  </a:cubicBezTo>
                  <a:lnTo>
                    <a:pt x="241" y="260"/>
                  </a:lnTo>
                  <a:lnTo>
                    <a:pt x="241" y="260"/>
                  </a:lnTo>
                  <a:cubicBezTo>
                    <a:pt x="241" y="257"/>
                    <a:pt x="243" y="252"/>
                    <a:pt x="243" y="247"/>
                  </a:cubicBezTo>
                  <a:cubicBezTo>
                    <a:pt x="243" y="232"/>
                    <a:pt x="240" y="218"/>
                    <a:pt x="235" y="205"/>
                  </a:cubicBezTo>
                  <a:cubicBezTo>
                    <a:pt x="234" y="203"/>
                    <a:pt x="234" y="200"/>
                    <a:pt x="234" y="199"/>
                  </a:cubicBezTo>
                  <a:cubicBezTo>
                    <a:pt x="234" y="197"/>
                    <a:pt x="233" y="195"/>
                    <a:pt x="233" y="193"/>
                  </a:cubicBezTo>
                  <a:lnTo>
                    <a:pt x="233" y="193"/>
                  </a:lnTo>
                  <a:cubicBezTo>
                    <a:pt x="228" y="157"/>
                    <a:pt x="246" y="133"/>
                    <a:pt x="256" y="124"/>
                  </a:cubicBezTo>
                  <a:cubicBezTo>
                    <a:pt x="261" y="124"/>
                    <a:pt x="260" y="120"/>
                    <a:pt x="256"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2" name="POWER_USER_ID_ICONS_Fossil_Fuel"/>
            <p:cNvSpPr>
              <a:spLocks/>
            </p:cNvSpPr>
            <p:nvPr>
              <p:custDataLst>
                <p:tags r:id="rId9"/>
              </p:custDataLst>
            </p:nvPr>
          </p:nvSpPr>
          <p:spPr bwMode="auto">
            <a:xfrm>
              <a:off x="130" y="32"/>
              <a:ext cx="319" cy="137"/>
            </a:xfrm>
            <a:custGeom>
              <a:avLst/>
              <a:gdLst>
                <a:gd name="T0" fmla="*/ 735 w 849"/>
                <a:gd name="T1" fmla="*/ 8 h 366"/>
                <a:gd name="T2" fmla="*/ 679 w 849"/>
                <a:gd name="T3" fmla="*/ 23 h 366"/>
                <a:gd name="T4" fmla="*/ 653 w 849"/>
                <a:gd name="T5" fmla="*/ 23 h 366"/>
                <a:gd name="T6" fmla="*/ 573 w 849"/>
                <a:gd name="T7" fmla="*/ 0 h 366"/>
                <a:gd name="T8" fmla="*/ 485 w 849"/>
                <a:gd name="T9" fmla="*/ 27 h 366"/>
                <a:gd name="T10" fmla="*/ 461 w 849"/>
                <a:gd name="T11" fmla="*/ 30 h 366"/>
                <a:gd name="T12" fmla="*/ 390 w 849"/>
                <a:gd name="T13" fmla="*/ 15 h 366"/>
                <a:gd name="T14" fmla="*/ 267 w 849"/>
                <a:gd name="T15" fmla="*/ 63 h 366"/>
                <a:gd name="T16" fmla="*/ 244 w 849"/>
                <a:gd name="T17" fmla="*/ 68 h 366"/>
                <a:gd name="T18" fmla="*/ 204 w 849"/>
                <a:gd name="T19" fmla="*/ 62 h 366"/>
                <a:gd name="T20" fmla="*/ 74 w 849"/>
                <a:gd name="T21" fmla="*/ 156 h 366"/>
                <a:gd name="T22" fmla="*/ 64 w 849"/>
                <a:gd name="T23" fmla="*/ 165 h 366"/>
                <a:gd name="T24" fmla="*/ 4 w 849"/>
                <a:gd name="T25" fmla="*/ 200 h 366"/>
                <a:gd name="T26" fmla="*/ 5 w 849"/>
                <a:gd name="T27" fmla="*/ 237 h 366"/>
                <a:gd name="T28" fmla="*/ 13 w 849"/>
                <a:gd name="T29" fmla="*/ 282 h 366"/>
                <a:gd name="T30" fmla="*/ 10 w 849"/>
                <a:gd name="T31" fmla="*/ 308 h 366"/>
                <a:gd name="T32" fmla="*/ 75 w 849"/>
                <a:gd name="T33" fmla="*/ 336 h 366"/>
                <a:gd name="T34" fmla="*/ 118 w 849"/>
                <a:gd name="T35" fmla="*/ 323 h 366"/>
                <a:gd name="T36" fmla="*/ 141 w 849"/>
                <a:gd name="T37" fmla="*/ 322 h 366"/>
                <a:gd name="T38" fmla="*/ 205 w 849"/>
                <a:gd name="T39" fmla="*/ 338 h 366"/>
                <a:gd name="T40" fmla="*/ 259 w 849"/>
                <a:gd name="T41" fmla="*/ 327 h 366"/>
                <a:gd name="T42" fmla="*/ 284 w 849"/>
                <a:gd name="T43" fmla="*/ 330 h 366"/>
                <a:gd name="T44" fmla="*/ 390 w 849"/>
                <a:gd name="T45" fmla="*/ 366 h 366"/>
                <a:gd name="T46" fmla="*/ 521 w 849"/>
                <a:gd name="T47" fmla="*/ 307 h 366"/>
                <a:gd name="T48" fmla="*/ 544 w 849"/>
                <a:gd name="T49" fmla="*/ 300 h 366"/>
                <a:gd name="T50" fmla="*/ 572 w 849"/>
                <a:gd name="T51" fmla="*/ 302 h 366"/>
                <a:gd name="T52" fmla="*/ 696 w 849"/>
                <a:gd name="T53" fmla="*/ 238 h 366"/>
                <a:gd name="T54" fmla="*/ 720 w 849"/>
                <a:gd name="T55" fmla="*/ 227 h 366"/>
                <a:gd name="T56" fmla="*/ 735 w 849"/>
                <a:gd name="T57" fmla="*/ 228 h 366"/>
                <a:gd name="T58" fmla="*/ 846 w 849"/>
                <a:gd name="T59" fmla="*/ 113 h 366"/>
                <a:gd name="T60" fmla="*/ 735 w 849"/>
                <a:gd name="T61" fmla="*/ 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9" h="366">
                  <a:moveTo>
                    <a:pt x="735" y="8"/>
                  </a:moveTo>
                  <a:cubicBezTo>
                    <a:pt x="715" y="8"/>
                    <a:pt x="695" y="13"/>
                    <a:pt x="679" y="23"/>
                  </a:cubicBezTo>
                  <a:cubicBezTo>
                    <a:pt x="670" y="28"/>
                    <a:pt x="660" y="28"/>
                    <a:pt x="653" y="23"/>
                  </a:cubicBezTo>
                  <a:cubicBezTo>
                    <a:pt x="630" y="8"/>
                    <a:pt x="603" y="0"/>
                    <a:pt x="573" y="0"/>
                  </a:cubicBezTo>
                  <a:cubicBezTo>
                    <a:pt x="540" y="0"/>
                    <a:pt x="510" y="10"/>
                    <a:pt x="485" y="27"/>
                  </a:cubicBezTo>
                  <a:cubicBezTo>
                    <a:pt x="478" y="32"/>
                    <a:pt x="469" y="33"/>
                    <a:pt x="461" y="30"/>
                  </a:cubicBezTo>
                  <a:cubicBezTo>
                    <a:pt x="440" y="20"/>
                    <a:pt x="415" y="15"/>
                    <a:pt x="390" y="15"/>
                  </a:cubicBezTo>
                  <a:cubicBezTo>
                    <a:pt x="343" y="15"/>
                    <a:pt x="300" y="33"/>
                    <a:pt x="267" y="63"/>
                  </a:cubicBezTo>
                  <a:cubicBezTo>
                    <a:pt x="261" y="70"/>
                    <a:pt x="252" y="72"/>
                    <a:pt x="244" y="68"/>
                  </a:cubicBezTo>
                  <a:cubicBezTo>
                    <a:pt x="231" y="64"/>
                    <a:pt x="217" y="62"/>
                    <a:pt x="204" y="62"/>
                  </a:cubicBezTo>
                  <a:cubicBezTo>
                    <a:pt x="142" y="62"/>
                    <a:pt x="91" y="102"/>
                    <a:pt x="74" y="156"/>
                  </a:cubicBezTo>
                  <a:cubicBezTo>
                    <a:pt x="72" y="161"/>
                    <a:pt x="67" y="163"/>
                    <a:pt x="64" y="165"/>
                  </a:cubicBezTo>
                  <a:cubicBezTo>
                    <a:pt x="39" y="167"/>
                    <a:pt x="17" y="179"/>
                    <a:pt x="4" y="200"/>
                  </a:cubicBezTo>
                  <a:cubicBezTo>
                    <a:pt x="0" y="211"/>
                    <a:pt x="0" y="223"/>
                    <a:pt x="5" y="237"/>
                  </a:cubicBezTo>
                  <a:cubicBezTo>
                    <a:pt x="10" y="250"/>
                    <a:pt x="13" y="266"/>
                    <a:pt x="13" y="282"/>
                  </a:cubicBezTo>
                  <a:cubicBezTo>
                    <a:pt x="13" y="291"/>
                    <a:pt x="11" y="300"/>
                    <a:pt x="10" y="308"/>
                  </a:cubicBezTo>
                  <a:cubicBezTo>
                    <a:pt x="26" y="326"/>
                    <a:pt x="50" y="337"/>
                    <a:pt x="75" y="336"/>
                  </a:cubicBezTo>
                  <a:cubicBezTo>
                    <a:pt x="90" y="336"/>
                    <a:pt x="105" y="331"/>
                    <a:pt x="118" y="323"/>
                  </a:cubicBezTo>
                  <a:cubicBezTo>
                    <a:pt x="125" y="318"/>
                    <a:pt x="134" y="318"/>
                    <a:pt x="141" y="322"/>
                  </a:cubicBezTo>
                  <a:cubicBezTo>
                    <a:pt x="160" y="332"/>
                    <a:pt x="182" y="338"/>
                    <a:pt x="205" y="338"/>
                  </a:cubicBezTo>
                  <a:cubicBezTo>
                    <a:pt x="224" y="338"/>
                    <a:pt x="243" y="335"/>
                    <a:pt x="259" y="327"/>
                  </a:cubicBezTo>
                  <a:cubicBezTo>
                    <a:pt x="268" y="323"/>
                    <a:pt x="276" y="325"/>
                    <a:pt x="284" y="330"/>
                  </a:cubicBezTo>
                  <a:cubicBezTo>
                    <a:pt x="314" y="352"/>
                    <a:pt x="350" y="366"/>
                    <a:pt x="390" y="366"/>
                  </a:cubicBezTo>
                  <a:cubicBezTo>
                    <a:pt x="443" y="366"/>
                    <a:pt x="489" y="343"/>
                    <a:pt x="521" y="307"/>
                  </a:cubicBezTo>
                  <a:cubicBezTo>
                    <a:pt x="527" y="301"/>
                    <a:pt x="536" y="298"/>
                    <a:pt x="544" y="300"/>
                  </a:cubicBezTo>
                  <a:cubicBezTo>
                    <a:pt x="554" y="302"/>
                    <a:pt x="562" y="302"/>
                    <a:pt x="572" y="302"/>
                  </a:cubicBezTo>
                  <a:cubicBezTo>
                    <a:pt x="624" y="302"/>
                    <a:pt x="669" y="277"/>
                    <a:pt x="696" y="238"/>
                  </a:cubicBezTo>
                  <a:cubicBezTo>
                    <a:pt x="701" y="231"/>
                    <a:pt x="710" y="226"/>
                    <a:pt x="720" y="227"/>
                  </a:cubicBezTo>
                  <a:cubicBezTo>
                    <a:pt x="725" y="228"/>
                    <a:pt x="730" y="228"/>
                    <a:pt x="735" y="228"/>
                  </a:cubicBezTo>
                  <a:cubicBezTo>
                    <a:pt x="798" y="228"/>
                    <a:pt x="849" y="177"/>
                    <a:pt x="846" y="113"/>
                  </a:cubicBezTo>
                  <a:cubicBezTo>
                    <a:pt x="845" y="57"/>
                    <a:pt x="795" y="8"/>
                    <a:pt x="735" y="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44" name="Text Box 2"/>
          <p:cNvSpPr txBox="1">
            <a:spLocks noChangeArrowheads="1"/>
          </p:cNvSpPr>
          <p:nvPr/>
        </p:nvSpPr>
        <p:spPr bwMode="auto">
          <a:xfrm>
            <a:off x="72167" y="90020"/>
            <a:ext cx="11279313" cy="443198"/>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270864">
              <a:lnSpc>
                <a:spcPct val="90000"/>
              </a:lnSpc>
              <a:buClr>
                <a:srgbClr val="F9A91C"/>
              </a:buClr>
              <a:buSzPct val="125000"/>
              <a:defRPr/>
            </a:pPr>
            <a:r>
              <a:rPr lang="tr-TR" sz="3200" b="1" dirty="0" smtClean="0">
                <a:solidFill>
                  <a:srgbClr val="00A3CA"/>
                </a:solidFill>
                <a:effectLst>
                  <a:outerShdw blurRad="38100" dist="38100" dir="2700000" algn="tl">
                    <a:srgbClr val="000000">
                      <a:alpha val="43137"/>
                    </a:srgbClr>
                  </a:outerShdw>
                </a:effectLst>
                <a:latin typeface="Calibri" pitchFamily="34" charset="0"/>
                <a:cs typeface="+mn-cs"/>
              </a:rPr>
              <a:t>1. Dönem Stratejik Ürün Destek Programına İlişkin Veriler</a:t>
            </a:r>
            <a:endParaRPr lang="tr-TR" sz="3200" b="1" dirty="0">
              <a:solidFill>
                <a:srgbClr val="00A3CA"/>
              </a:solidFill>
              <a:effectLst>
                <a:outerShdw blurRad="38100" dist="38100" dir="2700000" algn="tl">
                  <a:srgbClr val="000000">
                    <a:alpha val="43137"/>
                  </a:srgbClr>
                </a:outerShdw>
              </a:effectLst>
              <a:latin typeface="Calibri" pitchFamily="34" charset="0"/>
              <a:cs typeface="+mn-cs"/>
            </a:endParaRPr>
          </a:p>
        </p:txBody>
      </p:sp>
      <p:pic>
        <p:nvPicPr>
          <p:cNvPr id="45" name="Picture 3"/>
          <p:cNvPicPr>
            <a:picLocks noChangeAspect="1" noChangeArrowheads="1"/>
          </p:cNvPicPr>
          <p:nvPr/>
        </p:nvPicPr>
        <p:blipFill>
          <a:blip r:embed="rId25" cstate="print"/>
          <a:srcRect/>
          <a:stretch>
            <a:fillRect/>
          </a:stretch>
        </p:blipFill>
        <p:spPr bwMode="auto">
          <a:xfrm>
            <a:off x="11227655" y="141284"/>
            <a:ext cx="722715" cy="509772"/>
          </a:xfrm>
          <a:prstGeom prst="rect">
            <a:avLst/>
          </a:prstGeom>
          <a:noFill/>
          <a:ln w="9525">
            <a:noFill/>
            <a:miter lim="800000"/>
            <a:headEnd/>
            <a:tailEnd/>
          </a:ln>
        </p:spPr>
      </p:pic>
      <p:sp>
        <p:nvSpPr>
          <p:cNvPr id="47" name="Rectangle 63"/>
          <p:cNvSpPr>
            <a:spLocks/>
          </p:cNvSpPr>
          <p:nvPr/>
        </p:nvSpPr>
        <p:spPr bwMode="auto">
          <a:xfrm>
            <a:off x="1728494" y="4737467"/>
            <a:ext cx="9912436" cy="5764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lvl="0" fontAlgn="base">
              <a:lnSpc>
                <a:spcPct val="90000"/>
              </a:lnSpc>
              <a:defRPr/>
            </a:pPr>
            <a:r>
              <a:rPr kumimoji="0" lang="tr-TR" sz="1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Arial" pitchFamily="34" charset="0"/>
              </a:rPr>
              <a:t>İstihdam katkısı</a:t>
            </a:r>
            <a:r>
              <a:rPr lang="tr-TR" sz="1600" kern="0" dirty="0">
                <a:solidFill>
                  <a:srgbClr val="000000"/>
                </a:solidFill>
                <a:latin typeface="Calibri" panose="020F0502020204030204" pitchFamily="34" charset="0"/>
                <a:cs typeface="Arial" pitchFamily="34" charset="0"/>
              </a:rPr>
              <a:t>: Yatırım projeleri kapsamında </a:t>
            </a:r>
            <a:r>
              <a:rPr lang="tr-TR" sz="1600" b="1" kern="0" dirty="0">
                <a:solidFill>
                  <a:srgbClr val="000000"/>
                </a:solidFill>
                <a:latin typeface="Calibri" panose="020F0502020204030204" pitchFamily="34" charset="0"/>
                <a:cs typeface="Arial" pitchFamily="34" charset="0"/>
              </a:rPr>
              <a:t>toplam </a:t>
            </a:r>
            <a:r>
              <a:rPr lang="tr-TR" sz="1600" b="1" kern="0" dirty="0" smtClean="0">
                <a:solidFill>
                  <a:srgbClr val="000000"/>
                </a:solidFill>
                <a:latin typeface="Calibri" panose="020F0502020204030204" pitchFamily="34" charset="0"/>
                <a:cs typeface="Arial" pitchFamily="34" charset="0"/>
              </a:rPr>
              <a:t>454 </a:t>
            </a:r>
            <a:r>
              <a:rPr lang="tr-TR" sz="1600" b="1" kern="0" dirty="0">
                <a:solidFill>
                  <a:srgbClr val="000000"/>
                </a:solidFill>
                <a:latin typeface="Calibri" panose="020F0502020204030204" pitchFamily="34" charset="0"/>
                <a:cs typeface="Arial" pitchFamily="34" charset="0"/>
              </a:rPr>
              <a:t>kişinin </a:t>
            </a:r>
            <a:r>
              <a:rPr lang="tr-TR" sz="1600" kern="0" dirty="0">
                <a:solidFill>
                  <a:srgbClr val="000000"/>
                </a:solidFill>
                <a:latin typeface="Calibri" panose="020F0502020204030204" pitchFamily="34" charset="0"/>
                <a:cs typeface="Arial" pitchFamily="34" charset="0"/>
              </a:rPr>
              <a:t>istihdamına destek verilecektir </a:t>
            </a: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p:txBody>
      </p:sp>
      <p:pic>
        <p:nvPicPr>
          <p:cNvPr id="4" name="Resim 3"/>
          <p:cNvPicPr>
            <a:picLocks noChangeAspect="1"/>
          </p:cNvPicPr>
          <p:nvPr/>
        </p:nvPicPr>
        <p:blipFill>
          <a:blip r:embed="rId26"/>
          <a:stretch>
            <a:fillRect/>
          </a:stretch>
        </p:blipFill>
        <p:spPr>
          <a:xfrm>
            <a:off x="771922" y="1207197"/>
            <a:ext cx="612220" cy="602184"/>
          </a:xfrm>
          <a:prstGeom prst="rect">
            <a:avLst/>
          </a:prstGeom>
        </p:spPr>
      </p:pic>
    </p:spTree>
    <p:custDataLst>
      <p:tags r:id="rId1"/>
    </p:custDataLst>
    <p:extLst>
      <p:ext uri="{BB962C8B-B14F-4D97-AF65-F5344CB8AC3E}">
        <p14:creationId xmlns:p14="http://schemas.microsoft.com/office/powerpoint/2010/main" val="1491288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Metin kutusu 50"/>
          <p:cNvSpPr txBox="1"/>
          <p:nvPr/>
        </p:nvSpPr>
        <p:spPr>
          <a:xfrm>
            <a:off x="3106815" y="936425"/>
            <a:ext cx="5762474" cy="1597563"/>
          </a:xfrm>
          <a:prstGeom prst="rect">
            <a:avLst/>
          </a:prstGeom>
          <a:noFill/>
        </p:spPr>
        <p:txBody>
          <a:bodyPr wrap="square" lIns="89309" tIns="44654" rIns="89309" bIns="44654" rtlCol="0">
            <a:noAutofit/>
          </a:bodyPr>
          <a:lstStyle/>
          <a:p>
            <a:pPr algn="ctr" fontAlgn="base">
              <a:spcBef>
                <a:spcPct val="0"/>
              </a:spcBef>
              <a:spcAft>
                <a:spcPct val="0"/>
              </a:spcAft>
              <a:buClr>
                <a:srgbClr val="52AADF"/>
              </a:buClr>
            </a:pPr>
            <a:r>
              <a:rPr lang="tr-TR" sz="2746" b="1" dirty="0">
                <a:solidFill>
                  <a:schemeClr val="accent1">
                    <a:lumMod val="50000"/>
                  </a:schemeClr>
                </a:solidFill>
              </a:rPr>
              <a:t>Proje Konusu:</a:t>
            </a:r>
          </a:p>
          <a:p>
            <a:pPr algn="ctr" fontAlgn="base">
              <a:spcBef>
                <a:spcPct val="0"/>
              </a:spcBef>
              <a:spcAft>
                <a:spcPct val="0"/>
              </a:spcAft>
              <a:buClr>
                <a:srgbClr val="52AADF"/>
              </a:buClr>
            </a:pPr>
            <a:r>
              <a:rPr lang="tr-TR" sz="2746" b="1" dirty="0">
                <a:solidFill>
                  <a:schemeClr val="accent1">
                    <a:lumMod val="50000"/>
                  </a:schemeClr>
                </a:solidFill>
              </a:rPr>
              <a:t>«</a:t>
            </a:r>
            <a:r>
              <a:rPr lang="tr-TR" sz="2746" b="1" dirty="0">
                <a:solidFill>
                  <a:srgbClr val="FF0000"/>
                </a:solidFill>
              </a:rPr>
              <a:t>HD Kalite LED Ekran ve LED Üretimi</a:t>
            </a:r>
            <a:r>
              <a:rPr lang="tr-TR" sz="2746" b="1" dirty="0">
                <a:solidFill>
                  <a:schemeClr val="accent1">
                    <a:lumMod val="50000"/>
                  </a:schemeClr>
                </a:solidFill>
              </a:rPr>
              <a:t>»</a:t>
            </a:r>
          </a:p>
        </p:txBody>
      </p:sp>
      <p:cxnSp>
        <p:nvCxnSpPr>
          <p:cNvPr id="19" name="Düz Bağlayıcı 18"/>
          <p:cNvCxnSpPr/>
          <p:nvPr/>
        </p:nvCxnSpPr>
        <p:spPr>
          <a:xfrm>
            <a:off x="1710147" y="2499071"/>
            <a:ext cx="877171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8" name="Dikdörtgen 47"/>
          <p:cNvSpPr/>
          <p:nvPr/>
        </p:nvSpPr>
        <p:spPr>
          <a:xfrm>
            <a:off x="1768762" y="2639747"/>
            <a:ext cx="5490918" cy="2765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9309" tIns="44654" rIns="89309" bIns="44654" rtlCol="0" anchor="t"/>
          <a:lstStyle/>
          <a:p>
            <a:pPr algn="just">
              <a:defRPr/>
            </a:pPr>
            <a:endParaRPr lang="tr-TR" sz="100" dirty="0">
              <a:solidFill>
                <a:schemeClr val="accent1">
                  <a:lumMod val="50000"/>
                </a:schemeClr>
              </a:solidFill>
            </a:endParaRPr>
          </a:p>
          <a:p>
            <a:pPr algn="just"/>
            <a:r>
              <a:rPr lang="tr-TR" sz="1595" dirty="0">
                <a:solidFill>
                  <a:schemeClr val="tx1"/>
                </a:solidFill>
              </a:rPr>
              <a:t>İşletme, </a:t>
            </a:r>
            <a:r>
              <a:rPr lang="tr-TR" sz="1595" dirty="0" smtClean="0">
                <a:solidFill>
                  <a:schemeClr val="tx1"/>
                </a:solidFill>
              </a:rPr>
              <a:t>LED </a:t>
            </a:r>
            <a:r>
              <a:rPr lang="tr-TR" sz="1595" dirty="0" err="1">
                <a:solidFill>
                  <a:schemeClr val="tx1"/>
                </a:solidFill>
              </a:rPr>
              <a:t>Chip</a:t>
            </a:r>
            <a:r>
              <a:rPr lang="tr-TR" sz="1595" dirty="0">
                <a:solidFill>
                  <a:schemeClr val="tx1"/>
                </a:solidFill>
              </a:rPr>
              <a:t> </a:t>
            </a:r>
            <a:r>
              <a:rPr lang="tr-TR" sz="1595" dirty="0" err="1">
                <a:solidFill>
                  <a:schemeClr val="tx1"/>
                </a:solidFill>
              </a:rPr>
              <a:t>Kılıflama</a:t>
            </a:r>
            <a:r>
              <a:rPr lang="tr-TR" sz="1595" dirty="0">
                <a:solidFill>
                  <a:schemeClr val="tx1"/>
                </a:solidFill>
              </a:rPr>
              <a:t>, Paketleme (LED üretim) ve HD serisi LED ekranların üretimi projesi ile ülkemizin büyük oranda Uzak Doğu üreticilerine mahkum olduğu HD Kalite </a:t>
            </a:r>
            <a:r>
              <a:rPr lang="tr-TR" sz="1595" dirty="0" err="1">
                <a:solidFill>
                  <a:schemeClr val="tx1"/>
                </a:solidFill>
              </a:rPr>
              <a:t>Led</a:t>
            </a:r>
            <a:r>
              <a:rPr lang="tr-TR" sz="1595" dirty="0">
                <a:solidFill>
                  <a:schemeClr val="tx1"/>
                </a:solidFill>
              </a:rPr>
              <a:t> Ekran ve LED Üretiminde yerli kapasiteyi geliştirmeyi hedeflemektedir. </a:t>
            </a:r>
            <a:endParaRPr lang="tr-TR" sz="1595" dirty="0" smtClean="0">
              <a:solidFill>
                <a:schemeClr val="tx1"/>
              </a:solidFill>
            </a:endParaRPr>
          </a:p>
          <a:p>
            <a:pPr algn="just"/>
            <a:endParaRPr lang="tr-TR" sz="1595" dirty="0">
              <a:solidFill>
                <a:schemeClr val="tx1"/>
              </a:solidFill>
            </a:endParaRPr>
          </a:p>
          <a:p>
            <a:pPr algn="just"/>
            <a:r>
              <a:rPr lang="tr-TR" sz="1595" dirty="0" smtClean="0">
                <a:solidFill>
                  <a:schemeClr val="tx1"/>
                </a:solidFill>
              </a:rPr>
              <a:t>Proje başarıyla tamamlanmış olup işletmenin kapasite kullanım oranları %100 artmıştır. Aylık 1000m2 üretim yapan tesiste üretim 2 katına çıkmıştır. İşletme daha önce satın aldığı 0,2w </a:t>
            </a:r>
            <a:r>
              <a:rPr lang="tr-TR" sz="1595" dirty="0" err="1" smtClean="0">
                <a:solidFill>
                  <a:schemeClr val="tx1"/>
                </a:solidFill>
              </a:rPr>
              <a:t>ledleri</a:t>
            </a:r>
            <a:r>
              <a:rPr lang="tr-TR" sz="1595" dirty="0" smtClean="0">
                <a:solidFill>
                  <a:schemeClr val="tx1"/>
                </a:solidFill>
              </a:rPr>
              <a:t> kendi üreterek yıllık yaklaşık 450.000$ kar sağlamıştır. İşletme ürettiği ürünleri Amsterdam ISE fuarına katılım sağlayarak sergilemiştir.</a:t>
            </a:r>
          </a:p>
          <a:p>
            <a:pPr algn="just"/>
            <a:endParaRPr lang="tr-TR" sz="1595" dirty="0">
              <a:solidFill>
                <a:schemeClr val="tx1"/>
              </a:solidFill>
            </a:endParaRPr>
          </a:p>
          <a:p>
            <a:pPr algn="just"/>
            <a:endParaRPr lang="tr-TR" sz="1595" dirty="0" smtClean="0">
              <a:solidFill>
                <a:schemeClr val="tx1"/>
              </a:solidFill>
            </a:endParaRPr>
          </a:p>
        </p:txBody>
      </p:sp>
      <p:pic>
        <p:nvPicPr>
          <p:cNvPr id="11" name="Picture 3"/>
          <p:cNvPicPr>
            <a:picLocks noChangeAspect="1" noChangeArrowheads="1"/>
          </p:cNvPicPr>
          <p:nvPr/>
        </p:nvPicPr>
        <p:blipFill>
          <a:blip r:embed="rId3" cstate="print"/>
          <a:srcRect/>
          <a:stretch>
            <a:fillRect/>
          </a:stretch>
        </p:blipFill>
        <p:spPr bwMode="auto">
          <a:xfrm>
            <a:off x="9618892" y="105301"/>
            <a:ext cx="685516" cy="504027"/>
          </a:xfrm>
          <a:prstGeom prst="rect">
            <a:avLst/>
          </a:prstGeom>
          <a:noFill/>
          <a:ln w="9525">
            <a:noFill/>
            <a:miter lim="800000"/>
            <a:headEnd/>
            <a:tailEnd/>
          </a:ln>
        </p:spPr>
      </p:pic>
      <p:pic>
        <p:nvPicPr>
          <p:cNvPr id="3" name="Resim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78515" y="2594761"/>
            <a:ext cx="3103343" cy="3467237"/>
          </a:xfrm>
          <a:prstGeom prst="rect">
            <a:avLst/>
          </a:prstGeom>
        </p:spPr>
      </p:pic>
      <p:sp>
        <p:nvSpPr>
          <p:cNvPr id="2" name="Dikdörtgen 1"/>
          <p:cNvSpPr/>
          <p:nvPr/>
        </p:nvSpPr>
        <p:spPr>
          <a:xfrm>
            <a:off x="1940918" y="204039"/>
            <a:ext cx="1020694" cy="9633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807"/>
          </a:p>
        </p:txBody>
      </p:sp>
      <p:graphicFrame>
        <p:nvGraphicFramePr>
          <p:cNvPr id="12" name="Tablo 11"/>
          <p:cNvGraphicFramePr>
            <a:graphicFrameLocks noGrp="1"/>
          </p:cNvGraphicFramePr>
          <p:nvPr>
            <p:extLst>
              <p:ext uri="{D42A27DB-BD31-4B8C-83A1-F6EECF244321}">
                <p14:modId xmlns:p14="http://schemas.microsoft.com/office/powerpoint/2010/main" val="2120781203"/>
              </p:ext>
            </p:extLst>
          </p:nvPr>
        </p:nvGraphicFramePr>
        <p:xfrm>
          <a:off x="1710147" y="1834708"/>
          <a:ext cx="8757306" cy="1148280"/>
        </p:xfrm>
        <a:graphic>
          <a:graphicData uri="http://schemas.openxmlformats.org/drawingml/2006/table">
            <a:tbl>
              <a:tblPr firstRow="1" bandRow="1"/>
              <a:tblGrid>
                <a:gridCol w="368277">
                  <a:extLst>
                    <a:ext uri="{9D8B030D-6E8A-4147-A177-3AD203B41FA5}">
                      <a16:colId xmlns:a16="http://schemas.microsoft.com/office/drawing/2014/main" val="20000"/>
                    </a:ext>
                  </a:extLst>
                </a:gridCol>
                <a:gridCol w="3047790">
                  <a:extLst>
                    <a:ext uri="{9D8B030D-6E8A-4147-A177-3AD203B41FA5}">
                      <a16:colId xmlns:a16="http://schemas.microsoft.com/office/drawing/2014/main" val="20001"/>
                    </a:ext>
                  </a:extLst>
                </a:gridCol>
                <a:gridCol w="554143">
                  <a:extLst>
                    <a:ext uri="{9D8B030D-6E8A-4147-A177-3AD203B41FA5}">
                      <a16:colId xmlns:a16="http://schemas.microsoft.com/office/drawing/2014/main" val="20002"/>
                    </a:ext>
                  </a:extLst>
                </a:gridCol>
                <a:gridCol w="4787096">
                  <a:extLst>
                    <a:ext uri="{9D8B030D-6E8A-4147-A177-3AD203B41FA5}">
                      <a16:colId xmlns:a16="http://schemas.microsoft.com/office/drawing/2014/main" val="20003"/>
                    </a:ext>
                  </a:extLst>
                </a:gridCol>
              </a:tblGrid>
              <a:tr h="502524">
                <a:tc>
                  <a:txBody>
                    <a:bodyPr/>
                    <a:lstStyle/>
                    <a:p>
                      <a:endParaRPr lang="tr-TR" sz="1100" dirty="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800" b="1" dirty="0" smtClean="0">
                          <a:solidFill>
                            <a:srgbClr val="FF0000"/>
                          </a:solidFill>
                        </a:rPr>
                        <a:t>İşletme</a:t>
                      </a:r>
                      <a:r>
                        <a:rPr lang="tr-TR" sz="1800" b="1" baseline="0" dirty="0" smtClean="0">
                          <a:solidFill>
                            <a:srgbClr val="FF0000"/>
                          </a:solidFill>
                        </a:rPr>
                        <a:t> Ölçeği: </a:t>
                      </a:r>
                      <a:r>
                        <a:rPr lang="tr-TR" sz="1600" b="0" baseline="0" dirty="0" smtClean="0">
                          <a:solidFill>
                            <a:schemeClr val="tx1"/>
                          </a:solidFill>
                        </a:rPr>
                        <a:t>Küçük</a:t>
                      </a:r>
                      <a:endParaRPr lang="tr-TR" sz="1600" b="0" dirty="0" smtClean="0">
                        <a:solidFill>
                          <a:schemeClr val="tx1"/>
                        </a:solidFill>
                        <a:latin typeface="Calibri" panose="020F0502020204030204" pitchFamily="34" charset="0"/>
                      </a:endParaRPr>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4A81BD"/>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r-TR" sz="1100" dirty="0" smtClean="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800" b="1" dirty="0" smtClean="0">
                          <a:solidFill>
                            <a:srgbClr val="FF0000"/>
                          </a:solidFill>
                        </a:rPr>
                        <a:t>Teknoloji Düzeyi:</a:t>
                      </a:r>
                      <a:r>
                        <a:rPr lang="tr-TR" sz="1800" b="1" dirty="0" smtClean="0">
                          <a:solidFill>
                            <a:schemeClr val="accent2">
                              <a:lumMod val="75000"/>
                            </a:schemeClr>
                          </a:solidFill>
                        </a:rPr>
                        <a:t> </a:t>
                      </a:r>
                      <a:r>
                        <a:rPr lang="tr-TR" sz="1800" kern="1200" dirty="0" smtClean="0">
                          <a:solidFill>
                            <a:schemeClr val="tx1"/>
                          </a:solidFill>
                          <a:latin typeface="Calibri" panose="020F0502020204030204" pitchFamily="34" charset="0"/>
                          <a:ea typeface="+mn-ea"/>
                          <a:cs typeface="+mn-cs"/>
                        </a:rPr>
                        <a:t>Orta-Yük</a:t>
                      </a:r>
                      <a:r>
                        <a:rPr lang="tr-TR" sz="1800" dirty="0" smtClean="0">
                          <a:latin typeface="Calibri" panose="020F0502020204030204" pitchFamily="34" charset="0"/>
                        </a:rPr>
                        <a:t>sek Teknoloji</a:t>
                      </a:r>
                      <a:endParaRPr lang="tr-TR" sz="1800" dirty="0" smtClean="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4A81BD"/>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45756">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r-TR" sz="1800" dirty="0" smtClean="0">
                        <a:solidFill>
                          <a:schemeClr val="tx1"/>
                        </a:solidFill>
                      </a:endParaRPr>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tr-TR" dirty="0"/>
                    </a:p>
                  </a:txBody>
                  <a:tcPr>
                    <a:lnL w="57150" cap="flat" cmpd="sng" algn="ctr">
                      <a:solidFill>
                        <a:srgbClr val="4A81BD"/>
                      </a:solidFill>
                      <a:prstDash val="solid"/>
                      <a:round/>
                      <a:headEnd type="none" w="med" len="med"/>
                      <a:tailEnd type="none" w="med" len="med"/>
                    </a:lnL>
                    <a:lnR w="57150" cap="flat" cmpd="sng" algn="ctr">
                      <a:solidFill>
                        <a:srgbClr val="4A81BD"/>
                      </a:solidFill>
                      <a:prstDash val="solid"/>
                      <a:round/>
                      <a:headEnd type="none" w="med" len="med"/>
                      <a:tailEnd type="none" w="med" len="med"/>
                    </a:lnR>
                    <a:lnT w="57150" cap="flat" cmpd="sng" algn="ctr">
                      <a:solidFill>
                        <a:srgbClr val="4A81BD"/>
                      </a:solidFill>
                      <a:prstDash val="solid"/>
                      <a:round/>
                      <a:headEnd type="none" w="med" len="med"/>
                      <a:tailEnd type="none" w="med" len="med"/>
                    </a:lnT>
                    <a:lnB w="57150" cap="flat" cmpd="sng" algn="ctr">
                      <a:solidFill>
                        <a:srgbClr val="4A81BD"/>
                      </a:solidFill>
                      <a:prstDash val="solid"/>
                      <a:round/>
                      <a:headEnd type="none" w="med" len="med"/>
                      <a:tailEnd type="none" w="med" len="med"/>
                    </a:lnB>
                  </a:tcPr>
                </a:tc>
                <a:tc hMerge="1">
                  <a:txBody>
                    <a:bodyPr/>
                    <a:lstStyle/>
                    <a:p>
                      <a:endParaRPr lang="tr-TR"/>
                    </a:p>
                  </a:txBody>
                  <a:tcPr/>
                </a:tc>
                <a:tc hMerge="1">
                  <a:txBody>
                    <a:bodyPr/>
                    <a:lstStyle/>
                    <a:p>
                      <a:endParaRPr lang="tr-TR" dirty="0"/>
                    </a:p>
                  </a:txBody>
                  <a:tcPr>
                    <a:lnL w="57150" cap="flat" cmpd="sng" algn="ctr">
                      <a:solidFill>
                        <a:srgbClr val="4A81BD"/>
                      </a:solidFill>
                      <a:prstDash val="solid"/>
                      <a:round/>
                      <a:headEnd type="none" w="med" len="med"/>
                      <a:tailEnd type="none" w="med" len="med"/>
                    </a:lnL>
                    <a:lnR w="57150" cap="flat" cmpd="sng" algn="ctr">
                      <a:solidFill>
                        <a:srgbClr val="4A81BD"/>
                      </a:solidFill>
                      <a:prstDash val="solid"/>
                      <a:round/>
                      <a:headEnd type="none" w="med" len="med"/>
                      <a:tailEnd type="none" w="med" len="med"/>
                    </a:lnR>
                    <a:lnT w="57150" cap="flat" cmpd="sng" algn="ctr">
                      <a:solidFill>
                        <a:srgbClr val="4A81BD"/>
                      </a:solidFill>
                      <a:prstDash val="solid"/>
                      <a:round/>
                      <a:headEnd type="none" w="med" len="med"/>
                      <a:tailEnd type="none" w="med" len="med"/>
                    </a:lnT>
                    <a:lnB w="57150" cap="flat" cmpd="sng" algn="ctr">
                      <a:solidFill>
                        <a:srgbClr val="4A81BD"/>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3" name="Dikdörtgen 12"/>
          <p:cNvSpPr/>
          <p:nvPr/>
        </p:nvSpPr>
        <p:spPr>
          <a:xfrm>
            <a:off x="177097" y="8603"/>
            <a:ext cx="5263906" cy="834038"/>
          </a:xfrm>
          <a:prstGeom prst="rect">
            <a:avLst/>
          </a:prstGeom>
        </p:spPr>
        <p:txBody>
          <a:bodyPr wrap="square">
            <a:spAutoFit/>
          </a:bodyPr>
          <a:lstStyle/>
          <a:p>
            <a:pPr algn="ctr"/>
            <a:r>
              <a:rPr lang="tr-TR" sz="4818" b="1" dirty="0" smtClean="0">
                <a:solidFill>
                  <a:srgbClr val="00A3CA"/>
                </a:solidFill>
                <a:effectLst>
                  <a:outerShdw blurRad="38100" dist="38100" dir="2700000" algn="tl">
                    <a:srgbClr val="000000">
                      <a:alpha val="43137"/>
                    </a:srgbClr>
                  </a:outerShdw>
                </a:effectLst>
              </a:rPr>
              <a:t>Proje Örnekleri</a:t>
            </a:r>
            <a:endParaRPr lang="sv-SE" sz="4818" b="1" dirty="0">
              <a:solidFill>
                <a:srgbClr val="00A3CA"/>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40253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Metin kutusu 50"/>
          <p:cNvSpPr txBox="1"/>
          <p:nvPr/>
        </p:nvSpPr>
        <p:spPr>
          <a:xfrm>
            <a:off x="3027197" y="547737"/>
            <a:ext cx="5762474" cy="1597563"/>
          </a:xfrm>
          <a:prstGeom prst="rect">
            <a:avLst/>
          </a:prstGeom>
          <a:noFill/>
        </p:spPr>
        <p:txBody>
          <a:bodyPr wrap="square" lIns="89309" tIns="44654" rIns="89309" bIns="44654" rtlCol="0">
            <a:noAutofit/>
          </a:bodyPr>
          <a:lstStyle/>
          <a:p>
            <a:pPr algn="ctr" fontAlgn="base">
              <a:spcBef>
                <a:spcPct val="0"/>
              </a:spcBef>
              <a:spcAft>
                <a:spcPct val="0"/>
              </a:spcAft>
              <a:buClr>
                <a:srgbClr val="52AADF"/>
              </a:buClr>
            </a:pPr>
            <a:r>
              <a:rPr lang="tr-TR" sz="2746" b="1" dirty="0">
                <a:solidFill>
                  <a:schemeClr val="accent1">
                    <a:lumMod val="50000"/>
                  </a:schemeClr>
                </a:solidFill>
              </a:rPr>
              <a:t>Proje Konusu:</a:t>
            </a:r>
          </a:p>
          <a:p>
            <a:pPr algn="ctr" fontAlgn="base">
              <a:spcBef>
                <a:spcPct val="0"/>
              </a:spcBef>
              <a:spcAft>
                <a:spcPct val="0"/>
              </a:spcAft>
              <a:buClr>
                <a:srgbClr val="52AADF"/>
              </a:buClr>
            </a:pPr>
            <a:r>
              <a:rPr lang="tr-TR" sz="2746" b="1" dirty="0">
                <a:solidFill>
                  <a:schemeClr val="accent1">
                    <a:lumMod val="50000"/>
                  </a:schemeClr>
                </a:solidFill>
              </a:rPr>
              <a:t>«</a:t>
            </a:r>
            <a:r>
              <a:rPr lang="tr-TR" sz="2746" b="1" dirty="0">
                <a:solidFill>
                  <a:srgbClr val="FF0000"/>
                </a:solidFill>
              </a:rPr>
              <a:t>Özgün Helikoptere Ait Alüminyum Parçalarının Seri İmalatı </a:t>
            </a:r>
            <a:r>
              <a:rPr lang="tr-TR" sz="2746" b="1" dirty="0">
                <a:solidFill>
                  <a:schemeClr val="accent1">
                    <a:lumMod val="50000"/>
                  </a:schemeClr>
                </a:solidFill>
              </a:rPr>
              <a:t>»</a:t>
            </a:r>
          </a:p>
        </p:txBody>
      </p:sp>
      <p:graphicFrame>
        <p:nvGraphicFramePr>
          <p:cNvPr id="8" name="Tablo 7"/>
          <p:cNvGraphicFramePr>
            <a:graphicFrameLocks noGrp="1"/>
          </p:cNvGraphicFramePr>
          <p:nvPr>
            <p:extLst>
              <p:ext uri="{D42A27DB-BD31-4B8C-83A1-F6EECF244321}">
                <p14:modId xmlns:p14="http://schemas.microsoft.com/office/powerpoint/2010/main" val="3705475691"/>
              </p:ext>
            </p:extLst>
          </p:nvPr>
        </p:nvGraphicFramePr>
        <p:xfrm>
          <a:off x="1703406" y="1891296"/>
          <a:ext cx="8757425" cy="1097311"/>
        </p:xfrm>
        <a:graphic>
          <a:graphicData uri="http://schemas.openxmlformats.org/drawingml/2006/table">
            <a:tbl>
              <a:tblPr firstRow="1" bandRow="1"/>
              <a:tblGrid>
                <a:gridCol w="286731">
                  <a:extLst>
                    <a:ext uri="{9D8B030D-6E8A-4147-A177-3AD203B41FA5}">
                      <a16:colId xmlns:a16="http://schemas.microsoft.com/office/drawing/2014/main" val="20000"/>
                    </a:ext>
                  </a:extLst>
                </a:gridCol>
                <a:gridCol w="3133669">
                  <a:extLst>
                    <a:ext uri="{9D8B030D-6E8A-4147-A177-3AD203B41FA5}">
                      <a16:colId xmlns:a16="http://schemas.microsoft.com/office/drawing/2014/main" val="20001"/>
                    </a:ext>
                  </a:extLst>
                </a:gridCol>
                <a:gridCol w="286731">
                  <a:extLst>
                    <a:ext uri="{9D8B030D-6E8A-4147-A177-3AD203B41FA5}">
                      <a16:colId xmlns:a16="http://schemas.microsoft.com/office/drawing/2014/main" val="20002"/>
                    </a:ext>
                  </a:extLst>
                </a:gridCol>
                <a:gridCol w="5050294">
                  <a:extLst>
                    <a:ext uri="{9D8B030D-6E8A-4147-A177-3AD203B41FA5}">
                      <a16:colId xmlns:a16="http://schemas.microsoft.com/office/drawing/2014/main" val="20003"/>
                    </a:ext>
                  </a:extLst>
                </a:gridCol>
              </a:tblGrid>
              <a:tr h="626787">
                <a:tc>
                  <a:txBody>
                    <a:bodyPr/>
                    <a:lstStyle/>
                    <a:p>
                      <a:endParaRPr lang="tr-TR" sz="1100" dirty="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700" b="1" dirty="0" smtClean="0">
                          <a:solidFill>
                            <a:srgbClr val="FF0000"/>
                          </a:solidFill>
                        </a:rPr>
                        <a:t>İşletme</a:t>
                      </a:r>
                      <a:r>
                        <a:rPr lang="tr-TR" sz="1700" b="1" baseline="0" dirty="0" smtClean="0">
                          <a:solidFill>
                            <a:srgbClr val="FF0000"/>
                          </a:solidFill>
                        </a:rPr>
                        <a:t> Ölçeği: </a:t>
                      </a:r>
                      <a:r>
                        <a:rPr lang="tr-TR" sz="1700" b="0" kern="1200" baseline="0" dirty="0" smtClean="0">
                          <a:solidFill>
                            <a:schemeClr val="tx1"/>
                          </a:solidFill>
                          <a:latin typeface="Calibri" panose="020F0502020204030204" pitchFamily="34" charset="0"/>
                          <a:ea typeface="+mn-ea"/>
                          <a:cs typeface="+mn-cs"/>
                        </a:rPr>
                        <a:t>Orta</a:t>
                      </a:r>
                      <a:endParaRPr lang="tr-TR" sz="17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tr-TR" sz="1800" b="0" dirty="0" smtClean="0">
                        <a:solidFill>
                          <a:schemeClr val="tx1"/>
                        </a:solidFill>
                        <a:latin typeface="Calibri" panose="020F0502020204030204" pitchFamily="34" charset="0"/>
                      </a:endParaRPr>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4A81BD"/>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r-TR" sz="1100" dirty="0" smtClean="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800"/>
                        </a:spcAft>
                      </a:pPr>
                      <a:r>
                        <a:rPr lang="tr-TR" sz="1700" b="1" dirty="0" smtClean="0">
                          <a:solidFill>
                            <a:srgbClr val="FF0000"/>
                          </a:solidFill>
                        </a:rPr>
                        <a:t>Teknoloji Düzeyi: </a:t>
                      </a:r>
                      <a:r>
                        <a:rPr lang="tr-TR" sz="1700"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rta-Yüksek </a:t>
                      </a:r>
                      <a:r>
                        <a:rPr lang="tr-TR" sz="1700" dirty="0" smtClean="0">
                          <a:effectLst/>
                          <a:latin typeface="Calibri" panose="020F0502020204030204" pitchFamily="34" charset="0"/>
                          <a:ea typeface="Calibri" panose="020F0502020204030204" pitchFamily="34" charset="0"/>
                          <a:cs typeface="Times New Roman" panose="02020603050405020304" pitchFamily="18" charset="0"/>
                        </a:rPr>
                        <a:t>Teknoloji</a:t>
                      </a:r>
                      <a:endParaRPr lang="tr-TR"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4A81BD"/>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70524">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tr-TR" sz="1800" b="1" dirty="0" smtClean="0">
                        <a:solidFill>
                          <a:schemeClr val="accent1">
                            <a:lumMod val="75000"/>
                          </a:schemeClr>
                        </a:solidFill>
                      </a:endParaRPr>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tr-TR" dirty="0"/>
                    </a:p>
                  </a:txBody>
                  <a:tcPr>
                    <a:lnL w="57150" cap="flat" cmpd="sng" algn="ctr">
                      <a:solidFill>
                        <a:srgbClr val="4A81BD"/>
                      </a:solidFill>
                      <a:prstDash val="solid"/>
                      <a:round/>
                      <a:headEnd type="none" w="med" len="med"/>
                      <a:tailEnd type="none" w="med" len="med"/>
                    </a:lnL>
                    <a:lnR w="57150" cap="flat" cmpd="sng" algn="ctr">
                      <a:solidFill>
                        <a:srgbClr val="4A81BD"/>
                      </a:solidFill>
                      <a:prstDash val="solid"/>
                      <a:round/>
                      <a:headEnd type="none" w="med" len="med"/>
                      <a:tailEnd type="none" w="med" len="med"/>
                    </a:lnR>
                    <a:lnT w="57150" cap="flat" cmpd="sng" algn="ctr">
                      <a:solidFill>
                        <a:srgbClr val="4A81BD"/>
                      </a:solidFill>
                      <a:prstDash val="solid"/>
                      <a:round/>
                      <a:headEnd type="none" w="med" len="med"/>
                      <a:tailEnd type="none" w="med" len="med"/>
                    </a:lnT>
                    <a:lnB w="57150" cap="flat" cmpd="sng" algn="ctr">
                      <a:solidFill>
                        <a:srgbClr val="4A81BD"/>
                      </a:solidFill>
                      <a:prstDash val="solid"/>
                      <a:round/>
                      <a:headEnd type="none" w="med" len="med"/>
                      <a:tailEnd type="none" w="med" len="med"/>
                    </a:lnB>
                  </a:tcPr>
                </a:tc>
                <a:tc hMerge="1">
                  <a:txBody>
                    <a:bodyPr/>
                    <a:lstStyle/>
                    <a:p>
                      <a:endParaRPr lang="tr-TR"/>
                    </a:p>
                  </a:txBody>
                  <a:tcPr/>
                </a:tc>
                <a:tc hMerge="1">
                  <a:txBody>
                    <a:bodyPr/>
                    <a:lstStyle/>
                    <a:p>
                      <a:endParaRPr lang="tr-TR" dirty="0"/>
                    </a:p>
                  </a:txBody>
                  <a:tcPr>
                    <a:lnL w="57150" cap="flat" cmpd="sng" algn="ctr">
                      <a:solidFill>
                        <a:srgbClr val="4A81BD"/>
                      </a:solidFill>
                      <a:prstDash val="solid"/>
                      <a:round/>
                      <a:headEnd type="none" w="med" len="med"/>
                      <a:tailEnd type="none" w="med" len="med"/>
                    </a:lnL>
                    <a:lnR w="57150" cap="flat" cmpd="sng" algn="ctr">
                      <a:solidFill>
                        <a:srgbClr val="4A81BD"/>
                      </a:solidFill>
                      <a:prstDash val="solid"/>
                      <a:round/>
                      <a:headEnd type="none" w="med" len="med"/>
                      <a:tailEnd type="none" w="med" len="med"/>
                    </a:lnR>
                    <a:lnT w="57150" cap="flat" cmpd="sng" algn="ctr">
                      <a:solidFill>
                        <a:srgbClr val="4A81BD"/>
                      </a:solidFill>
                      <a:prstDash val="solid"/>
                      <a:round/>
                      <a:headEnd type="none" w="med" len="med"/>
                      <a:tailEnd type="none" w="med" len="med"/>
                    </a:lnT>
                    <a:lnB w="57150" cap="flat" cmpd="sng" algn="ctr">
                      <a:solidFill>
                        <a:srgbClr val="4A81BD"/>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cxnSp>
        <p:nvCxnSpPr>
          <p:cNvPr id="19" name="Düz Bağlayıcı 18"/>
          <p:cNvCxnSpPr/>
          <p:nvPr/>
        </p:nvCxnSpPr>
        <p:spPr>
          <a:xfrm>
            <a:off x="1710145" y="2727274"/>
            <a:ext cx="8703794" cy="17592"/>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8" name="Dikdörtgen 47"/>
          <p:cNvSpPr/>
          <p:nvPr/>
        </p:nvSpPr>
        <p:spPr>
          <a:xfrm>
            <a:off x="1856333" y="2773292"/>
            <a:ext cx="5130621" cy="321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9309" tIns="44654" rIns="89309" bIns="44654" rtlCol="0" anchor="t"/>
          <a:lstStyle/>
          <a:p>
            <a:pPr algn="just">
              <a:lnSpc>
                <a:spcPct val="107000"/>
              </a:lnSpc>
              <a:spcAft>
                <a:spcPts val="709"/>
              </a:spcAft>
            </a:pPr>
            <a:r>
              <a:rPr lang="tr-TR" sz="1595" dirty="0" smtClean="0">
                <a:solidFill>
                  <a:schemeClr val="dk1"/>
                </a:solidFill>
              </a:rPr>
              <a:t>İşletme</a:t>
            </a:r>
            <a:r>
              <a:rPr lang="tr-TR" sz="1595" dirty="0">
                <a:solidFill>
                  <a:schemeClr val="dk1"/>
                </a:solidFill>
              </a:rPr>
              <a:t>, üreteceği yüksek teknoloji ürünü olan </a:t>
            </a:r>
            <a:r>
              <a:rPr lang="tr-TR" sz="1595" b="1" dirty="0">
                <a:solidFill>
                  <a:schemeClr val="dk1"/>
                </a:solidFill>
              </a:rPr>
              <a:t>helikopterlere ait alüminyum döküm parçaları </a:t>
            </a:r>
            <a:r>
              <a:rPr lang="tr-TR" sz="1595" dirty="0">
                <a:solidFill>
                  <a:schemeClr val="dk1"/>
                </a:solidFill>
              </a:rPr>
              <a:t>için başvuru yapmıştır. Savunma sanayinde hayati önem taşıyan ve TAI tarafından geliştirilecek yerli helikopterlere ait alüminyum parçaları ithal edilmektedir. Geliştirilecek proje ile birlikte alüminyum döküm parça ithalatı azalacak, savunma sanayinde yerlileşmenin hızla büyüdüğü ülkemizde kaliteli, ekonomik ve yüzde yüz yerli sermayeyle üretilmiş ürünlerin üretilmesine ve yerlileştirilmesine katkı sağlanacaktır.</a:t>
            </a:r>
          </a:p>
        </p:txBody>
      </p:sp>
      <p:sp>
        <p:nvSpPr>
          <p:cNvPr id="3" name="AutoShape 2" descr="http://www.organikhabitat.com/images/organik-habitat-logo.png?crc=3891522081"/>
          <p:cNvSpPr>
            <a:spLocks noChangeAspect="1" noChangeArrowheads="1"/>
          </p:cNvSpPr>
          <p:nvPr/>
        </p:nvSpPr>
        <p:spPr bwMode="auto">
          <a:xfrm>
            <a:off x="1847972" y="-127783"/>
            <a:ext cx="270028" cy="27002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1008" tIns="40505" rIns="81008" bIns="40505" numCol="1" anchor="t" anchorCtr="0" compatLnSpc="1">
            <a:prstTxWarp prst="textNoShape">
              <a:avLst/>
            </a:prstTxWarp>
          </a:bodyPr>
          <a:lstStyle/>
          <a:p>
            <a:endParaRPr lang="tr-TR" sz="1807"/>
          </a:p>
        </p:txBody>
      </p:sp>
      <p:sp>
        <p:nvSpPr>
          <p:cNvPr id="5" name="AutoShape 6" descr="http://www.organikhabitat.com/images/granul.png?crc=3939031064"/>
          <p:cNvSpPr>
            <a:spLocks noChangeAspect="1" noChangeArrowheads="1"/>
          </p:cNvSpPr>
          <p:nvPr/>
        </p:nvSpPr>
        <p:spPr bwMode="auto">
          <a:xfrm>
            <a:off x="1982986" y="7232"/>
            <a:ext cx="270028" cy="27002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1008" tIns="40505" rIns="81008" bIns="40505" numCol="1" anchor="t" anchorCtr="0" compatLnSpc="1">
            <a:prstTxWarp prst="textNoShape">
              <a:avLst/>
            </a:prstTxWarp>
          </a:bodyPr>
          <a:lstStyle/>
          <a:p>
            <a:endParaRPr lang="tr-TR" sz="1807"/>
          </a:p>
        </p:txBody>
      </p:sp>
      <p:pic>
        <p:nvPicPr>
          <p:cNvPr id="16" name="Picture 3"/>
          <p:cNvPicPr>
            <a:picLocks noChangeAspect="1" noChangeArrowheads="1"/>
          </p:cNvPicPr>
          <p:nvPr/>
        </p:nvPicPr>
        <p:blipFill>
          <a:blip r:embed="rId2" cstate="print"/>
          <a:srcRect/>
          <a:stretch>
            <a:fillRect/>
          </a:stretch>
        </p:blipFill>
        <p:spPr bwMode="auto">
          <a:xfrm>
            <a:off x="9618892" y="105301"/>
            <a:ext cx="685516" cy="504027"/>
          </a:xfrm>
          <a:prstGeom prst="rect">
            <a:avLst/>
          </a:prstGeom>
          <a:noFill/>
          <a:ln w="9525">
            <a:noFill/>
            <a:miter lim="800000"/>
            <a:headEnd/>
            <a:tailEnd/>
          </a:ln>
        </p:spPr>
      </p:pic>
      <p:pic>
        <p:nvPicPr>
          <p:cNvPr id="7" name="Resim 6"/>
          <p:cNvPicPr>
            <a:picLocks noChangeAspect="1"/>
          </p:cNvPicPr>
          <p:nvPr/>
        </p:nvPicPr>
        <p:blipFill>
          <a:blip r:embed="rId3"/>
          <a:stretch>
            <a:fillRect/>
          </a:stretch>
        </p:blipFill>
        <p:spPr>
          <a:xfrm>
            <a:off x="6986954" y="2918653"/>
            <a:ext cx="3494903" cy="3071324"/>
          </a:xfrm>
          <a:prstGeom prst="rect">
            <a:avLst/>
          </a:prstGeom>
        </p:spPr>
      </p:pic>
    </p:spTree>
    <p:extLst>
      <p:ext uri="{BB962C8B-B14F-4D97-AF65-F5344CB8AC3E}">
        <p14:creationId xmlns:p14="http://schemas.microsoft.com/office/powerpoint/2010/main" val="10243882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3000" r="-13000"/>
          </a:stretch>
        </a:blip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4" cstate="print"/>
          <a:srcRect/>
          <a:stretch>
            <a:fillRect/>
          </a:stretch>
        </p:blipFill>
        <p:spPr bwMode="auto">
          <a:xfrm>
            <a:off x="10319281" y="714188"/>
            <a:ext cx="1571279" cy="1038411"/>
          </a:xfrm>
          <a:prstGeom prst="rect">
            <a:avLst/>
          </a:prstGeom>
          <a:noFill/>
          <a:ln w="9525">
            <a:noFill/>
            <a:miter lim="800000"/>
            <a:headEnd/>
            <a:tailEnd/>
          </a:ln>
        </p:spPr>
      </p:pic>
      <p:sp>
        <p:nvSpPr>
          <p:cNvPr id="4" name="3 Metin kutusu"/>
          <p:cNvSpPr txBox="1"/>
          <p:nvPr/>
        </p:nvSpPr>
        <p:spPr>
          <a:xfrm>
            <a:off x="806609" y="3230595"/>
            <a:ext cx="10795267" cy="1754326"/>
          </a:xfrm>
          <a:prstGeom prst="rect">
            <a:avLst/>
          </a:prstGeom>
          <a:noFill/>
        </p:spPr>
        <p:txBody>
          <a:bodyPr wrap="square" rtlCol="0">
            <a:spAutoFit/>
          </a:bodyPr>
          <a:lstStyle/>
          <a:p>
            <a:pPr algn="ctr" fontAlgn="base">
              <a:spcBef>
                <a:spcPct val="0"/>
              </a:spcBef>
              <a:spcAft>
                <a:spcPct val="0"/>
              </a:spcAft>
            </a:pPr>
            <a:r>
              <a:rPr lang="tr-TR" sz="5400" b="1" dirty="0" smtClean="0">
                <a:solidFill>
                  <a:schemeClr val="bg1"/>
                </a:solidFill>
                <a:ea typeface="ヒラギノ角ゴ Pro W3" pitchFamily="1" charset="-128"/>
              </a:rPr>
              <a:t>KOBİ TEKNOYATIRIM DESTEK PROGRAMI</a:t>
            </a:r>
          </a:p>
        </p:txBody>
      </p:sp>
      <p:pic>
        <p:nvPicPr>
          <p:cNvPr id="5" name="Picture 2" descr="E:\c\sık kullanılanlar\calısma grupları\teknoyatırım\teknoyatırım lansman\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5635" y="892838"/>
            <a:ext cx="1961750" cy="9134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8742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p:cNvSpPr txBox="1">
            <a:spLocks/>
          </p:cNvSpPr>
          <p:nvPr/>
        </p:nvSpPr>
        <p:spPr>
          <a:xfrm>
            <a:off x="239315" y="21269"/>
            <a:ext cx="10514989" cy="1325487"/>
          </a:xfrm>
          <a:prstGeom prst="rect">
            <a:avLst/>
          </a:prstGeom>
        </p:spPr>
        <p:txBody>
          <a:bodyPr vert="horz" lIns="91434" tIns="45718" rIns="91434" bIns="4571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j-cs"/>
              </a:rPr>
              <a:t>PROGRAMIN AMACI</a:t>
            </a:r>
            <a:endParaRPr kumimoji="0" lang="en-US"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j-cs"/>
            </a:endParaRPr>
          </a:p>
        </p:txBody>
      </p:sp>
      <p:grpSp>
        <p:nvGrpSpPr>
          <p:cNvPr id="4" name="Group 19"/>
          <p:cNvGrpSpPr/>
          <p:nvPr/>
        </p:nvGrpSpPr>
        <p:grpSpPr>
          <a:xfrm rot="19081706">
            <a:off x="2928983" y="1749808"/>
            <a:ext cx="4141816" cy="1158654"/>
            <a:chOff x="3533878" y="4093533"/>
            <a:chExt cx="4126716" cy="1154430"/>
          </a:xfrm>
        </p:grpSpPr>
        <p:sp>
          <p:nvSpPr>
            <p:cNvPr id="5" name="Freeform: Shape 20"/>
            <p:cNvSpPr/>
            <p:nvPr/>
          </p:nvSpPr>
          <p:spPr>
            <a:xfrm>
              <a:off x="4332006" y="4237551"/>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gradFill>
              <a:gsLst>
                <a:gs pos="0">
                  <a:sysClr val="window" lastClr="FFFFFF">
                    <a:lumMod val="85000"/>
                    <a:shade val="30000"/>
                    <a:satMod val="115000"/>
                  </a:sysClr>
                </a:gs>
                <a:gs pos="3000">
                  <a:sysClr val="window" lastClr="FFFFFF">
                    <a:lumMod val="85000"/>
                    <a:shade val="67500"/>
                    <a:satMod val="115000"/>
                  </a:sysClr>
                </a:gs>
                <a:gs pos="100000">
                  <a:sysClr val="window" lastClr="FFFFFF">
                    <a:lumMod val="85000"/>
                    <a:shade val="100000"/>
                    <a:satMod val="115000"/>
                  </a:sysClr>
                </a:gs>
                <a:gs pos="24000">
                  <a:sysClr val="window" lastClr="FFFFFF">
                    <a:lumMod val="95000"/>
                  </a:sys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grpSp>
          <p:nvGrpSpPr>
            <p:cNvPr id="6" name="Group 21"/>
            <p:cNvGrpSpPr/>
            <p:nvPr/>
          </p:nvGrpSpPr>
          <p:grpSpPr>
            <a:xfrm>
              <a:off x="6554170" y="4093533"/>
              <a:ext cx="1106424" cy="1106424"/>
              <a:chOff x="1871333" y="2522497"/>
              <a:chExt cx="1106424" cy="1106424"/>
            </a:xfrm>
          </p:grpSpPr>
          <p:sp>
            <p:nvSpPr>
              <p:cNvPr id="10" name="Oval 9"/>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11" name="Oval 10"/>
              <p:cNvSpPr>
                <a:spLocks noChangeAspect="1"/>
              </p:cNvSpPr>
              <p:nvPr/>
            </p:nvSpPr>
            <p:spPr>
              <a:xfrm>
                <a:off x="1967345" y="2618509"/>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grpSp>
        <p:grpSp>
          <p:nvGrpSpPr>
            <p:cNvPr id="7" name="Group 22"/>
            <p:cNvGrpSpPr/>
            <p:nvPr/>
          </p:nvGrpSpPr>
          <p:grpSpPr>
            <a:xfrm>
              <a:off x="3533878" y="4141539"/>
              <a:ext cx="1106424" cy="1106424"/>
              <a:chOff x="1871333" y="2522497"/>
              <a:chExt cx="1106424" cy="1106424"/>
            </a:xfrm>
          </p:grpSpPr>
          <p:sp>
            <p:nvSpPr>
              <p:cNvPr id="8" name="Oval 7"/>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9" name="Oval 8"/>
              <p:cNvSpPr>
                <a:spLocks noChangeAspect="1"/>
              </p:cNvSpPr>
              <p:nvPr/>
            </p:nvSpPr>
            <p:spPr>
              <a:xfrm>
                <a:off x="1967345" y="2618509"/>
                <a:ext cx="914400"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grpSp>
      </p:grpSp>
      <p:grpSp>
        <p:nvGrpSpPr>
          <p:cNvPr id="12" name="Group 27"/>
          <p:cNvGrpSpPr/>
          <p:nvPr/>
        </p:nvGrpSpPr>
        <p:grpSpPr>
          <a:xfrm rot="2506192">
            <a:off x="5146020" y="1701660"/>
            <a:ext cx="4141816" cy="1158654"/>
            <a:chOff x="3533878" y="4093533"/>
            <a:chExt cx="4126716" cy="1154430"/>
          </a:xfrm>
        </p:grpSpPr>
        <p:sp>
          <p:nvSpPr>
            <p:cNvPr id="13" name="Freeform: Shape 28"/>
            <p:cNvSpPr/>
            <p:nvPr/>
          </p:nvSpPr>
          <p:spPr>
            <a:xfrm>
              <a:off x="4332006" y="4237551"/>
              <a:ext cx="2530459" cy="914400"/>
            </a:xfrm>
            <a:custGeom>
              <a:avLst/>
              <a:gdLst>
                <a:gd name="connsiteX0" fmla="*/ 0 w 3061855"/>
                <a:gd name="connsiteY0" fmla="*/ 0 h 914400"/>
                <a:gd name="connsiteX1" fmla="*/ 136915 w 3061855"/>
                <a:gd name="connsiteY1" fmla="*/ 0 h 914400"/>
                <a:gd name="connsiteX2" fmla="*/ 261459 w 3061855"/>
                <a:gd name="connsiteY2" fmla="*/ 35164 h 914400"/>
                <a:gd name="connsiteX3" fmla="*/ 1530928 w 3061855"/>
                <a:gd name="connsiteY3" fmla="*/ 138604 h 914400"/>
                <a:gd name="connsiteX4" fmla="*/ 2800398 w 3061855"/>
                <a:gd name="connsiteY4" fmla="*/ 35164 h 914400"/>
                <a:gd name="connsiteX5" fmla="*/ 2924942 w 3061855"/>
                <a:gd name="connsiteY5" fmla="*/ 0 h 914400"/>
                <a:gd name="connsiteX6" fmla="*/ 3061855 w 3061855"/>
                <a:gd name="connsiteY6" fmla="*/ 0 h 914400"/>
                <a:gd name="connsiteX7" fmla="*/ 3061855 w 3061855"/>
                <a:gd name="connsiteY7" fmla="*/ 914399 h 914400"/>
                <a:gd name="connsiteX8" fmla="*/ 3030753 w 3061855"/>
                <a:gd name="connsiteY8" fmla="*/ 867117 h 914400"/>
                <a:gd name="connsiteX9" fmla="*/ 1530928 w 3061855"/>
                <a:gd name="connsiteY9" fmla="*/ 679784 h 914400"/>
                <a:gd name="connsiteX10" fmla="*/ 0 w 3061855"/>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1855" h="914400">
                  <a:moveTo>
                    <a:pt x="0" y="0"/>
                  </a:moveTo>
                  <a:lnTo>
                    <a:pt x="136915" y="0"/>
                  </a:lnTo>
                  <a:lnTo>
                    <a:pt x="261459" y="35164"/>
                  </a:lnTo>
                  <a:cubicBezTo>
                    <a:pt x="536578" y="97573"/>
                    <a:pt x="1002486" y="138604"/>
                    <a:pt x="1530928" y="138604"/>
                  </a:cubicBezTo>
                  <a:cubicBezTo>
                    <a:pt x="2059371" y="138604"/>
                    <a:pt x="2525279" y="97573"/>
                    <a:pt x="2800398" y="35164"/>
                  </a:cubicBezTo>
                  <a:lnTo>
                    <a:pt x="2924942" y="0"/>
                  </a:lnTo>
                  <a:lnTo>
                    <a:pt x="3061855" y="0"/>
                  </a:lnTo>
                  <a:lnTo>
                    <a:pt x="3061855" y="914399"/>
                  </a:lnTo>
                  <a:lnTo>
                    <a:pt x="3030753" y="867117"/>
                  </a:lnTo>
                  <a:cubicBezTo>
                    <a:pt x="2888000" y="760206"/>
                    <a:pt x="2270748" y="679784"/>
                    <a:pt x="1530928" y="679784"/>
                  </a:cubicBezTo>
                  <a:cubicBezTo>
                    <a:pt x="685420" y="679784"/>
                    <a:pt x="0" y="784825"/>
                    <a:pt x="0" y="914400"/>
                  </a:cubicBezTo>
                  <a:close/>
                </a:path>
              </a:pathLst>
            </a:custGeom>
            <a:gradFill>
              <a:gsLst>
                <a:gs pos="0">
                  <a:sysClr val="window" lastClr="FFFFFF">
                    <a:lumMod val="85000"/>
                    <a:shade val="30000"/>
                    <a:satMod val="115000"/>
                  </a:sysClr>
                </a:gs>
                <a:gs pos="3000">
                  <a:sysClr val="window" lastClr="FFFFFF">
                    <a:lumMod val="85000"/>
                    <a:shade val="67500"/>
                    <a:satMod val="115000"/>
                  </a:sysClr>
                </a:gs>
                <a:gs pos="100000">
                  <a:sysClr val="window" lastClr="FFFFFF">
                    <a:lumMod val="85000"/>
                    <a:shade val="100000"/>
                    <a:satMod val="115000"/>
                  </a:sysClr>
                </a:gs>
                <a:gs pos="24000">
                  <a:sysClr val="window" lastClr="FFFFFF">
                    <a:lumMod val="95000"/>
                  </a:sys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grpSp>
          <p:nvGrpSpPr>
            <p:cNvPr id="14" name="Group 29"/>
            <p:cNvGrpSpPr/>
            <p:nvPr/>
          </p:nvGrpSpPr>
          <p:grpSpPr>
            <a:xfrm>
              <a:off x="6554170" y="4093533"/>
              <a:ext cx="1106424" cy="1106424"/>
              <a:chOff x="1871333" y="2522497"/>
              <a:chExt cx="1106424" cy="1106424"/>
            </a:xfrm>
          </p:grpSpPr>
          <p:sp>
            <p:nvSpPr>
              <p:cNvPr id="18" name="Oval 17"/>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19" name="Oval 18"/>
              <p:cNvSpPr>
                <a:spLocks noChangeAspect="1"/>
              </p:cNvSpPr>
              <p:nvPr/>
            </p:nvSpPr>
            <p:spPr>
              <a:xfrm>
                <a:off x="1967345" y="2618509"/>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grpSp>
        <p:grpSp>
          <p:nvGrpSpPr>
            <p:cNvPr id="15" name="Group 30"/>
            <p:cNvGrpSpPr/>
            <p:nvPr/>
          </p:nvGrpSpPr>
          <p:grpSpPr>
            <a:xfrm>
              <a:off x="3533878" y="4141539"/>
              <a:ext cx="1106424" cy="1106424"/>
              <a:chOff x="1871333" y="2522497"/>
              <a:chExt cx="1106424" cy="1106424"/>
            </a:xfrm>
          </p:grpSpPr>
          <p:sp>
            <p:nvSpPr>
              <p:cNvPr id="16" name="Oval 15"/>
              <p:cNvSpPr>
                <a:spLocks noChangeAspect="1"/>
              </p:cNvSpPr>
              <p:nvPr/>
            </p:nvSpPr>
            <p:spPr>
              <a:xfrm>
                <a:off x="1871333" y="2522497"/>
                <a:ext cx="1106424" cy="1106424"/>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17" name="Oval 16"/>
              <p:cNvSpPr>
                <a:spLocks noChangeAspect="1"/>
              </p:cNvSpPr>
              <p:nvPr/>
            </p:nvSpPr>
            <p:spPr>
              <a:xfrm>
                <a:off x="1967345" y="2618509"/>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grpSp>
      </p:grpSp>
      <p:pic>
        <p:nvPicPr>
          <p:cNvPr id="21" name="Resim 20"/>
          <p:cNvPicPr>
            <a:picLocks noChangeAspect="1"/>
          </p:cNvPicPr>
          <p:nvPr/>
        </p:nvPicPr>
        <p:blipFill>
          <a:blip r:embed="rId2"/>
          <a:stretch>
            <a:fillRect/>
          </a:stretch>
        </p:blipFill>
        <p:spPr>
          <a:xfrm rot="222071">
            <a:off x="7901430" y="2810696"/>
            <a:ext cx="923945" cy="923945"/>
          </a:xfrm>
          <a:prstGeom prst="rect">
            <a:avLst/>
          </a:prstGeom>
        </p:spPr>
      </p:pic>
      <p:pic>
        <p:nvPicPr>
          <p:cNvPr id="23" name="Resim 22"/>
          <p:cNvPicPr>
            <a:picLocks noChangeAspect="1"/>
          </p:cNvPicPr>
          <p:nvPr/>
        </p:nvPicPr>
        <p:blipFill>
          <a:blip r:embed="rId3"/>
          <a:stretch>
            <a:fillRect/>
          </a:stretch>
        </p:blipFill>
        <p:spPr>
          <a:xfrm rot="222071">
            <a:off x="7965679" y="3079926"/>
            <a:ext cx="795449" cy="385486"/>
          </a:xfrm>
          <a:prstGeom prst="rect">
            <a:avLst/>
          </a:prstGeom>
        </p:spPr>
      </p:pic>
      <p:pic>
        <p:nvPicPr>
          <p:cNvPr id="24" name="Resim 23"/>
          <p:cNvPicPr>
            <a:picLocks noChangeAspect="1"/>
          </p:cNvPicPr>
          <p:nvPr/>
        </p:nvPicPr>
        <p:blipFill>
          <a:blip r:embed="rId4"/>
          <a:stretch>
            <a:fillRect/>
          </a:stretch>
        </p:blipFill>
        <p:spPr>
          <a:xfrm rot="222071">
            <a:off x="3528994" y="3120835"/>
            <a:ext cx="722022" cy="452794"/>
          </a:xfrm>
          <a:prstGeom prst="rect">
            <a:avLst/>
          </a:prstGeom>
        </p:spPr>
      </p:pic>
      <p:pic>
        <p:nvPicPr>
          <p:cNvPr id="25" name="Resim 24"/>
          <p:cNvPicPr>
            <a:picLocks noChangeAspect="1"/>
          </p:cNvPicPr>
          <p:nvPr/>
        </p:nvPicPr>
        <p:blipFill>
          <a:blip r:embed="rId5"/>
          <a:stretch>
            <a:fillRect/>
          </a:stretch>
        </p:blipFill>
        <p:spPr>
          <a:xfrm rot="222071">
            <a:off x="5715883" y="929416"/>
            <a:ext cx="709785" cy="709785"/>
          </a:xfrm>
          <a:prstGeom prst="rect">
            <a:avLst/>
          </a:prstGeom>
        </p:spPr>
      </p:pic>
      <p:pic>
        <p:nvPicPr>
          <p:cNvPr id="27" name="Picture 3"/>
          <p:cNvPicPr>
            <a:picLocks noChangeAspect="1" noChangeArrowheads="1"/>
          </p:cNvPicPr>
          <p:nvPr/>
        </p:nvPicPr>
        <p:blipFill>
          <a:blip r:embed="rId6" cstate="print"/>
          <a:srcRect/>
          <a:stretch>
            <a:fillRect/>
          </a:stretch>
        </p:blipFill>
        <p:spPr bwMode="auto">
          <a:xfrm>
            <a:off x="11087804" y="418071"/>
            <a:ext cx="720038" cy="507884"/>
          </a:xfrm>
          <a:prstGeom prst="rect">
            <a:avLst/>
          </a:prstGeom>
          <a:noFill/>
          <a:ln w="9525">
            <a:noFill/>
            <a:miter lim="800000"/>
            <a:headEnd/>
            <a:tailEnd/>
          </a:ln>
        </p:spPr>
      </p:pic>
      <p:sp>
        <p:nvSpPr>
          <p:cNvPr id="28" name="Dikdörtgen 27"/>
          <p:cNvSpPr/>
          <p:nvPr/>
        </p:nvSpPr>
        <p:spPr>
          <a:xfrm>
            <a:off x="5469814" y="3019963"/>
            <a:ext cx="1453396" cy="648696"/>
          </a:xfrm>
          <a:prstGeom prst="rect">
            <a:avLst/>
          </a:prstGeom>
        </p:spPr>
        <p:txBody>
          <a:bodyPr wrap="square">
            <a:spAutoFit/>
          </a:bodyPr>
          <a:lstStyle/>
          <a:p>
            <a:pPr marL="0" marR="0" lvl="0" indent="0" algn="ctr" defTabSz="917783" rtl="0" eaLnBrk="0" fontAlgn="base" latinLnBrk="0" hangingPunct="0">
              <a:lnSpc>
                <a:spcPct val="100000"/>
              </a:lnSpc>
              <a:spcBef>
                <a:spcPct val="0"/>
              </a:spcBef>
              <a:spcAft>
                <a:spcPct val="0"/>
              </a:spcAft>
              <a:buClrTx/>
              <a:buSzTx/>
              <a:buFontTx/>
              <a:buNone/>
              <a:tabLst/>
              <a:defRPr/>
            </a:pP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PROGRAMIN AMACI</a:t>
            </a:r>
          </a:p>
        </p:txBody>
      </p:sp>
      <p:sp>
        <p:nvSpPr>
          <p:cNvPr id="29" name="Dikdörtgen 28"/>
          <p:cNvSpPr/>
          <p:nvPr/>
        </p:nvSpPr>
        <p:spPr>
          <a:xfrm>
            <a:off x="90709" y="4156309"/>
            <a:ext cx="6096000" cy="1015663"/>
          </a:xfrm>
          <a:prstGeom prst="rect">
            <a:avLst/>
          </a:prstGeom>
        </p:spPr>
        <p:txBody>
          <a:bodyPr>
            <a:spAutoFit/>
          </a:bodyPr>
          <a:lstStyle/>
          <a:p>
            <a:pPr marL="0" marR="0" lvl="0" indent="0" algn="ctr" defTabSz="917783" rtl="0" eaLnBrk="0" fontAlgn="base" latinLnBrk="0" hangingPunct="0">
              <a:lnSpc>
                <a:spcPct val="100000"/>
              </a:lnSpc>
              <a:spcBef>
                <a:spcPct val="0"/>
              </a:spcBef>
              <a:spcAft>
                <a:spcPct val="0"/>
              </a:spcAft>
              <a:buClrTx/>
              <a:buSzTx/>
              <a:buFontTx/>
              <a:buNone/>
              <a:tabLst/>
              <a:defRPr/>
            </a:pPr>
            <a:r>
              <a:rPr kumimoji="0" lang="tr-TR" sz="2000"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İşletmelerin Ar-Ge veya yenilik faaliyetleri sonucu ortaya çıkan yeni ürün/ürünlerin üretimini ve ticarileştirilmesini     </a:t>
            </a:r>
          </a:p>
        </p:txBody>
      </p:sp>
      <p:sp>
        <p:nvSpPr>
          <p:cNvPr id="30" name="Dikdörtgen 29"/>
          <p:cNvSpPr/>
          <p:nvPr/>
        </p:nvSpPr>
        <p:spPr>
          <a:xfrm>
            <a:off x="5948111" y="4187862"/>
            <a:ext cx="6096000" cy="926709"/>
          </a:xfrm>
          <a:prstGeom prst="rect">
            <a:avLst/>
          </a:prstGeom>
        </p:spPr>
        <p:txBody>
          <a:bodyPr>
            <a:spAutoFit/>
          </a:bodyPr>
          <a:lstStyle/>
          <a:p>
            <a:pPr marL="0" marR="0" lvl="0" indent="0" algn="ctr"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Orta - yüksek ve yüksek teknoloji alanında yer alan ve cari işlemler hesabına katkı sağlayacak ürünlerin yerli sanayi tarafından üretimi ve ticarileştirilmesini </a:t>
            </a:r>
          </a:p>
        </p:txBody>
      </p:sp>
      <p:sp>
        <p:nvSpPr>
          <p:cNvPr id="31" name="Dikdörtgen 30"/>
          <p:cNvSpPr/>
          <p:nvPr/>
        </p:nvSpPr>
        <p:spPr>
          <a:xfrm>
            <a:off x="1510145" y="5218263"/>
            <a:ext cx="8517461" cy="1200329"/>
          </a:xfrm>
          <a:prstGeom prst="rect">
            <a:avLst/>
          </a:prstGeom>
        </p:spPr>
        <p:txBody>
          <a:bodyPr wrap="square">
            <a:spAutoFit/>
          </a:bodyPr>
          <a:lstStyle/>
          <a:p>
            <a:pPr marL="0" marR="0" lvl="0" indent="0" algn="ctr" defTabSz="917783" rtl="0" eaLnBrk="1" fontAlgn="base" latinLnBrk="0" hangingPunct="1">
              <a:lnSpc>
                <a:spcPct val="100000"/>
              </a:lnSpc>
              <a:spcBef>
                <a:spcPct val="0"/>
              </a:spcBef>
              <a:spcAft>
                <a:spcPct val="0"/>
              </a:spcAft>
              <a:buClrTx/>
              <a:buSzTx/>
              <a:buFontTx/>
              <a:buNone/>
              <a:tabLst/>
              <a:defRPr/>
            </a:pPr>
            <a:r>
              <a:rPr kumimoji="0" lang="tr-TR"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AMAÇLAYAN YATIRIMLARI DESTEKLEMEK SURETİYLE</a:t>
            </a:r>
          </a:p>
          <a:p>
            <a:pPr marL="0" marR="0" lvl="0" indent="0" algn="ctr" defTabSz="917783" rtl="0" eaLnBrk="1" fontAlgn="base" latinLnBrk="0" hangingPunct="1">
              <a:lnSpc>
                <a:spcPct val="100000"/>
              </a:lnSpc>
              <a:spcBef>
                <a:spcPct val="0"/>
              </a:spcBef>
              <a:spcAft>
                <a:spcPct val="0"/>
              </a:spcAft>
              <a:buClrTx/>
              <a:buSzTx/>
              <a:buFontTx/>
              <a:buNone/>
              <a:tabLst/>
              <a:defRPr/>
            </a:pPr>
            <a:r>
              <a:rPr kumimoji="0" lang="tr-TR"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İHRACATI ARTIRMAK </a:t>
            </a:r>
          </a:p>
          <a:p>
            <a:pPr marL="0" marR="0" lvl="0" indent="0" algn="ctr" defTabSz="917783" rtl="0" eaLnBrk="1" fontAlgn="base" latinLnBrk="0" hangingPunct="1">
              <a:lnSpc>
                <a:spcPct val="100000"/>
              </a:lnSpc>
              <a:spcBef>
                <a:spcPct val="0"/>
              </a:spcBef>
              <a:spcAft>
                <a:spcPct val="0"/>
              </a:spcAft>
              <a:buClrTx/>
              <a:buSzTx/>
              <a:buFontTx/>
              <a:buNone/>
              <a:tabLst/>
              <a:defRPr/>
            </a:pPr>
            <a:r>
              <a:rPr kumimoji="0" lang="tr-TR"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 VE </a:t>
            </a:r>
          </a:p>
          <a:p>
            <a:pPr marL="0" marR="0" lvl="0" indent="0" algn="ctr" defTabSz="917783" rtl="0" eaLnBrk="1" fontAlgn="base" latinLnBrk="0" hangingPunct="1">
              <a:lnSpc>
                <a:spcPct val="100000"/>
              </a:lnSpc>
              <a:spcBef>
                <a:spcPct val="0"/>
              </a:spcBef>
              <a:spcAft>
                <a:spcPct val="0"/>
              </a:spcAft>
              <a:buClrTx/>
              <a:buSzTx/>
              <a:buFontTx/>
              <a:buNone/>
              <a:tabLst/>
              <a:defRPr/>
            </a:pPr>
            <a:r>
              <a:rPr kumimoji="0" lang="tr-TR"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ÜLKE EKONOMİSİNE KATMA DEĞER SAĞLAMAKTIR</a:t>
            </a:r>
          </a:p>
        </p:txBody>
      </p:sp>
    </p:spTree>
    <p:extLst>
      <p:ext uri="{BB962C8B-B14F-4D97-AF65-F5344CB8AC3E}">
        <p14:creationId xmlns:p14="http://schemas.microsoft.com/office/powerpoint/2010/main" val="3695442006"/>
      </p:ext>
    </p:extLst>
  </p:cSld>
  <p:clrMapOvr>
    <a:masterClrMapping/>
  </p:clrMapOvr>
  <mc:AlternateContent xmlns:mc="http://schemas.openxmlformats.org/markup-compatibility/2006" xmlns:p14="http://schemas.microsoft.com/office/powerpoint/2010/main">
    <mc:Choice Requires="p14">
      <p:transition spd="slow" p14:dur="2000" advTm="33142"/>
    </mc:Choice>
    <mc:Fallback xmlns="">
      <p:transition spd="slow" advTm="33142"/>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ayt Numarası Yer Tutucusu 5"/>
          <p:cNvSpPr>
            <a:spLocks noGrp="1"/>
          </p:cNvSpPr>
          <p:nvPr>
            <p:ph type="sldNum" sz="quarter" idx="12"/>
          </p:nvPr>
        </p:nvSpPr>
        <p:spPr>
          <a:xfrm>
            <a:off x="2219480" y="7355187"/>
            <a:ext cx="1075483" cy="571466"/>
          </a:xfrm>
          <a:ln>
            <a:miter lim="800000"/>
            <a:headEnd/>
            <a:tailEnd/>
          </a:ln>
        </p:spPr>
        <p:txBody>
          <a:bodyPr/>
          <a:lstStyle/>
          <a:p>
            <a:pPr marL="0" marR="0" lvl="0" indent="0" algn="r" defTabSz="917783" rtl="0" eaLnBrk="1" fontAlgn="base" latinLnBrk="0" hangingPunct="1">
              <a:lnSpc>
                <a:spcPct val="100000"/>
              </a:lnSpc>
              <a:spcBef>
                <a:spcPct val="0"/>
              </a:spcBef>
              <a:spcAft>
                <a:spcPct val="0"/>
              </a:spcAft>
              <a:buClrTx/>
              <a:buSzTx/>
              <a:buFontTx/>
              <a:buNone/>
              <a:tabLst/>
              <a:defRPr/>
            </a:pPr>
            <a:fld id="{7B46C576-5731-4AF6-8075-F5362250E3FD}" type="slidenum">
              <a:rPr kumimoji="0" lang="tr-TR" sz="1204" b="0" i="0" u="none" strike="noStrike" kern="1200" cap="none" spc="0" normalizeH="0" baseline="0" noProof="0">
                <a:ln>
                  <a:noFill/>
                </a:ln>
                <a:solidFill>
                  <a:prstClr val="black">
                    <a:tint val="75000"/>
                  </a:prstClr>
                </a:solidFill>
                <a:effectLst/>
                <a:uLnTx/>
                <a:uFillTx/>
                <a:latin typeface="Calibri" pitchFamily="34" charset="0"/>
                <a:ea typeface="ヒラギノ角ゴ Pro W3" pitchFamily="1" charset="-128"/>
                <a:cs typeface="+mn-cs"/>
              </a:rPr>
              <a:pPr marL="0" marR="0" lvl="0" indent="0" algn="r" defTabSz="917783" rtl="0" eaLnBrk="1" fontAlgn="base" latinLnBrk="0" hangingPunct="1">
                <a:lnSpc>
                  <a:spcPct val="100000"/>
                </a:lnSpc>
                <a:spcBef>
                  <a:spcPct val="0"/>
                </a:spcBef>
                <a:spcAft>
                  <a:spcPct val="0"/>
                </a:spcAft>
                <a:buClrTx/>
                <a:buSzTx/>
                <a:buFontTx/>
                <a:buNone/>
                <a:tabLst/>
                <a:defRPr/>
              </a:pPr>
              <a:t>17</a:t>
            </a:fld>
            <a:endParaRPr kumimoji="0" lang="tr-TR" sz="1204" b="0" i="0" u="none" strike="noStrike" kern="1200" cap="none" spc="0" normalizeH="0" baseline="0" noProof="0" dirty="0">
              <a:ln>
                <a:noFill/>
              </a:ln>
              <a:solidFill>
                <a:prstClr val="black">
                  <a:tint val="75000"/>
                </a:prstClr>
              </a:solidFill>
              <a:effectLst/>
              <a:uLnTx/>
              <a:uFillTx/>
              <a:latin typeface="Calibri" pitchFamily="34" charset="0"/>
              <a:ea typeface="ヒラギノ角ゴ Pro W3" pitchFamily="1" charset="-128"/>
              <a:cs typeface="+mn-cs"/>
            </a:endParaRPr>
          </a:p>
        </p:txBody>
      </p:sp>
      <p:sp>
        <p:nvSpPr>
          <p:cNvPr id="17" name="Slayt Numarası Yer Tutucusu 5"/>
          <p:cNvSpPr txBox="1">
            <a:spLocks/>
          </p:cNvSpPr>
          <p:nvPr/>
        </p:nvSpPr>
        <p:spPr>
          <a:xfrm>
            <a:off x="2219480" y="7355187"/>
            <a:ext cx="1075483" cy="571466"/>
          </a:xfrm>
          <a:prstGeom prst="rect">
            <a:avLst/>
          </a:prstGeom>
          <a:noFill/>
          <a:ln>
            <a:miter lim="800000"/>
            <a:headEnd/>
            <a:tailEnd/>
          </a:ln>
        </p:spPr>
        <p:txBody>
          <a:bodyPr anchor="ctr"/>
          <a:lstStyle/>
          <a:p>
            <a:pPr marL="0" marR="0" lvl="0" indent="0" algn="r" defTabSz="917783" rtl="0" eaLnBrk="1" fontAlgn="auto" latinLnBrk="0" hangingPunct="1">
              <a:lnSpc>
                <a:spcPct val="100000"/>
              </a:lnSpc>
              <a:spcBef>
                <a:spcPts val="0"/>
              </a:spcBef>
              <a:spcAft>
                <a:spcPts val="0"/>
              </a:spcAft>
              <a:buClrTx/>
              <a:buSzTx/>
              <a:buFontTx/>
              <a:buNone/>
              <a:tabLst/>
              <a:defRPr/>
            </a:pPr>
            <a:fld id="{E3B29AA5-3A34-4A67-9DD6-75C837EE9A54}" type="slidenum">
              <a:rPr kumimoji="0" lang="tr-TR" sz="1204" b="0" i="0" u="none" strike="noStrike" kern="1200" cap="none" spc="0" normalizeH="0" baseline="0" noProof="0">
                <a:ln>
                  <a:noFill/>
                </a:ln>
                <a:solidFill>
                  <a:prstClr val="black">
                    <a:tint val="75000"/>
                  </a:prstClr>
                </a:solidFill>
                <a:effectLst/>
                <a:uLnTx/>
                <a:uFillTx/>
                <a:latin typeface="Calibri"/>
                <a:ea typeface="ヒラギノ角ゴ Pro W3" pitchFamily="1" charset="-128"/>
                <a:cs typeface="+mn-cs"/>
              </a:rPr>
              <a:pPr marL="0" marR="0" lvl="0" indent="0" algn="r" defTabSz="917783" rtl="0" eaLnBrk="1" fontAlgn="auto" latinLnBrk="0" hangingPunct="1">
                <a:lnSpc>
                  <a:spcPct val="100000"/>
                </a:lnSpc>
                <a:spcBef>
                  <a:spcPts val="0"/>
                </a:spcBef>
                <a:spcAft>
                  <a:spcPts val="0"/>
                </a:spcAft>
                <a:buClrTx/>
                <a:buSzTx/>
                <a:buFontTx/>
                <a:buNone/>
                <a:tabLst/>
                <a:defRPr/>
              </a:pPr>
              <a:t>17</a:t>
            </a:fld>
            <a:endParaRPr kumimoji="0" lang="tr-TR" sz="1204" b="0" i="0" u="none" strike="noStrike" kern="1200" cap="none" spc="0" normalizeH="0" baseline="0" noProof="0" dirty="0">
              <a:ln>
                <a:noFill/>
              </a:ln>
              <a:solidFill>
                <a:prstClr val="black">
                  <a:tint val="75000"/>
                </a:prstClr>
              </a:solidFill>
              <a:effectLst/>
              <a:uLnTx/>
              <a:uFillTx/>
              <a:latin typeface="Calibri"/>
              <a:ea typeface="ヒラギノ角ゴ Pro W3" pitchFamily="1" charset="-128"/>
              <a:cs typeface="+mn-cs"/>
            </a:endParaRPr>
          </a:p>
        </p:txBody>
      </p:sp>
      <p:pic>
        <p:nvPicPr>
          <p:cNvPr id="8" name="Picture 3"/>
          <p:cNvPicPr>
            <a:picLocks noChangeAspect="1" noChangeArrowheads="1"/>
          </p:cNvPicPr>
          <p:nvPr/>
        </p:nvPicPr>
        <p:blipFill>
          <a:blip r:embed="rId3" cstate="print"/>
          <a:srcRect/>
          <a:stretch>
            <a:fillRect/>
          </a:stretch>
        </p:blipFill>
        <p:spPr bwMode="auto">
          <a:xfrm>
            <a:off x="11299547" y="130154"/>
            <a:ext cx="722715" cy="509772"/>
          </a:xfrm>
          <a:prstGeom prst="rect">
            <a:avLst/>
          </a:prstGeom>
          <a:noFill/>
          <a:ln w="9525">
            <a:noFill/>
            <a:miter lim="800000"/>
            <a:headEnd/>
            <a:tailEnd/>
          </a:ln>
        </p:spPr>
      </p:pic>
      <p:sp>
        <p:nvSpPr>
          <p:cNvPr id="10" name="Metin kutusu 9"/>
          <p:cNvSpPr txBox="1"/>
          <p:nvPr/>
        </p:nvSpPr>
        <p:spPr>
          <a:xfrm>
            <a:off x="233964" y="46833"/>
            <a:ext cx="4480832" cy="593093"/>
          </a:xfrm>
          <a:prstGeom prst="rect">
            <a:avLst/>
          </a:prstGeom>
          <a:solidFill>
            <a:schemeClr val="bg1"/>
          </a:solidFill>
        </p:spPr>
        <p:txBody>
          <a:bodyPr wrap="square" rtlCol="0">
            <a:spAutoFit/>
          </a:body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BAŞVURU KOŞULLARI</a:t>
            </a:r>
          </a:p>
        </p:txBody>
      </p:sp>
      <p:graphicFrame>
        <p:nvGraphicFramePr>
          <p:cNvPr id="3" name="Diyagram 2"/>
          <p:cNvGraphicFramePr/>
          <p:nvPr>
            <p:extLst/>
          </p:nvPr>
        </p:nvGraphicFramePr>
        <p:xfrm>
          <a:off x="2048797" y="1856113"/>
          <a:ext cx="7227149" cy="31799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Metin kutusu 10"/>
          <p:cNvSpPr txBox="1"/>
          <p:nvPr/>
        </p:nvSpPr>
        <p:spPr>
          <a:xfrm>
            <a:off x="5734643" y="5308059"/>
            <a:ext cx="6359891" cy="1235611"/>
          </a:xfrm>
          <a:prstGeom prst="rect">
            <a:avLst/>
          </a:prstGeom>
          <a:solidFill>
            <a:schemeClr val="bg1"/>
          </a:solidFill>
        </p:spPr>
        <p:txBody>
          <a:bodyPr wrap="square" rtlCol="0">
            <a:spAutoFit/>
          </a:bodyPr>
          <a:lstStyle/>
          <a:p>
            <a:pPr marL="0" marR="0" lvl="0" indent="0" algn="l"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prototip çalışması tamamlanmış ürün için yapılması esastır. Ürün sahibi işletmeler veya ürünün fikri sınai mülkiyet ve telif haklarını sözleşme ile hak sahibinden devralmış işletmeler başvurabilir. </a:t>
            </a:r>
          </a:p>
        </p:txBody>
      </p:sp>
      <p:sp>
        <p:nvSpPr>
          <p:cNvPr id="2" name="Dikdörtgen 1"/>
          <p:cNvSpPr/>
          <p:nvPr/>
        </p:nvSpPr>
        <p:spPr>
          <a:xfrm>
            <a:off x="233964" y="750076"/>
            <a:ext cx="5645222" cy="926709"/>
          </a:xfrm>
          <a:prstGeom prst="rect">
            <a:avLst/>
          </a:prstGeom>
        </p:spPr>
        <p:txBody>
          <a:bodyPr wrap="square">
            <a:spAutoFit/>
          </a:bodyPr>
          <a:lstStyle/>
          <a:p>
            <a:pPr marL="0" marR="0" lvl="0" indent="0" algn="l"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smtClean="0">
                <a:ln>
                  <a:noFill/>
                </a:ln>
                <a:solidFill>
                  <a:srgbClr val="002060"/>
                </a:solidFill>
                <a:effectLst/>
                <a:uLnTx/>
                <a:uFillTx/>
                <a:latin typeface="Calibri" pitchFamily="34" charset="0"/>
                <a:ea typeface="ヒラギノ角ゴ Pro W3" pitchFamily="1" charset="-128"/>
                <a:cs typeface="+mn-cs"/>
              </a:rPr>
              <a:t>1-a )</a:t>
            </a:r>
            <a:r>
              <a:rPr kumimoji="0" lang="tr-TR" sz="1807" b="1" i="0" u="none" strike="noStrike" kern="1200" cap="none" spc="0" normalizeH="0" noProof="0" dirty="0" smtClean="0">
                <a:ln>
                  <a:noFill/>
                </a:ln>
                <a:solidFill>
                  <a:srgbClr val="002060"/>
                </a:solidFill>
                <a:effectLst/>
                <a:uLnTx/>
                <a:uFillTx/>
                <a:latin typeface="Calibri" pitchFamily="34" charset="0"/>
                <a:ea typeface="ヒラギノ角ゴ Pro W3" pitchFamily="1" charset="-128"/>
                <a:cs typeface="+mn-cs"/>
              </a:rPr>
              <a:t>  </a:t>
            </a:r>
            <a:r>
              <a:rPr kumimoji="0" lang="tr-TR" sz="1807" b="1" i="0" u="none" strike="noStrike" kern="1200" cap="none" spc="0" normalizeH="0" baseline="0" noProof="0" dirty="0" smtClean="0">
                <a:ln>
                  <a:noFill/>
                </a:ln>
                <a:solidFill>
                  <a:srgbClr val="002060"/>
                </a:solidFill>
                <a:effectLst/>
                <a:uLnTx/>
                <a:uFillTx/>
                <a:latin typeface="Calibri" pitchFamily="34" charset="0"/>
                <a:ea typeface="ヒラギノ角ゴ Pro W3" pitchFamily="1" charset="-128"/>
                <a:cs typeface="+mn-cs"/>
              </a:rPr>
              <a:t>Ar-Ge/yenilik </a:t>
            </a: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faaliyetleri sonucu ortaya çıkan ürünlerin üretimini ve ticarileştirilmesi amacı kapsamında yapılan başvuruların</a:t>
            </a:r>
          </a:p>
        </p:txBody>
      </p:sp>
    </p:spTree>
    <p:extLst>
      <p:ext uri="{BB962C8B-B14F-4D97-AF65-F5344CB8AC3E}">
        <p14:creationId xmlns:p14="http://schemas.microsoft.com/office/powerpoint/2010/main" val="1551700141"/>
      </p:ext>
    </p:extLst>
  </p:cSld>
  <p:clrMapOvr>
    <a:masterClrMapping/>
  </p:clrMapOvr>
  <mc:AlternateContent xmlns:mc="http://schemas.openxmlformats.org/markup-compatibility/2006" xmlns:p14="http://schemas.microsoft.com/office/powerpoint/2010/main">
    <mc:Choice Requires="p14">
      <p:transition spd="slow" p14:dur="2000" advTm="96917"/>
    </mc:Choice>
    <mc:Fallback xmlns="">
      <p:transition spd="slow" advTm="96917"/>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entagon 3"/>
          <p:cNvSpPr/>
          <p:nvPr/>
        </p:nvSpPr>
        <p:spPr>
          <a:xfrm>
            <a:off x="508325" y="3868723"/>
            <a:ext cx="1968385" cy="257497"/>
          </a:xfrm>
          <a:prstGeom prst="homePlate">
            <a:avLst>
              <a:gd name="adj" fmla="val 20000"/>
            </a:avLst>
          </a:prstGeom>
          <a:solidFill>
            <a:schemeClr val="tx2"/>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sp3d/>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glow>
                  <a:scrgbClr r="0" g="0" b="0"/>
                </a:glow>
              </a:effectLst>
              <a:uLnTx/>
              <a:uFillTx/>
              <a:latin typeface="Calibri"/>
              <a:ea typeface="+mn-ea"/>
              <a:cs typeface="+mn-cs"/>
            </a:endParaRPr>
          </a:p>
        </p:txBody>
      </p:sp>
      <p:sp>
        <p:nvSpPr>
          <p:cNvPr id="6" name="Chevron 5"/>
          <p:cNvSpPr/>
          <p:nvPr/>
        </p:nvSpPr>
        <p:spPr>
          <a:xfrm>
            <a:off x="2349718" y="3868723"/>
            <a:ext cx="1968385" cy="257497"/>
          </a:xfrm>
          <a:prstGeom prst="chevron">
            <a:avLst>
              <a:gd name="adj" fmla="val 20000"/>
            </a:avLst>
          </a:prstGeom>
          <a:solidFill>
            <a:schemeClr val="accent1"/>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sp3d/>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glow>
                  <a:scrgbClr r="0" g="0" b="0"/>
                </a:glow>
              </a:effectLst>
              <a:uLnTx/>
              <a:uFillTx/>
              <a:latin typeface="Calibri"/>
              <a:ea typeface="+mn-ea"/>
              <a:cs typeface="+mn-cs"/>
            </a:endParaRPr>
          </a:p>
        </p:txBody>
      </p:sp>
      <p:sp>
        <p:nvSpPr>
          <p:cNvPr id="8" name="Chevron 7"/>
          <p:cNvSpPr/>
          <p:nvPr/>
        </p:nvSpPr>
        <p:spPr>
          <a:xfrm>
            <a:off x="4191112" y="3868723"/>
            <a:ext cx="1968385" cy="257497"/>
          </a:xfrm>
          <a:prstGeom prst="chevron">
            <a:avLst>
              <a:gd name="adj" fmla="val 20000"/>
            </a:avLst>
          </a:prstGeom>
          <a:solidFill>
            <a:schemeClr val="accent2"/>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sp3d/>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glow>
                  <a:scrgbClr r="0" g="0" b="0"/>
                </a:glow>
              </a:effectLst>
              <a:uLnTx/>
              <a:uFillTx/>
              <a:latin typeface="Calibri"/>
              <a:ea typeface="+mn-ea"/>
              <a:cs typeface="+mn-cs"/>
            </a:endParaRPr>
          </a:p>
        </p:txBody>
      </p:sp>
      <p:sp>
        <p:nvSpPr>
          <p:cNvPr id="10" name="Chevron 9"/>
          <p:cNvSpPr/>
          <p:nvPr/>
        </p:nvSpPr>
        <p:spPr>
          <a:xfrm>
            <a:off x="7810399" y="3869283"/>
            <a:ext cx="1968385" cy="257497"/>
          </a:xfrm>
          <a:prstGeom prst="chevron">
            <a:avLst>
              <a:gd name="adj" fmla="val 20000"/>
            </a:avLst>
          </a:prstGeom>
          <a:solidFill>
            <a:schemeClr val="accent3"/>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sp3d/>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glow>
                  <a:scrgbClr r="0" g="0" b="0"/>
                </a:glow>
              </a:effectLst>
              <a:uLnTx/>
              <a:uFillTx/>
              <a:latin typeface="Calibri"/>
              <a:ea typeface="+mn-ea"/>
              <a:cs typeface="+mn-cs"/>
            </a:endParaRPr>
          </a:p>
        </p:txBody>
      </p:sp>
      <p:sp>
        <p:nvSpPr>
          <p:cNvPr id="12" name="Chevron 11"/>
          <p:cNvSpPr/>
          <p:nvPr/>
        </p:nvSpPr>
        <p:spPr>
          <a:xfrm>
            <a:off x="6182838" y="3871687"/>
            <a:ext cx="1968385" cy="257497"/>
          </a:xfrm>
          <a:prstGeom prst="chevron">
            <a:avLst>
              <a:gd name="adj" fmla="val 20000"/>
            </a:avLst>
          </a:prstGeom>
          <a:solidFill>
            <a:schemeClr val="accent4"/>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sp3d/>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glow>
                  <a:scrgbClr r="0" g="0" b="0"/>
                </a:glow>
              </a:effectLst>
              <a:uLnTx/>
              <a:uFillTx/>
              <a:latin typeface="Calibri"/>
              <a:ea typeface="+mn-ea"/>
              <a:cs typeface="+mn-cs"/>
            </a:endParaRPr>
          </a:p>
        </p:txBody>
      </p:sp>
      <p:sp>
        <p:nvSpPr>
          <p:cNvPr id="14" name="Chevron 13"/>
          <p:cNvSpPr/>
          <p:nvPr/>
        </p:nvSpPr>
        <p:spPr>
          <a:xfrm>
            <a:off x="9715291" y="3868723"/>
            <a:ext cx="1968385" cy="257497"/>
          </a:xfrm>
          <a:prstGeom prst="chevron">
            <a:avLst>
              <a:gd name="adj" fmla="val 20000"/>
            </a:avLst>
          </a:prstGeom>
          <a:solidFill>
            <a:schemeClr val="accent5"/>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sp3d/>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glow>
                  <a:scrgbClr r="0" g="0" b="0"/>
                </a:glow>
              </a:effectLst>
              <a:uLnTx/>
              <a:uFillTx/>
              <a:latin typeface="Calibri"/>
              <a:ea typeface="+mn-ea"/>
              <a:cs typeface="+mn-cs"/>
            </a:endParaRPr>
          </a:p>
        </p:txBody>
      </p:sp>
      <p:grpSp>
        <p:nvGrpSpPr>
          <p:cNvPr id="34" name="Group 33"/>
          <p:cNvGrpSpPr/>
          <p:nvPr/>
        </p:nvGrpSpPr>
        <p:grpSpPr>
          <a:xfrm>
            <a:off x="1007636" y="1950002"/>
            <a:ext cx="914347" cy="1831565"/>
            <a:chOff x="1007340" y="1589285"/>
            <a:chExt cx="914400" cy="1831671"/>
          </a:xfrm>
        </p:grpSpPr>
        <p:sp>
          <p:nvSpPr>
            <p:cNvPr id="29" name="Oval 28"/>
            <p:cNvSpPr/>
            <p:nvPr/>
          </p:nvSpPr>
          <p:spPr>
            <a:xfrm>
              <a:off x="1007340" y="1589285"/>
              <a:ext cx="914400" cy="914400"/>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31" name="Straight Connector 30"/>
            <p:cNvCxnSpPr>
              <a:stCxn id="29" idx="4"/>
              <a:endCxn id="4" idx="0"/>
            </p:cNvCxnSpPr>
            <p:nvPr/>
          </p:nvCxnSpPr>
          <p:spPr>
            <a:xfrm>
              <a:off x="1464540" y="2590846"/>
              <a:ext cx="1959" cy="83011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4654634" y="1950002"/>
            <a:ext cx="914347" cy="1831565"/>
            <a:chOff x="1007340" y="1589285"/>
            <a:chExt cx="914400" cy="1831671"/>
          </a:xfrm>
        </p:grpSpPr>
        <p:sp>
          <p:nvSpPr>
            <p:cNvPr id="36" name="Oval 35"/>
            <p:cNvSpPr/>
            <p:nvPr/>
          </p:nvSpPr>
          <p:spPr>
            <a:xfrm>
              <a:off x="1007340" y="1589285"/>
              <a:ext cx="914400" cy="914400"/>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37" name="Straight Connector 36"/>
            <p:cNvCxnSpPr>
              <a:stCxn id="36" idx="4"/>
            </p:cNvCxnSpPr>
            <p:nvPr/>
          </p:nvCxnSpPr>
          <p:spPr>
            <a:xfrm>
              <a:off x="1464540" y="2590846"/>
              <a:ext cx="1959" cy="83011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8337419" y="1950002"/>
            <a:ext cx="914347" cy="1831565"/>
            <a:chOff x="1007340" y="1589285"/>
            <a:chExt cx="914400" cy="1831671"/>
          </a:xfrm>
        </p:grpSpPr>
        <p:sp>
          <p:nvSpPr>
            <p:cNvPr id="39" name="Oval 38"/>
            <p:cNvSpPr/>
            <p:nvPr/>
          </p:nvSpPr>
          <p:spPr>
            <a:xfrm>
              <a:off x="1007340" y="1589285"/>
              <a:ext cx="914400" cy="914400"/>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40" name="Straight Connector 39"/>
            <p:cNvCxnSpPr>
              <a:stCxn id="39" idx="4"/>
            </p:cNvCxnSpPr>
            <p:nvPr/>
          </p:nvCxnSpPr>
          <p:spPr>
            <a:xfrm>
              <a:off x="1464540" y="2590846"/>
              <a:ext cx="1959" cy="83011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57" name="Meeting3"/>
          <p:cNvGrpSpPr>
            <a:grpSpLocks noChangeAspect="1"/>
          </p:cNvGrpSpPr>
          <p:nvPr>
            <p:custDataLst>
              <p:tags r:id="rId1"/>
            </p:custDataLst>
          </p:nvPr>
        </p:nvGrpSpPr>
        <p:grpSpPr bwMode="auto">
          <a:xfrm>
            <a:off x="4791002" y="2182838"/>
            <a:ext cx="682856" cy="448672"/>
            <a:chOff x="86" y="155"/>
            <a:chExt cx="312" cy="205"/>
          </a:xfrm>
          <a:solidFill>
            <a:schemeClr val="accent2"/>
          </a:solidFill>
        </p:grpSpPr>
        <p:sp>
          <p:nvSpPr>
            <p:cNvPr id="58" name="Meeting3"/>
            <p:cNvSpPr>
              <a:spLocks noChangeArrowheads="1"/>
            </p:cNvSpPr>
            <p:nvPr>
              <p:custDataLst>
                <p:tags r:id="rId12"/>
              </p:custDataLst>
            </p:nvPr>
          </p:nvSpPr>
          <p:spPr bwMode="auto">
            <a:xfrm>
              <a:off x="106" y="155"/>
              <a:ext cx="58" cy="59"/>
            </a:xfrm>
            <a:prstGeom prst="ellipse">
              <a:avLst/>
            </a:pr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59" name="Meeting3"/>
            <p:cNvSpPr>
              <a:spLocks noChangeArrowheads="1"/>
            </p:cNvSpPr>
            <p:nvPr>
              <p:custDataLst>
                <p:tags r:id="rId13"/>
              </p:custDataLst>
            </p:nvPr>
          </p:nvSpPr>
          <p:spPr bwMode="auto">
            <a:xfrm>
              <a:off x="320" y="155"/>
              <a:ext cx="59" cy="59"/>
            </a:xfrm>
            <a:prstGeom prst="ellipse">
              <a:avLst/>
            </a:pr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60" name="Meeting3"/>
            <p:cNvSpPr>
              <a:spLocks/>
            </p:cNvSpPr>
            <p:nvPr>
              <p:custDataLst>
                <p:tags r:id="rId14"/>
              </p:custDataLst>
            </p:nvPr>
          </p:nvSpPr>
          <p:spPr bwMode="auto">
            <a:xfrm>
              <a:off x="86" y="233"/>
              <a:ext cx="312" cy="127"/>
            </a:xfrm>
            <a:custGeom>
              <a:avLst/>
              <a:gdLst>
                <a:gd name="T0" fmla="*/ 338 w 400"/>
                <a:gd name="T1" fmla="*/ 0 h 162"/>
                <a:gd name="T2" fmla="*/ 306 w 400"/>
                <a:gd name="T3" fmla="*/ 8 h 162"/>
                <a:gd name="T4" fmla="*/ 306 w 400"/>
                <a:gd name="T5" fmla="*/ 8 h 162"/>
                <a:gd name="T6" fmla="*/ 200 w 400"/>
                <a:gd name="T7" fmla="*/ 71 h 162"/>
                <a:gd name="T8" fmla="*/ 94 w 400"/>
                <a:gd name="T9" fmla="*/ 8 h 162"/>
                <a:gd name="T10" fmla="*/ 94 w 400"/>
                <a:gd name="T11" fmla="*/ 8 h 162"/>
                <a:gd name="T12" fmla="*/ 63 w 400"/>
                <a:gd name="T13" fmla="*/ 0 h 162"/>
                <a:gd name="T14" fmla="*/ 0 w 400"/>
                <a:gd name="T15" fmla="*/ 62 h 162"/>
                <a:gd name="T16" fmla="*/ 0 w 400"/>
                <a:gd name="T17" fmla="*/ 162 h 162"/>
                <a:gd name="T18" fmla="*/ 125 w 400"/>
                <a:gd name="T19" fmla="*/ 162 h 162"/>
                <a:gd name="T20" fmla="*/ 125 w 400"/>
                <a:gd name="T21" fmla="*/ 85 h 162"/>
                <a:gd name="T22" fmla="*/ 188 w 400"/>
                <a:gd name="T23" fmla="*/ 122 h 162"/>
                <a:gd name="T24" fmla="*/ 188 w 400"/>
                <a:gd name="T25" fmla="*/ 122 h 162"/>
                <a:gd name="T26" fmla="*/ 194 w 400"/>
                <a:gd name="T27" fmla="*/ 125 h 162"/>
                <a:gd name="T28" fmla="*/ 200 w 400"/>
                <a:gd name="T29" fmla="*/ 126 h 162"/>
                <a:gd name="T30" fmla="*/ 200 w 400"/>
                <a:gd name="T31" fmla="*/ 126 h 162"/>
                <a:gd name="T32" fmla="*/ 200 w 400"/>
                <a:gd name="T33" fmla="*/ 126 h 162"/>
                <a:gd name="T34" fmla="*/ 206 w 400"/>
                <a:gd name="T35" fmla="*/ 125 h 162"/>
                <a:gd name="T36" fmla="*/ 213 w 400"/>
                <a:gd name="T37" fmla="*/ 122 h 162"/>
                <a:gd name="T38" fmla="*/ 213 w 400"/>
                <a:gd name="T39" fmla="*/ 122 h 162"/>
                <a:gd name="T40" fmla="*/ 275 w 400"/>
                <a:gd name="T41" fmla="*/ 84 h 162"/>
                <a:gd name="T42" fmla="*/ 275 w 400"/>
                <a:gd name="T43" fmla="*/ 162 h 162"/>
                <a:gd name="T44" fmla="*/ 400 w 400"/>
                <a:gd name="T45" fmla="*/ 162 h 162"/>
                <a:gd name="T46" fmla="*/ 400 w 400"/>
                <a:gd name="T47" fmla="*/ 62 h 162"/>
                <a:gd name="T48" fmla="*/ 338 w 400"/>
                <a:gd name="T4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0" h="162">
                  <a:moveTo>
                    <a:pt x="338" y="0"/>
                  </a:moveTo>
                  <a:cubicBezTo>
                    <a:pt x="326" y="0"/>
                    <a:pt x="316" y="3"/>
                    <a:pt x="306" y="8"/>
                  </a:cubicBezTo>
                  <a:lnTo>
                    <a:pt x="306" y="8"/>
                  </a:lnTo>
                  <a:lnTo>
                    <a:pt x="200" y="71"/>
                  </a:lnTo>
                  <a:lnTo>
                    <a:pt x="94" y="8"/>
                  </a:lnTo>
                  <a:lnTo>
                    <a:pt x="94" y="8"/>
                  </a:lnTo>
                  <a:cubicBezTo>
                    <a:pt x="84" y="3"/>
                    <a:pt x="74" y="0"/>
                    <a:pt x="63" y="0"/>
                  </a:cubicBezTo>
                  <a:cubicBezTo>
                    <a:pt x="27" y="0"/>
                    <a:pt x="0" y="27"/>
                    <a:pt x="0" y="62"/>
                  </a:cubicBezTo>
                  <a:lnTo>
                    <a:pt x="0" y="162"/>
                  </a:lnTo>
                  <a:lnTo>
                    <a:pt x="125" y="162"/>
                  </a:lnTo>
                  <a:lnTo>
                    <a:pt x="125" y="85"/>
                  </a:lnTo>
                  <a:lnTo>
                    <a:pt x="188" y="122"/>
                  </a:lnTo>
                  <a:lnTo>
                    <a:pt x="188" y="122"/>
                  </a:lnTo>
                  <a:cubicBezTo>
                    <a:pt x="190" y="123"/>
                    <a:pt x="191" y="125"/>
                    <a:pt x="194" y="125"/>
                  </a:cubicBezTo>
                  <a:cubicBezTo>
                    <a:pt x="196" y="125"/>
                    <a:pt x="198" y="126"/>
                    <a:pt x="200" y="126"/>
                  </a:cubicBezTo>
                  <a:lnTo>
                    <a:pt x="200" y="126"/>
                  </a:lnTo>
                  <a:lnTo>
                    <a:pt x="200" y="126"/>
                  </a:lnTo>
                  <a:cubicBezTo>
                    <a:pt x="203" y="126"/>
                    <a:pt x="204" y="126"/>
                    <a:pt x="206" y="125"/>
                  </a:cubicBezTo>
                  <a:cubicBezTo>
                    <a:pt x="209" y="125"/>
                    <a:pt x="210" y="123"/>
                    <a:pt x="213" y="122"/>
                  </a:cubicBezTo>
                  <a:lnTo>
                    <a:pt x="213" y="122"/>
                  </a:lnTo>
                  <a:lnTo>
                    <a:pt x="275" y="84"/>
                  </a:lnTo>
                  <a:lnTo>
                    <a:pt x="275" y="162"/>
                  </a:lnTo>
                  <a:lnTo>
                    <a:pt x="400" y="162"/>
                  </a:lnTo>
                  <a:lnTo>
                    <a:pt x="400" y="62"/>
                  </a:lnTo>
                  <a:cubicBezTo>
                    <a:pt x="400" y="27"/>
                    <a:pt x="372" y="0"/>
                    <a:pt x="338" y="0"/>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grpSp>
      <p:grpSp>
        <p:nvGrpSpPr>
          <p:cNvPr id="61" name="Megaphone2"/>
          <p:cNvGrpSpPr>
            <a:grpSpLocks noChangeAspect="1"/>
          </p:cNvGrpSpPr>
          <p:nvPr>
            <p:custDataLst>
              <p:tags r:id="rId2"/>
            </p:custDataLst>
          </p:nvPr>
        </p:nvGrpSpPr>
        <p:grpSpPr bwMode="auto">
          <a:xfrm>
            <a:off x="8554560" y="2109794"/>
            <a:ext cx="525529" cy="542893"/>
            <a:chOff x="27" y="8"/>
            <a:chExt cx="454" cy="469"/>
          </a:xfrm>
          <a:solidFill>
            <a:schemeClr val="accent3"/>
          </a:solidFill>
        </p:grpSpPr>
        <p:sp>
          <p:nvSpPr>
            <p:cNvPr id="62" name="Megaphone2"/>
            <p:cNvSpPr>
              <a:spLocks/>
            </p:cNvSpPr>
            <p:nvPr>
              <p:custDataLst>
                <p:tags r:id="rId9"/>
              </p:custDataLst>
            </p:nvPr>
          </p:nvSpPr>
          <p:spPr bwMode="auto">
            <a:xfrm>
              <a:off x="105" y="202"/>
              <a:ext cx="1" cy="0"/>
            </a:xfrm>
            <a:custGeom>
              <a:avLst/>
              <a:gdLst>
                <a:gd name="T0" fmla="*/ 3 w 3"/>
                <a:gd name="T1" fmla="*/ 0 h 1"/>
                <a:gd name="T2" fmla="*/ 1 w 3"/>
                <a:gd name="T3" fmla="*/ 0 h 1"/>
                <a:gd name="T4" fmla="*/ 0 w 3"/>
                <a:gd name="T5" fmla="*/ 1 h 1"/>
                <a:gd name="T6" fmla="*/ 3 w 3"/>
                <a:gd name="T7" fmla="*/ 0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1" y="0"/>
                  </a:lnTo>
                  <a:cubicBezTo>
                    <a:pt x="1" y="0"/>
                    <a:pt x="1" y="0"/>
                    <a:pt x="0" y="1"/>
                  </a:cubicBezTo>
                  <a:cubicBezTo>
                    <a:pt x="1" y="1"/>
                    <a:pt x="2" y="0"/>
                    <a:pt x="3" y="0"/>
                  </a:cubicBezTo>
                  <a:cubicBezTo>
                    <a:pt x="3" y="0"/>
                    <a:pt x="3" y="0"/>
                    <a:pt x="3" y="0"/>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63" name="Megaphone2"/>
            <p:cNvSpPr>
              <a:spLocks noEditPoints="1"/>
            </p:cNvSpPr>
            <p:nvPr>
              <p:custDataLst>
                <p:tags r:id="rId10"/>
              </p:custDataLst>
            </p:nvPr>
          </p:nvSpPr>
          <p:spPr bwMode="auto">
            <a:xfrm>
              <a:off x="34" y="8"/>
              <a:ext cx="447" cy="469"/>
            </a:xfrm>
            <a:custGeom>
              <a:avLst/>
              <a:gdLst>
                <a:gd name="T0" fmla="*/ 1139 w 1192"/>
                <a:gd name="T1" fmla="*/ 461 h 1248"/>
                <a:gd name="T2" fmla="*/ 881 w 1192"/>
                <a:gd name="T3" fmla="*/ 18 h 1248"/>
                <a:gd name="T4" fmla="*/ 801 w 1192"/>
                <a:gd name="T5" fmla="*/ 146 h 1248"/>
                <a:gd name="T6" fmla="*/ 219 w 1192"/>
                <a:gd name="T7" fmla="*/ 507 h 1248"/>
                <a:gd name="T8" fmla="*/ 193 w 1192"/>
                <a:gd name="T9" fmla="*/ 516 h 1248"/>
                <a:gd name="T10" fmla="*/ 203 w 1192"/>
                <a:gd name="T11" fmla="*/ 864 h 1248"/>
                <a:gd name="T12" fmla="*/ 203 w 1192"/>
                <a:gd name="T13" fmla="*/ 864 h 1248"/>
                <a:gd name="T14" fmla="*/ 208 w 1192"/>
                <a:gd name="T15" fmla="*/ 865 h 1248"/>
                <a:gd name="T16" fmla="*/ 305 w 1192"/>
                <a:gd name="T17" fmla="*/ 901 h 1248"/>
                <a:gd name="T18" fmla="*/ 370 w 1192"/>
                <a:gd name="T19" fmla="*/ 1118 h 1248"/>
                <a:gd name="T20" fmla="*/ 559 w 1192"/>
                <a:gd name="T21" fmla="*/ 1225 h 1248"/>
                <a:gd name="T22" fmla="*/ 554 w 1192"/>
                <a:gd name="T23" fmla="*/ 1178 h 1248"/>
                <a:gd name="T24" fmla="*/ 561 w 1192"/>
                <a:gd name="T25" fmla="*/ 1156 h 1248"/>
                <a:gd name="T26" fmla="*/ 533 w 1192"/>
                <a:gd name="T27" fmla="*/ 1089 h 1248"/>
                <a:gd name="T28" fmla="*/ 524 w 1192"/>
                <a:gd name="T29" fmla="*/ 1026 h 1248"/>
                <a:gd name="T30" fmla="*/ 484 w 1192"/>
                <a:gd name="T31" fmla="*/ 973 h 1248"/>
                <a:gd name="T32" fmla="*/ 485 w 1192"/>
                <a:gd name="T33" fmla="*/ 925 h 1248"/>
                <a:gd name="T34" fmla="*/ 480 w 1192"/>
                <a:gd name="T35" fmla="*/ 835 h 1248"/>
                <a:gd name="T36" fmla="*/ 1004 w 1192"/>
                <a:gd name="T37" fmla="*/ 945 h 1248"/>
                <a:gd name="T38" fmla="*/ 1023 w 1192"/>
                <a:gd name="T39" fmla="*/ 958 h 1248"/>
                <a:gd name="T40" fmla="*/ 1024 w 1192"/>
                <a:gd name="T41" fmla="*/ 959 h 1248"/>
                <a:gd name="T42" fmla="*/ 1037 w 1192"/>
                <a:gd name="T43" fmla="*/ 965 h 1248"/>
                <a:gd name="T44" fmla="*/ 1074 w 1192"/>
                <a:gd name="T45" fmla="*/ 969 h 1248"/>
                <a:gd name="T46" fmla="*/ 1139 w 1192"/>
                <a:gd name="T47" fmla="*/ 461 h 1248"/>
                <a:gd name="T48" fmla="*/ 866 w 1192"/>
                <a:gd name="T49" fmla="*/ 856 h 1248"/>
                <a:gd name="T50" fmla="*/ 751 w 1192"/>
                <a:gd name="T51" fmla="*/ 832 h 1248"/>
                <a:gd name="T52" fmla="*/ 512 w 1192"/>
                <a:gd name="T53" fmla="*/ 819 h 1248"/>
                <a:gd name="T54" fmla="*/ 433 w 1192"/>
                <a:gd name="T55" fmla="*/ 783 h 1248"/>
                <a:gd name="T56" fmla="*/ 378 w 1192"/>
                <a:gd name="T57" fmla="*/ 726 h 1248"/>
                <a:gd name="T58" fmla="*/ 370 w 1192"/>
                <a:gd name="T59" fmla="*/ 538 h 1248"/>
                <a:gd name="T60" fmla="*/ 430 w 1192"/>
                <a:gd name="T61" fmla="*/ 457 h 1248"/>
                <a:gd name="T62" fmla="*/ 550 w 1192"/>
                <a:gd name="T63" fmla="*/ 389 h 1248"/>
                <a:gd name="T64" fmla="*/ 737 w 1192"/>
                <a:gd name="T65" fmla="*/ 253 h 1248"/>
                <a:gd name="T66" fmla="*/ 809 w 1192"/>
                <a:gd name="T67" fmla="*/ 160 h 1248"/>
                <a:gd name="T68" fmla="*/ 808 w 1192"/>
                <a:gd name="T69" fmla="*/ 174 h 1248"/>
                <a:gd name="T70" fmla="*/ 808 w 1192"/>
                <a:gd name="T71" fmla="*/ 171 h 1248"/>
                <a:gd name="T72" fmla="*/ 801 w 1192"/>
                <a:gd name="T73" fmla="*/ 231 h 1248"/>
                <a:gd name="T74" fmla="*/ 929 w 1192"/>
                <a:gd name="T75" fmla="*/ 833 h 1248"/>
                <a:gd name="T76" fmla="*/ 956 w 1192"/>
                <a:gd name="T77" fmla="*/ 883 h 1248"/>
                <a:gd name="T78" fmla="*/ 954 w 1192"/>
                <a:gd name="T79" fmla="*/ 880 h 1248"/>
                <a:gd name="T80" fmla="*/ 962 w 1192"/>
                <a:gd name="T81" fmla="*/ 895 h 1248"/>
                <a:gd name="T82" fmla="*/ 866 w 1192"/>
                <a:gd name="T83" fmla="*/ 856 h 1248"/>
                <a:gd name="T84" fmla="*/ 988 w 1192"/>
                <a:gd name="T85" fmla="*/ 800 h 1248"/>
                <a:gd name="T86" fmla="*/ 978 w 1192"/>
                <a:gd name="T87" fmla="*/ 799 h 1248"/>
                <a:gd name="T88" fmla="*/ 978 w 1192"/>
                <a:gd name="T89" fmla="*/ 799 h 1248"/>
                <a:gd name="T90" fmla="*/ 847 w 1192"/>
                <a:gd name="T91" fmla="*/ 542 h 1248"/>
                <a:gd name="T92" fmla="*/ 851 w 1192"/>
                <a:gd name="T93" fmla="*/ 255 h 1248"/>
                <a:gd name="T94" fmla="*/ 861 w 1192"/>
                <a:gd name="T95" fmla="*/ 256 h 1248"/>
                <a:gd name="T96" fmla="*/ 861 w 1192"/>
                <a:gd name="T97" fmla="*/ 256 h 1248"/>
                <a:gd name="T98" fmla="*/ 992 w 1192"/>
                <a:gd name="T99" fmla="*/ 512 h 1248"/>
                <a:gd name="T100" fmla="*/ 988 w 1192"/>
                <a:gd name="T101" fmla="*/ 80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92" h="1248">
                  <a:moveTo>
                    <a:pt x="1139" y="461"/>
                  </a:moveTo>
                  <a:cubicBezTo>
                    <a:pt x="1086" y="198"/>
                    <a:pt x="971" y="0"/>
                    <a:pt x="881" y="18"/>
                  </a:cubicBezTo>
                  <a:cubicBezTo>
                    <a:pt x="843" y="25"/>
                    <a:pt x="815" y="73"/>
                    <a:pt x="801" y="146"/>
                  </a:cubicBezTo>
                  <a:cubicBezTo>
                    <a:pt x="754" y="199"/>
                    <a:pt x="564" y="396"/>
                    <a:pt x="219" y="507"/>
                  </a:cubicBezTo>
                  <a:cubicBezTo>
                    <a:pt x="211" y="510"/>
                    <a:pt x="202" y="513"/>
                    <a:pt x="193" y="516"/>
                  </a:cubicBezTo>
                  <a:cubicBezTo>
                    <a:pt x="0" y="700"/>
                    <a:pt x="203" y="864"/>
                    <a:pt x="203" y="864"/>
                  </a:cubicBezTo>
                  <a:lnTo>
                    <a:pt x="203" y="864"/>
                  </a:lnTo>
                  <a:cubicBezTo>
                    <a:pt x="205" y="864"/>
                    <a:pt x="206" y="864"/>
                    <a:pt x="208" y="865"/>
                  </a:cubicBezTo>
                  <a:cubicBezTo>
                    <a:pt x="236" y="867"/>
                    <a:pt x="291" y="871"/>
                    <a:pt x="305" y="901"/>
                  </a:cubicBezTo>
                  <a:cubicBezTo>
                    <a:pt x="305" y="901"/>
                    <a:pt x="362" y="976"/>
                    <a:pt x="370" y="1118"/>
                  </a:cubicBezTo>
                  <a:cubicBezTo>
                    <a:pt x="370" y="1118"/>
                    <a:pt x="390" y="1248"/>
                    <a:pt x="559" y="1225"/>
                  </a:cubicBezTo>
                  <a:cubicBezTo>
                    <a:pt x="559" y="1225"/>
                    <a:pt x="583" y="1193"/>
                    <a:pt x="554" y="1178"/>
                  </a:cubicBezTo>
                  <a:cubicBezTo>
                    <a:pt x="554" y="1178"/>
                    <a:pt x="545" y="1151"/>
                    <a:pt x="561" y="1156"/>
                  </a:cubicBezTo>
                  <a:cubicBezTo>
                    <a:pt x="561" y="1156"/>
                    <a:pt x="578" y="1103"/>
                    <a:pt x="533" y="1089"/>
                  </a:cubicBezTo>
                  <a:lnTo>
                    <a:pt x="524" y="1026"/>
                  </a:lnTo>
                  <a:cubicBezTo>
                    <a:pt x="524" y="1026"/>
                    <a:pt x="497" y="1004"/>
                    <a:pt x="484" y="973"/>
                  </a:cubicBezTo>
                  <a:lnTo>
                    <a:pt x="485" y="925"/>
                  </a:lnTo>
                  <a:cubicBezTo>
                    <a:pt x="485" y="925"/>
                    <a:pt x="424" y="888"/>
                    <a:pt x="480" y="835"/>
                  </a:cubicBezTo>
                  <a:cubicBezTo>
                    <a:pt x="480" y="835"/>
                    <a:pt x="826" y="828"/>
                    <a:pt x="1004" y="945"/>
                  </a:cubicBezTo>
                  <a:cubicBezTo>
                    <a:pt x="1010" y="950"/>
                    <a:pt x="1016" y="955"/>
                    <a:pt x="1023" y="958"/>
                  </a:cubicBezTo>
                  <a:cubicBezTo>
                    <a:pt x="1023" y="958"/>
                    <a:pt x="1023" y="959"/>
                    <a:pt x="1024" y="959"/>
                  </a:cubicBezTo>
                  <a:cubicBezTo>
                    <a:pt x="1028" y="962"/>
                    <a:pt x="1032" y="964"/>
                    <a:pt x="1037" y="965"/>
                  </a:cubicBezTo>
                  <a:cubicBezTo>
                    <a:pt x="1050" y="970"/>
                    <a:pt x="1062" y="972"/>
                    <a:pt x="1074" y="969"/>
                  </a:cubicBezTo>
                  <a:cubicBezTo>
                    <a:pt x="1163" y="951"/>
                    <a:pt x="1192" y="724"/>
                    <a:pt x="1139" y="461"/>
                  </a:cubicBezTo>
                  <a:close/>
                  <a:moveTo>
                    <a:pt x="866" y="856"/>
                  </a:moveTo>
                  <a:cubicBezTo>
                    <a:pt x="828" y="845"/>
                    <a:pt x="790" y="838"/>
                    <a:pt x="751" y="832"/>
                  </a:cubicBezTo>
                  <a:cubicBezTo>
                    <a:pt x="673" y="821"/>
                    <a:pt x="592" y="817"/>
                    <a:pt x="512" y="819"/>
                  </a:cubicBezTo>
                  <a:cubicBezTo>
                    <a:pt x="490" y="819"/>
                    <a:pt x="452" y="795"/>
                    <a:pt x="433" y="783"/>
                  </a:cubicBezTo>
                  <a:cubicBezTo>
                    <a:pt x="411" y="768"/>
                    <a:pt x="392" y="749"/>
                    <a:pt x="378" y="726"/>
                  </a:cubicBezTo>
                  <a:cubicBezTo>
                    <a:pt x="342" y="668"/>
                    <a:pt x="340" y="599"/>
                    <a:pt x="370" y="538"/>
                  </a:cubicBezTo>
                  <a:cubicBezTo>
                    <a:pt x="385" y="507"/>
                    <a:pt x="402" y="477"/>
                    <a:pt x="430" y="457"/>
                  </a:cubicBezTo>
                  <a:cubicBezTo>
                    <a:pt x="468" y="431"/>
                    <a:pt x="511" y="413"/>
                    <a:pt x="550" y="389"/>
                  </a:cubicBezTo>
                  <a:cubicBezTo>
                    <a:pt x="615" y="347"/>
                    <a:pt x="677" y="302"/>
                    <a:pt x="737" y="253"/>
                  </a:cubicBezTo>
                  <a:cubicBezTo>
                    <a:pt x="749" y="243"/>
                    <a:pt x="807" y="177"/>
                    <a:pt x="809" y="160"/>
                  </a:cubicBezTo>
                  <a:cubicBezTo>
                    <a:pt x="809" y="165"/>
                    <a:pt x="808" y="169"/>
                    <a:pt x="808" y="174"/>
                  </a:cubicBezTo>
                  <a:cubicBezTo>
                    <a:pt x="808" y="173"/>
                    <a:pt x="808" y="172"/>
                    <a:pt x="808" y="171"/>
                  </a:cubicBezTo>
                  <a:cubicBezTo>
                    <a:pt x="805" y="191"/>
                    <a:pt x="803" y="211"/>
                    <a:pt x="801" y="231"/>
                  </a:cubicBezTo>
                  <a:cubicBezTo>
                    <a:pt x="781" y="485"/>
                    <a:pt x="877" y="724"/>
                    <a:pt x="929" y="833"/>
                  </a:cubicBezTo>
                  <a:cubicBezTo>
                    <a:pt x="945" y="865"/>
                    <a:pt x="956" y="883"/>
                    <a:pt x="956" y="883"/>
                  </a:cubicBezTo>
                  <a:cubicBezTo>
                    <a:pt x="955" y="882"/>
                    <a:pt x="954" y="881"/>
                    <a:pt x="954" y="880"/>
                  </a:cubicBezTo>
                  <a:cubicBezTo>
                    <a:pt x="959" y="890"/>
                    <a:pt x="962" y="895"/>
                    <a:pt x="962" y="895"/>
                  </a:cubicBezTo>
                  <a:cubicBezTo>
                    <a:pt x="948" y="874"/>
                    <a:pt x="888" y="862"/>
                    <a:pt x="866" y="856"/>
                  </a:cubicBezTo>
                  <a:close/>
                  <a:moveTo>
                    <a:pt x="988" y="800"/>
                  </a:moveTo>
                  <a:cubicBezTo>
                    <a:pt x="985" y="800"/>
                    <a:pt x="982" y="800"/>
                    <a:pt x="978" y="799"/>
                  </a:cubicBezTo>
                  <a:cubicBezTo>
                    <a:pt x="978" y="799"/>
                    <a:pt x="978" y="799"/>
                    <a:pt x="978" y="799"/>
                  </a:cubicBezTo>
                  <a:cubicBezTo>
                    <a:pt x="941" y="807"/>
                    <a:pt x="883" y="693"/>
                    <a:pt x="847" y="542"/>
                  </a:cubicBezTo>
                  <a:cubicBezTo>
                    <a:pt x="812" y="392"/>
                    <a:pt x="814" y="263"/>
                    <a:pt x="851" y="255"/>
                  </a:cubicBezTo>
                  <a:cubicBezTo>
                    <a:pt x="854" y="254"/>
                    <a:pt x="857" y="255"/>
                    <a:pt x="861" y="256"/>
                  </a:cubicBezTo>
                  <a:cubicBezTo>
                    <a:pt x="861" y="256"/>
                    <a:pt x="861" y="256"/>
                    <a:pt x="861" y="256"/>
                  </a:cubicBezTo>
                  <a:cubicBezTo>
                    <a:pt x="898" y="247"/>
                    <a:pt x="956" y="362"/>
                    <a:pt x="992" y="512"/>
                  </a:cubicBezTo>
                  <a:cubicBezTo>
                    <a:pt x="1027" y="662"/>
                    <a:pt x="1025" y="791"/>
                    <a:pt x="988" y="800"/>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64" name="Megaphone2"/>
            <p:cNvSpPr>
              <a:spLocks/>
            </p:cNvSpPr>
            <p:nvPr>
              <p:custDataLst>
                <p:tags r:id="rId11"/>
              </p:custDataLst>
            </p:nvPr>
          </p:nvSpPr>
          <p:spPr bwMode="auto">
            <a:xfrm>
              <a:off x="27" y="199"/>
              <a:ext cx="84" cy="141"/>
            </a:xfrm>
            <a:custGeom>
              <a:avLst/>
              <a:gdLst>
                <a:gd name="T0" fmla="*/ 210 w 225"/>
                <a:gd name="T1" fmla="*/ 356 h 376"/>
                <a:gd name="T2" fmla="*/ 82 w 225"/>
                <a:gd name="T3" fmla="*/ 182 h 376"/>
                <a:gd name="T4" fmla="*/ 202 w 225"/>
                <a:gd name="T5" fmla="*/ 9 h 376"/>
                <a:gd name="T6" fmla="*/ 154 w 225"/>
                <a:gd name="T7" fmla="*/ 0 h 376"/>
                <a:gd name="T8" fmla="*/ 0 w 225"/>
                <a:gd name="T9" fmla="*/ 188 h 376"/>
                <a:gd name="T10" fmla="*/ 154 w 225"/>
                <a:gd name="T11" fmla="*/ 376 h 376"/>
                <a:gd name="T12" fmla="*/ 225 w 225"/>
                <a:gd name="T13" fmla="*/ 354 h 376"/>
                <a:gd name="T14" fmla="*/ 210 w 225"/>
                <a:gd name="T15" fmla="*/ 356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5" h="376">
                  <a:moveTo>
                    <a:pt x="210" y="356"/>
                  </a:moveTo>
                  <a:cubicBezTo>
                    <a:pt x="139" y="356"/>
                    <a:pt x="82" y="278"/>
                    <a:pt x="82" y="182"/>
                  </a:cubicBezTo>
                  <a:cubicBezTo>
                    <a:pt x="82" y="90"/>
                    <a:pt x="135" y="15"/>
                    <a:pt x="202" y="9"/>
                  </a:cubicBezTo>
                  <a:cubicBezTo>
                    <a:pt x="187" y="3"/>
                    <a:pt x="170" y="0"/>
                    <a:pt x="154" y="0"/>
                  </a:cubicBezTo>
                  <a:cubicBezTo>
                    <a:pt x="69" y="0"/>
                    <a:pt x="0" y="84"/>
                    <a:pt x="0" y="188"/>
                  </a:cubicBezTo>
                  <a:cubicBezTo>
                    <a:pt x="0" y="292"/>
                    <a:pt x="69" y="376"/>
                    <a:pt x="154" y="376"/>
                  </a:cubicBezTo>
                  <a:cubicBezTo>
                    <a:pt x="179" y="376"/>
                    <a:pt x="204" y="368"/>
                    <a:pt x="225" y="354"/>
                  </a:cubicBezTo>
                  <a:cubicBezTo>
                    <a:pt x="220" y="355"/>
                    <a:pt x="215" y="356"/>
                    <a:pt x="210" y="356"/>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grpSp>
      <p:grpSp>
        <p:nvGrpSpPr>
          <p:cNvPr id="70" name="Pac"/>
          <p:cNvGrpSpPr>
            <a:grpSpLocks noChangeAspect="1"/>
          </p:cNvGrpSpPr>
          <p:nvPr>
            <p:custDataLst>
              <p:tags r:id="rId3"/>
            </p:custDataLst>
          </p:nvPr>
        </p:nvGrpSpPr>
        <p:grpSpPr bwMode="auto">
          <a:xfrm>
            <a:off x="1140918" y="2128812"/>
            <a:ext cx="541740" cy="542893"/>
            <a:chOff x="8" y="8"/>
            <a:chExt cx="470" cy="471"/>
          </a:xfrm>
          <a:solidFill>
            <a:schemeClr val="tx2"/>
          </a:solidFill>
        </p:grpSpPr>
        <p:sp>
          <p:nvSpPr>
            <p:cNvPr id="71" name="Pac"/>
            <p:cNvSpPr>
              <a:spLocks/>
            </p:cNvSpPr>
            <p:nvPr>
              <p:custDataLst>
                <p:tags r:id="rId4"/>
              </p:custDataLst>
            </p:nvPr>
          </p:nvSpPr>
          <p:spPr bwMode="auto">
            <a:xfrm>
              <a:off x="152" y="446"/>
              <a:ext cx="326" cy="33"/>
            </a:xfrm>
            <a:custGeom>
              <a:avLst/>
              <a:gdLst>
                <a:gd name="T0" fmla="*/ 434 w 868"/>
                <a:gd name="T1" fmla="*/ 0 h 87"/>
                <a:gd name="T2" fmla="*/ 69 w 868"/>
                <a:gd name="T3" fmla="*/ 0 h 87"/>
                <a:gd name="T4" fmla="*/ 0 w 868"/>
                <a:gd name="T5" fmla="*/ 87 h 87"/>
                <a:gd name="T6" fmla="*/ 434 w 868"/>
                <a:gd name="T7" fmla="*/ 87 h 87"/>
                <a:gd name="T8" fmla="*/ 868 w 868"/>
                <a:gd name="T9" fmla="*/ 87 h 87"/>
                <a:gd name="T10" fmla="*/ 799 w 868"/>
                <a:gd name="T11" fmla="*/ 0 h 87"/>
                <a:gd name="T12" fmla="*/ 434 w 868"/>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868" h="87">
                  <a:moveTo>
                    <a:pt x="434" y="0"/>
                  </a:moveTo>
                  <a:lnTo>
                    <a:pt x="69" y="0"/>
                  </a:lnTo>
                  <a:lnTo>
                    <a:pt x="0" y="87"/>
                  </a:lnTo>
                  <a:lnTo>
                    <a:pt x="434" y="87"/>
                  </a:lnTo>
                  <a:lnTo>
                    <a:pt x="868" y="87"/>
                  </a:lnTo>
                  <a:lnTo>
                    <a:pt x="799" y="0"/>
                  </a:lnTo>
                  <a:lnTo>
                    <a:pt x="434" y="0"/>
                  </a:ln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72" name="Pac"/>
            <p:cNvSpPr>
              <a:spLocks/>
            </p:cNvSpPr>
            <p:nvPr>
              <p:custDataLst>
                <p:tags r:id="rId5"/>
              </p:custDataLst>
            </p:nvPr>
          </p:nvSpPr>
          <p:spPr bwMode="auto">
            <a:xfrm>
              <a:off x="128" y="169"/>
              <a:ext cx="26" cy="27"/>
            </a:xfrm>
            <a:custGeom>
              <a:avLst/>
              <a:gdLst>
                <a:gd name="T0" fmla="*/ 13 w 69"/>
                <a:gd name="T1" fmla="*/ 20 h 71"/>
                <a:gd name="T2" fmla="*/ 11 w 69"/>
                <a:gd name="T3" fmla="*/ 71 h 71"/>
                <a:gd name="T4" fmla="*/ 69 w 69"/>
                <a:gd name="T5" fmla="*/ 13 h 71"/>
                <a:gd name="T6" fmla="*/ 13 w 69"/>
                <a:gd name="T7" fmla="*/ 20 h 71"/>
              </a:gdLst>
              <a:ahLst/>
              <a:cxnLst>
                <a:cxn ang="0">
                  <a:pos x="T0" y="T1"/>
                </a:cxn>
                <a:cxn ang="0">
                  <a:pos x="T2" y="T3"/>
                </a:cxn>
                <a:cxn ang="0">
                  <a:pos x="T4" y="T5"/>
                </a:cxn>
                <a:cxn ang="0">
                  <a:pos x="T6" y="T7"/>
                </a:cxn>
              </a:cxnLst>
              <a:rect l="0" t="0" r="r" b="b"/>
              <a:pathLst>
                <a:path w="69" h="71">
                  <a:moveTo>
                    <a:pt x="13" y="20"/>
                  </a:moveTo>
                  <a:cubicBezTo>
                    <a:pt x="0" y="34"/>
                    <a:pt x="4" y="55"/>
                    <a:pt x="11" y="71"/>
                  </a:cubicBezTo>
                  <a:lnTo>
                    <a:pt x="69" y="13"/>
                  </a:lnTo>
                  <a:cubicBezTo>
                    <a:pt x="51" y="0"/>
                    <a:pt x="31" y="2"/>
                    <a:pt x="13" y="20"/>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73" name="Pac"/>
            <p:cNvSpPr>
              <a:spLocks noEditPoints="1"/>
            </p:cNvSpPr>
            <p:nvPr>
              <p:custDataLst>
                <p:tags r:id="rId6"/>
              </p:custDataLst>
            </p:nvPr>
          </p:nvSpPr>
          <p:spPr bwMode="auto">
            <a:xfrm>
              <a:off x="8" y="86"/>
              <a:ext cx="244" cy="245"/>
            </a:xfrm>
            <a:custGeom>
              <a:avLst/>
              <a:gdLst>
                <a:gd name="T0" fmla="*/ 649 w 649"/>
                <a:gd name="T1" fmla="*/ 127 h 649"/>
                <a:gd name="T2" fmla="*/ 614 w 649"/>
                <a:gd name="T3" fmla="*/ 92 h 649"/>
                <a:gd name="T4" fmla="*/ 564 w 649"/>
                <a:gd name="T5" fmla="*/ 131 h 649"/>
                <a:gd name="T6" fmla="*/ 512 w 649"/>
                <a:gd name="T7" fmla="*/ 78 h 649"/>
                <a:gd name="T8" fmla="*/ 551 w 649"/>
                <a:gd name="T9" fmla="*/ 28 h 649"/>
                <a:gd name="T10" fmla="*/ 523 w 649"/>
                <a:gd name="T11" fmla="*/ 0 h 649"/>
                <a:gd name="T12" fmla="*/ 361 w 649"/>
                <a:gd name="T13" fmla="*/ 18 h 649"/>
                <a:gd name="T14" fmla="*/ 0 w 649"/>
                <a:gd name="T15" fmla="*/ 379 h 649"/>
                <a:gd name="T16" fmla="*/ 270 w 649"/>
                <a:gd name="T17" fmla="*/ 649 h 649"/>
                <a:gd name="T18" fmla="*/ 631 w 649"/>
                <a:gd name="T19" fmla="*/ 289 h 649"/>
                <a:gd name="T20" fmla="*/ 649 w 649"/>
                <a:gd name="T21" fmla="*/ 127 h 649"/>
                <a:gd name="T22" fmla="*/ 452 w 649"/>
                <a:gd name="T23" fmla="*/ 359 h 649"/>
                <a:gd name="T24" fmla="*/ 409 w 649"/>
                <a:gd name="T25" fmla="*/ 316 h 649"/>
                <a:gd name="T26" fmla="*/ 415 w 649"/>
                <a:gd name="T27" fmla="*/ 261 h 649"/>
                <a:gd name="T28" fmla="*/ 350 w 649"/>
                <a:gd name="T29" fmla="*/ 326 h 649"/>
                <a:gd name="T30" fmla="*/ 344 w 649"/>
                <a:gd name="T31" fmla="*/ 467 h 649"/>
                <a:gd name="T32" fmla="*/ 201 w 649"/>
                <a:gd name="T33" fmla="*/ 475 h 649"/>
                <a:gd name="T34" fmla="*/ 179 w 649"/>
                <a:gd name="T35" fmla="*/ 497 h 649"/>
                <a:gd name="T36" fmla="*/ 152 w 649"/>
                <a:gd name="T37" fmla="*/ 470 h 649"/>
                <a:gd name="T38" fmla="*/ 175 w 649"/>
                <a:gd name="T39" fmla="*/ 447 h 649"/>
                <a:gd name="T40" fmla="*/ 182 w 649"/>
                <a:gd name="T41" fmla="*/ 305 h 649"/>
                <a:gd name="T42" fmla="*/ 225 w 649"/>
                <a:gd name="T43" fmla="*/ 348 h 649"/>
                <a:gd name="T44" fmla="*/ 219 w 649"/>
                <a:gd name="T45" fmla="*/ 403 h 649"/>
                <a:gd name="T46" fmla="*/ 284 w 649"/>
                <a:gd name="T47" fmla="*/ 338 h 649"/>
                <a:gd name="T48" fmla="*/ 290 w 649"/>
                <a:gd name="T49" fmla="*/ 197 h 649"/>
                <a:gd name="T50" fmla="*/ 433 w 649"/>
                <a:gd name="T51" fmla="*/ 189 h 649"/>
                <a:gd name="T52" fmla="*/ 455 w 649"/>
                <a:gd name="T53" fmla="*/ 167 h 649"/>
                <a:gd name="T54" fmla="*/ 482 w 649"/>
                <a:gd name="T55" fmla="*/ 194 h 649"/>
                <a:gd name="T56" fmla="*/ 459 w 649"/>
                <a:gd name="T57" fmla="*/ 217 h 649"/>
                <a:gd name="T58" fmla="*/ 452 w 649"/>
                <a:gd name="T59" fmla="*/ 359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9" h="649">
                  <a:moveTo>
                    <a:pt x="649" y="127"/>
                  </a:moveTo>
                  <a:lnTo>
                    <a:pt x="614" y="92"/>
                  </a:lnTo>
                  <a:cubicBezTo>
                    <a:pt x="608" y="114"/>
                    <a:pt x="588" y="131"/>
                    <a:pt x="564" y="131"/>
                  </a:cubicBezTo>
                  <a:cubicBezTo>
                    <a:pt x="535" y="131"/>
                    <a:pt x="512" y="107"/>
                    <a:pt x="512" y="78"/>
                  </a:cubicBezTo>
                  <a:cubicBezTo>
                    <a:pt x="512" y="54"/>
                    <a:pt x="529" y="34"/>
                    <a:pt x="551" y="28"/>
                  </a:cubicBezTo>
                  <a:lnTo>
                    <a:pt x="523" y="0"/>
                  </a:lnTo>
                  <a:lnTo>
                    <a:pt x="361" y="18"/>
                  </a:lnTo>
                  <a:lnTo>
                    <a:pt x="0" y="379"/>
                  </a:lnTo>
                  <a:lnTo>
                    <a:pt x="270" y="649"/>
                  </a:lnTo>
                  <a:lnTo>
                    <a:pt x="631" y="289"/>
                  </a:lnTo>
                  <a:lnTo>
                    <a:pt x="649" y="127"/>
                  </a:lnTo>
                  <a:close/>
                  <a:moveTo>
                    <a:pt x="452" y="359"/>
                  </a:moveTo>
                  <a:lnTo>
                    <a:pt x="409" y="316"/>
                  </a:lnTo>
                  <a:cubicBezTo>
                    <a:pt x="416" y="309"/>
                    <a:pt x="433" y="291"/>
                    <a:pt x="415" y="261"/>
                  </a:cubicBezTo>
                  <a:lnTo>
                    <a:pt x="350" y="326"/>
                  </a:lnTo>
                  <a:cubicBezTo>
                    <a:pt x="369" y="360"/>
                    <a:pt x="388" y="424"/>
                    <a:pt x="344" y="467"/>
                  </a:cubicBezTo>
                  <a:cubicBezTo>
                    <a:pt x="302" y="509"/>
                    <a:pt x="245" y="512"/>
                    <a:pt x="201" y="475"/>
                  </a:cubicBezTo>
                  <a:lnTo>
                    <a:pt x="179" y="497"/>
                  </a:lnTo>
                  <a:lnTo>
                    <a:pt x="152" y="470"/>
                  </a:lnTo>
                  <a:lnTo>
                    <a:pt x="175" y="447"/>
                  </a:lnTo>
                  <a:cubicBezTo>
                    <a:pt x="133" y="391"/>
                    <a:pt x="149" y="338"/>
                    <a:pt x="182" y="305"/>
                  </a:cubicBezTo>
                  <a:lnTo>
                    <a:pt x="225" y="348"/>
                  </a:lnTo>
                  <a:cubicBezTo>
                    <a:pt x="219" y="355"/>
                    <a:pt x="201" y="373"/>
                    <a:pt x="219" y="403"/>
                  </a:cubicBezTo>
                  <a:lnTo>
                    <a:pt x="284" y="338"/>
                  </a:lnTo>
                  <a:cubicBezTo>
                    <a:pt x="265" y="304"/>
                    <a:pt x="247" y="240"/>
                    <a:pt x="290" y="197"/>
                  </a:cubicBezTo>
                  <a:cubicBezTo>
                    <a:pt x="332" y="155"/>
                    <a:pt x="389" y="152"/>
                    <a:pt x="433" y="189"/>
                  </a:cubicBezTo>
                  <a:lnTo>
                    <a:pt x="455" y="167"/>
                  </a:lnTo>
                  <a:lnTo>
                    <a:pt x="482" y="194"/>
                  </a:lnTo>
                  <a:lnTo>
                    <a:pt x="459" y="217"/>
                  </a:lnTo>
                  <a:cubicBezTo>
                    <a:pt x="501" y="274"/>
                    <a:pt x="485" y="326"/>
                    <a:pt x="452" y="359"/>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74" name="Pac"/>
            <p:cNvSpPr>
              <a:spLocks/>
            </p:cNvSpPr>
            <p:nvPr>
              <p:custDataLst>
                <p:tags r:id="rId7"/>
              </p:custDataLst>
            </p:nvPr>
          </p:nvSpPr>
          <p:spPr bwMode="auto">
            <a:xfrm>
              <a:off x="100" y="227"/>
              <a:ext cx="26" cy="26"/>
            </a:xfrm>
            <a:custGeom>
              <a:avLst/>
              <a:gdLst>
                <a:gd name="T0" fmla="*/ 0 w 69"/>
                <a:gd name="T1" fmla="*/ 58 h 71"/>
                <a:gd name="T2" fmla="*/ 56 w 69"/>
                <a:gd name="T3" fmla="*/ 51 h 71"/>
                <a:gd name="T4" fmla="*/ 58 w 69"/>
                <a:gd name="T5" fmla="*/ 0 h 71"/>
                <a:gd name="T6" fmla="*/ 0 w 69"/>
                <a:gd name="T7" fmla="*/ 58 h 71"/>
              </a:gdLst>
              <a:ahLst/>
              <a:cxnLst>
                <a:cxn ang="0">
                  <a:pos x="T0" y="T1"/>
                </a:cxn>
                <a:cxn ang="0">
                  <a:pos x="T2" y="T3"/>
                </a:cxn>
                <a:cxn ang="0">
                  <a:pos x="T4" y="T5"/>
                </a:cxn>
                <a:cxn ang="0">
                  <a:pos x="T6" y="T7"/>
                </a:cxn>
              </a:cxnLst>
              <a:rect l="0" t="0" r="r" b="b"/>
              <a:pathLst>
                <a:path w="69" h="71">
                  <a:moveTo>
                    <a:pt x="0" y="58"/>
                  </a:moveTo>
                  <a:cubicBezTo>
                    <a:pt x="18" y="71"/>
                    <a:pt x="38" y="69"/>
                    <a:pt x="56" y="51"/>
                  </a:cubicBezTo>
                  <a:cubicBezTo>
                    <a:pt x="69" y="37"/>
                    <a:pt x="65" y="16"/>
                    <a:pt x="58" y="0"/>
                  </a:cubicBezTo>
                  <a:lnTo>
                    <a:pt x="0" y="58"/>
                  </a:ln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75" name="Pac"/>
            <p:cNvSpPr>
              <a:spLocks/>
            </p:cNvSpPr>
            <p:nvPr>
              <p:custDataLst>
                <p:tags r:id="rId8"/>
              </p:custDataLst>
            </p:nvPr>
          </p:nvSpPr>
          <p:spPr bwMode="auto">
            <a:xfrm>
              <a:off x="197" y="8"/>
              <a:ext cx="281" cy="425"/>
            </a:xfrm>
            <a:custGeom>
              <a:avLst/>
              <a:gdLst>
                <a:gd name="T0" fmla="*/ 70 w 747"/>
                <a:gd name="T1" fmla="*/ 295 h 1128"/>
                <a:gd name="T2" fmla="*/ 84 w 747"/>
                <a:gd name="T3" fmla="*/ 288 h 1128"/>
                <a:gd name="T4" fmla="*/ 209 w 747"/>
                <a:gd name="T5" fmla="*/ 225 h 1128"/>
                <a:gd name="T6" fmla="*/ 264 w 747"/>
                <a:gd name="T7" fmla="*/ 253 h 1128"/>
                <a:gd name="T8" fmla="*/ 168 w 747"/>
                <a:gd name="T9" fmla="*/ 307 h 1128"/>
                <a:gd name="T10" fmla="*/ 171 w 747"/>
                <a:gd name="T11" fmla="*/ 310 h 1128"/>
                <a:gd name="T12" fmla="*/ 182 w 747"/>
                <a:gd name="T13" fmla="*/ 322 h 1128"/>
                <a:gd name="T14" fmla="*/ 181 w 747"/>
                <a:gd name="T15" fmla="*/ 338 h 1128"/>
                <a:gd name="T16" fmla="*/ 163 w 747"/>
                <a:gd name="T17" fmla="*/ 501 h 1128"/>
                <a:gd name="T18" fmla="*/ 161 w 747"/>
                <a:gd name="T19" fmla="*/ 513 h 1128"/>
                <a:gd name="T20" fmla="*/ 153 w 747"/>
                <a:gd name="T21" fmla="*/ 521 h 1128"/>
                <a:gd name="T22" fmla="*/ 0 w 747"/>
                <a:gd name="T23" fmla="*/ 673 h 1128"/>
                <a:gd name="T24" fmla="*/ 0 w 747"/>
                <a:gd name="T25" fmla="*/ 1128 h 1128"/>
                <a:gd name="T26" fmla="*/ 122 w 747"/>
                <a:gd name="T27" fmla="*/ 1128 h 1128"/>
                <a:gd name="T28" fmla="*/ 122 w 747"/>
                <a:gd name="T29" fmla="*/ 608 h 1128"/>
                <a:gd name="T30" fmla="*/ 248 w 747"/>
                <a:gd name="T31" fmla="*/ 608 h 1128"/>
                <a:gd name="T32" fmla="*/ 248 w 747"/>
                <a:gd name="T33" fmla="*/ 1128 h 1128"/>
                <a:gd name="T34" fmla="*/ 378 w 747"/>
                <a:gd name="T35" fmla="*/ 1128 h 1128"/>
                <a:gd name="T36" fmla="*/ 378 w 747"/>
                <a:gd name="T37" fmla="*/ 608 h 1128"/>
                <a:gd name="T38" fmla="*/ 504 w 747"/>
                <a:gd name="T39" fmla="*/ 608 h 1128"/>
                <a:gd name="T40" fmla="*/ 504 w 747"/>
                <a:gd name="T41" fmla="*/ 1128 h 1128"/>
                <a:gd name="T42" fmla="*/ 625 w 747"/>
                <a:gd name="T43" fmla="*/ 1128 h 1128"/>
                <a:gd name="T44" fmla="*/ 625 w 747"/>
                <a:gd name="T45" fmla="*/ 608 h 1128"/>
                <a:gd name="T46" fmla="*/ 625 w 747"/>
                <a:gd name="T47" fmla="*/ 538 h 1128"/>
                <a:gd name="T48" fmla="*/ 704 w 747"/>
                <a:gd name="T49" fmla="*/ 538 h 1128"/>
                <a:gd name="T50" fmla="*/ 747 w 747"/>
                <a:gd name="T51" fmla="*/ 495 h 1128"/>
                <a:gd name="T52" fmla="*/ 724 w 747"/>
                <a:gd name="T53" fmla="*/ 457 h 1128"/>
                <a:gd name="T54" fmla="*/ 724 w 747"/>
                <a:gd name="T55" fmla="*/ 457 h 1128"/>
                <a:gd name="T56" fmla="*/ 336 w 747"/>
                <a:gd name="T57" fmla="*/ 238 h 1128"/>
                <a:gd name="T58" fmla="*/ 336 w 747"/>
                <a:gd name="T59" fmla="*/ 194 h 1128"/>
                <a:gd name="T60" fmla="*/ 577 w 747"/>
                <a:gd name="T61" fmla="*/ 204 h 1128"/>
                <a:gd name="T62" fmla="*/ 577 w 747"/>
                <a:gd name="T63" fmla="*/ 48 h 1128"/>
                <a:gd name="T64" fmla="*/ 336 w 747"/>
                <a:gd name="T65" fmla="*/ 38 h 1128"/>
                <a:gd name="T66" fmla="*/ 336 w 747"/>
                <a:gd name="T67" fmla="*/ 26 h 1128"/>
                <a:gd name="T68" fmla="*/ 310 w 747"/>
                <a:gd name="T69" fmla="*/ 0 h 1128"/>
                <a:gd name="T70" fmla="*/ 283 w 747"/>
                <a:gd name="T71" fmla="*/ 26 h 1128"/>
                <a:gd name="T72" fmla="*/ 283 w 747"/>
                <a:gd name="T73" fmla="*/ 222 h 1128"/>
                <a:gd name="T74" fmla="*/ 228 w 747"/>
                <a:gd name="T75" fmla="*/ 196 h 1128"/>
                <a:gd name="T76" fmla="*/ 56 w 747"/>
                <a:gd name="T77" fmla="*/ 268 h 1128"/>
                <a:gd name="T78" fmla="*/ 60 w 747"/>
                <a:gd name="T79" fmla="*/ 292 h 1128"/>
                <a:gd name="T80" fmla="*/ 70 w 747"/>
                <a:gd name="T81" fmla="*/ 295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7" h="1128">
                  <a:moveTo>
                    <a:pt x="70" y="295"/>
                  </a:moveTo>
                  <a:cubicBezTo>
                    <a:pt x="75" y="295"/>
                    <a:pt x="81" y="293"/>
                    <a:pt x="84" y="288"/>
                  </a:cubicBezTo>
                  <a:cubicBezTo>
                    <a:pt x="153" y="190"/>
                    <a:pt x="170" y="201"/>
                    <a:pt x="209" y="225"/>
                  </a:cubicBezTo>
                  <a:cubicBezTo>
                    <a:pt x="224" y="235"/>
                    <a:pt x="242" y="246"/>
                    <a:pt x="264" y="253"/>
                  </a:cubicBezTo>
                  <a:lnTo>
                    <a:pt x="168" y="307"/>
                  </a:lnTo>
                  <a:lnTo>
                    <a:pt x="171" y="310"/>
                  </a:lnTo>
                  <a:lnTo>
                    <a:pt x="182" y="322"/>
                  </a:lnTo>
                  <a:lnTo>
                    <a:pt x="181" y="338"/>
                  </a:lnTo>
                  <a:lnTo>
                    <a:pt x="163" y="501"/>
                  </a:lnTo>
                  <a:lnTo>
                    <a:pt x="161" y="513"/>
                  </a:lnTo>
                  <a:lnTo>
                    <a:pt x="153" y="521"/>
                  </a:lnTo>
                  <a:lnTo>
                    <a:pt x="0" y="673"/>
                  </a:lnTo>
                  <a:lnTo>
                    <a:pt x="0" y="1128"/>
                  </a:lnTo>
                  <a:lnTo>
                    <a:pt x="122" y="1128"/>
                  </a:lnTo>
                  <a:lnTo>
                    <a:pt x="122" y="608"/>
                  </a:lnTo>
                  <a:lnTo>
                    <a:pt x="248" y="608"/>
                  </a:lnTo>
                  <a:lnTo>
                    <a:pt x="248" y="1128"/>
                  </a:lnTo>
                  <a:lnTo>
                    <a:pt x="378" y="1128"/>
                  </a:lnTo>
                  <a:lnTo>
                    <a:pt x="378" y="608"/>
                  </a:lnTo>
                  <a:lnTo>
                    <a:pt x="504" y="608"/>
                  </a:lnTo>
                  <a:lnTo>
                    <a:pt x="504" y="1128"/>
                  </a:lnTo>
                  <a:lnTo>
                    <a:pt x="625" y="1128"/>
                  </a:lnTo>
                  <a:lnTo>
                    <a:pt x="625" y="608"/>
                  </a:lnTo>
                  <a:lnTo>
                    <a:pt x="625" y="538"/>
                  </a:lnTo>
                  <a:lnTo>
                    <a:pt x="704" y="538"/>
                  </a:lnTo>
                  <a:cubicBezTo>
                    <a:pt x="728" y="538"/>
                    <a:pt x="747" y="519"/>
                    <a:pt x="747" y="495"/>
                  </a:cubicBezTo>
                  <a:cubicBezTo>
                    <a:pt x="747" y="478"/>
                    <a:pt x="738" y="464"/>
                    <a:pt x="724" y="457"/>
                  </a:cubicBezTo>
                  <a:lnTo>
                    <a:pt x="724" y="457"/>
                  </a:lnTo>
                  <a:lnTo>
                    <a:pt x="336" y="238"/>
                  </a:lnTo>
                  <a:lnTo>
                    <a:pt x="336" y="194"/>
                  </a:lnTo>
                  <a:cubicBezTo>
                    <a:pt x="412" y="228"/>
                    <a:pt x="477" y="164"/>
                    <a:pt x="577" y="204"/>
                  </a:cubicBezTo>
                  <a:lnTo>
                    <a:pt x="577" y="48"/>
                  </a:lnTo>
                  <a:cubicBezTo>
                    <a:pt x="477" y="8"/>
                    <a:pt x="412" y="72"/>
                    <a:pt x="336" y="38"/>
                  </a:cubicBezTo>
                  <a:lnTo>
                    <a:pt x="336" y="26"/>
                  </a:lnTo>
                  <a:cubicBezTo>
                    <a:pt x="336" y="12"/>
                    <a:pt x="324" y="0"/>
                    <a:pt x="310" y="0"/>
                  </a:cubicBezTo>
                  <a:cubicBezTo>
                    <a:pt x="295" y="0"/>
                    <a:pt x="283" y="12"/>
                    <a:pt x="283" y="26"/>
                  </a:cubicBezTo>
                  <a:lnTo>
                    <a:pt x="283" y="222"/>
                  </a:lnTo>
                  <a:cubicBezTo>
                    <a:pt x="261" y="217"/>
                    <a:pt x="244" y="206"/>
                    <a:pt x="228" y="196"/>
                  </a:cubicBezTo>
                  <a:cubicBezTo>
                    <a:pt x="175" y="163"/>
                    <a:pt x="137" y="151"/>
                    <a:pt x="56" y="268"/>
                  </a:cubicBezTo>
                  <a:cubicBezTo>
                    <a:pt x="50" y="276"/>
                    <a:pt x="52" y="287"/>
                    <a:pt x="60" y="292"/>
                  </a:cubicBezTo>
                  <a:cubicBezTo>
                    <a:pt x="63" y="294"/>
                    <a:pt x="66" y="295"/>
                    <a:pt x="70" y="295"/>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grpSp>
      <p:sp>
        <p:nvSpPr>
          <p:cNvPr id="76" name="Metin kutusu 75"/>
          <p:cNvSpPr txBox="1"/>
          <p:nvPr/>
        </p:nvSpPr>
        <p:spPr>
          <a:xfrm>
            <a:off x="310927" y="46833"/>
            <a:ext cx="4480832" cy="593093"/>
          </a:xfrm>
          <a:prstGeom prst="rect">
            <a:avLst/>
          </a:prstGeom>
          <a:solidFill>
            <a:schemeClr val="bg1"/>
          </a:solidFill>
        </p:spPr>
        <p:txBody>
          <a:bodyPr wrap="square" rtlCol="0">
            <a:spAutoFit/>
          </a:body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BAŞVURU KOŞULLARI</a:t>
            </a:r>
          </a:p>
        </p:txBody>
      </p:sp>
      <p:pic>
        <p:nvPicPr>
          <p:cNvPr id="77" name="Picture 3"/>
          <p:cNvPicPr>
            <a:picLocks noChangeAspect="1" noChangeArrowheads="1"/>
          </p:cNvPicPr>
          <p:nvPr/>
        </p:nvPicPr>
        <p:blipFill>
          <a:blip r:embed="rId16" cstate="print"/>
          <a:srcRect/>
          <a:stretch>
            <a:fillRect/>
          </a:stretch>
        </p:blipFill>
        <p:spPr bwMode="auto">
          <a:xfrm>
            <a:off x="11299547" y="130154"/>
            <a:ext cx="722715" cy="509772"/>
          </a:xfrm>
          <a:prstGeom prst="rect">
            <a:avLst/>
          </a:prstGeom>
          <a:noFill/>
          <a:ln w="9525">
            <a:noFill/>
            <a:miter lim="800000"/>
            <a:headEnd/>
            <a:tailEnd/>
          </a:ln>
        </p:spPr>
      </p:pic>
      <p:sp>
        <p:nvSpPr>
          <p:cNvPr id="78" name="Dikdörtgen 77"/>
          <p:cNvSpPr/>
          <p:nvPr/>
        </p:nvSpPr>
        <p:spPr>
          <a:xfrm>
            <a:off x="310926" y="1061993"/>
            <a:ext cx="10699535" cy="648696"/>
          </a:xfrm>
          <a:prstGeom prst="rect">
            <a:avLst/>
          </a:prstGeom>
        </p:spPr>
        <p:txBody>
          <a:bodyPr wrap="square">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smtClean="0">
                <a:ln>
                  <a:noFill/>
                </a:ln>
                <a:solidFill>
                  <a:srgbClr val="002060"/>
                </a:solidFill>
                <a:effectLst/>
                <a:uLnTx/>
                <a:uFillTx/>
                <a:latin typeface="Calibri" pitchFamily="34" charset="0"/>
                <a:ea typeface="ヒラギノ角ゴ Pro W3" pitchFamily="1" charset="-128"/>
                <a:cs typeface="+mn-cs"/>
              </a:rPr>
              <a:t>1- b) Orta </a:t>
            </a: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 yüksek ve yüksek teknoloji alanında yer alan ve cari işlemler hesabına katkı sağlayacak ürünlerin yerli sanayi tarafından üretimi ve ticarileştirilmesi amacı kapsamında yapılan başvurular için gerekli koşullar; </a:t>
            </a:r>
          </a:p>
        </p:txBody>
      </p:sp>
      <p:sp>
        <p:nvSpPr>
          <p:cNvPr id="5" name="Dikdörtgen 4"/>
          <p:cNvSpPr/>
          <p:nvPr/>
        </p:nvSpPr>
        <p:spPr>
          <a:xfrm>
            <a:off x="280907" y="4452481"/>
            <a:ext cx="2635148" cy="926709"/>
          </a:xfrm>
          <a:prstGeom prst="rect">
            <a:avLst/>
          </a:prstGeom>
        </p:spPr>
        <p:txBody>
          <a:bodyPr wrap="square">
            <a:spAutoFit/>
          </a:bodyPr>
          <a:lstStyle/>
          <a:p>
            <a:pPr marL="0" marR="0" lvl="0" indent="0" algn="l"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Yatırım projesi bütçesinin 10.000.000 </a:t>
            </a:r>
          </a:p>
          <a:p>
            <a:pPr marL="0" marR="0" lvl="0" indent="0" algn="l"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TL’yi geçmemesi </a:t>
            </a:r>
          </a:p>
        </p:txBody>
      </p:sp>
      <p:sp>
        <p:nvSpPr>
          <p:cNvPr id="7" name="Dikdörtgen 6"/>
          <p:cNvSpPr/>
          <p:nvPr/>
        </p:nvSpPr>
        <p:spPr>
          <a:xfrm>
            <a:off x="3919119" y="4507821"/>
            <a:ext cx="2899596" cy="926709"/>
          </a:xfrm>
          <a:prstGeom prst="rect">
            <a:avLst/>
          </a:prstGeom>
        </p:spPr>
        <p:txBody>
          <a:bodyPr wrap="square">
            <a:spAutoFit/>
          </a:bodyPr>
          <a:lstStyle/>
          <a:p>
            <a:pPr marL="0" marR="0" lvl="0" indent="0" algn="l"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İşletmenin paydaş ile işbirliği yaparak başvuru yapması </a:t>
            </a:r>
          </a:p>
        </p:txBody>
      </p:sp>
      <p:sp>
        <p:nvSpPr>
          <p:cNvPr id="9" name="Dikdörtgen 8"/>
          <p:cNvSpPr/>
          <p:nvPr/>
        </p:nvSpPr>
        <p:spPr>
          <a:xfrm>
            <a:off x="7579402" y="4385619"/>
            <a:ext cx="4104273" cy="1482734"/>
          </a:xfrm>
          <a:prstGeom prst="rect">
            <a:avLst/>
          </a:prstGeom>
        </p:spPr>
        <p:txBody>
          <a:bodyPr wrap="square">
            <a:spAutoFit/>
          </a:bodyPr>
          <a:lstStyle/>
          <a:p>
            <a:pPr marL="0" marR="0" lvl="0" indent="0" algn="l"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Orta yüksek ve yüksek teknoloji alanında yer alan ve başkanlık tarafından belirlenen </a:t>
            </a: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hlinkClick r:id="rId17" action="ppaction://hlinkfile"/>
              </a:rPr>
              <a:t>Cari İşlemler Hesabına Katkı Sağlayacak Ürün Listesi’nde </a:t>
            </a: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yer alan ürünleri üretmek üzere başvuru yapması </a:t>
            </a:r>
          </a:p>
        </p:txBody>
      </p:sp>
    </p:spTree>
    <p:extLst>
      <p:ext uri="{BB962C8B-B14F-4D97-AF65-F5344CB8AC3E}">
        <p14:creationId xmlns:p14="http://schemas.microsoft.com/office/powerpoint/2010/main" val="2378697839"/>
      </p:ext>
    </p:extLst>
  </p:cSld>
  <p:clrMapOvr>
    <a:masterClrMapping/>
  </p:clrMapOvr>
  <mc:AlternateContent xmlns:mc="http://schemas.openxmlformats.org/markup-compatibility/2006" xmlns:p14="http://schemas.microsoft.com/office/powerpoint/2010/main">
    <mc:Choice Requires="p14">
      <p:transition spd="slow" p14:dur="2000" advTm="46284"/>
    </mc:Choice>
    <mc:Fallback xmlns="">
      <p:transition spd="slow" advTm="46284"/>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197891" y="1793631"/>
            <a:ext cx="11663964" cy="3481754"/>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a:defRPr/>
            </a:pPr>
            <a:endParaRPr lang="tr-TR" kern="0" dirty="0" smtClean="0">
              <a:solidFill>
                <a:prstClr val="black"/>
              </a:solidFill>
            </a:endParaRPr>
          </a:p>
          <a:p>
            <a:pPr algn="just" defTabSz="917783" fontAlgn="base">
              <a:spcBef>
                <a:spcPct val="0"/>
              </a:spcBef>
              <a:spcAft>
                <a:spcPct val="0"/>
              </a:spcAft>
              <a:defRPr/>
            </a:pPr>
            <a:r>
              <a:rPr lang="tr-TR" sz="1807" b="1" dirty="0">
                <a:solidFill>
                  <a:srgbClr val="002060"/>
                </a:solidFill>
                <a:latin typeface="Calibri" pitchFamily="34" charset="0"/>
                <a:ea typeface="ヒラギノ角ゴ Pro W3" pitchFamily="1" charset="-128"/>
              </a:rPr>
              <a:t>Bilindiği üzere Koronavirüs (Covid-19) salgını, tüm dünya için ciddi bir sağlık tehdidi oluştururken ülkemizde Mart ayı itibariyle görülmeye başlanan vakalar ile birlikte salgının ekonomik etkileriyle başa çıkabilmek kurumumuz da çeşitli uygulamaları devreye almıştır. </a:t>
            </a:r>
          </a:p>
          <a:p>
            <a:pPr algn="just" defTabSz="917783" fontAlgn="base">
              <a:spcBef>
                <a:spcPct val="0"/>
              </a:spcBef>
              <a:spcAft>
                <a:spcPct val="0"/>
              </a:spcAft>
              <a:defRPr/>
            </a:pPr>
            <a:endParaRPr lang="tr-TR" sz="1807" b="1" dirty="0">
              <a:solidFill>
                <a:srgbClr val="002060"/>
              </a:solidFill>
              <a:latin typeface="Calibri" pitchFamily="34" charset="0"/>
              <a:ea typeface="ヒラギノ角ゴ Pro W3" pitchFamily="1" charset="-128"/>
            </a:endParaRPr>
          </a:p>
          <a:p>
            <a:pPr algn="just" defTabSz="917783" fontAlgn="base">
              <a:spcBef>
                <a:spcPct val="0"/>
              </a:spcBef>
              <a:spcAft>
                <a:spcPct val="0"/>
              </a:spcAft>
              <a:defRPr/>
            </a:pPr>
            <a:r>
              <a:rPr lang="tr-TR" sz="1807" b="1" dirty="0">
                <a:solidFill>
                  <a:srgbClr val="002060"/>
                </a:solidFill>
                <a:latin typeface="Calibri" pitchFamily="34" charset="0"/>
                <a:ea typeface="ヒラギノ角ゴ Pro W3" pitchFamily="1" charset="-128"/>
              </a:rPr>
              <a:t>Dünya Sağlık Örgütü tarafından </a:t>
            </a:r>
            <a:r>
              <a:rPr lang="tr-TR" sz="1807" b="1" dirty="0" err="1">
                <a:solidFill>
                  <a:srgbClr val="002060"/>
                </a:solidFill>
                <a:latin typeface="Calibri" pitchFamily="34" charset="0"/>
                <a:ea typeface="ヒラギノ角ゴ Pro W3" pitchFamily="1" charset="-128"/>
              </a:rPr>
              <a:t>pandemi</a:t>
            </a:r>
            <a:r>
              <a:rPr lang="tr-TR" sz="1807" b="1" dirty="0">
                <a:solidFill>
                  <a:srgbClr val="002060"/>
                </a:solidFill>
                <a:latin typeface="Calibri" pitchFamily="34" charset="0"/>
                <a:ea typeface="ヒラギノ角ゴ Pro W3" pitchFamily="1" charset="-128"/>
              </a:rPr>
              <a:t> olarak açıklanan Koronavirüs (Covid-19) salgınının etkilerini azaltmak için ülkemizde alınan tedbirler kapsamında; KOBİ </a:t>
            </a:r>
            <a:r>
              <a:rPr lang="tr-TR" sz="1807" b="1" dirty="0" err="1">
                <a:solidFill>
                  <a:srgbClr val="002060"/>
                </a:solidFill>
                <a:latin typeface="Calibri" pitchFamily="34" charset="0"/>
                <a:ea typeface="ヒラギノ角ゴ Pro W3" pitchFamily="1" charset="-128"/>
              </a:rPr>
              <a:t>Teknoyatırım</a:t>
            </a:r>
            <a:r>
              <a:rPr lang="tr-TR" sz="1807" b="1" dirty="0">
                <a:solidFill>
                  <a:srgbClr val="002060"/>
                </a:solidFill>
                <a:latin typeface="Calibri" pitchFamily="34" charset="0"/>
                <a:ea typeface="ヒラギノ角ゴ Pro W3" pitchFamily="1" charset="-128"/>
              </a:rPr>
              <a:t> Destek Programı kapsamında belirlenen Koronavirüs (Covid-19) Salgını Kapsamında Üretilecek Ürün Listesi’nde yer alan ürünlerin desteklenmesine yönelik İcra Komitesi kararı alınmıştır.</a:t>
            </a:r>
          </a:p>
          <a:p>
            <a:pPr algn="just" defTabSz="917783" fontAlgn="base">
              <a:spcBef>
                <a:spcPct val="0"/>
              </a:spcBef>
              <a:spcAft>
                <a:spcPct val="0"/>
              </a:spcAft>
              <a:defRPr/>
            </a:pPr>
            <a:endParaRPr lang="en-US" sz="1807" b="1" dirty="0">
              <a:solidFill>
                <a:srgbClr val="002060"/>
              </a:solidFill>
              <a:latin typeface="Calibri" pitchFamily="34" charset="0"/>
              <a:ea typeface="ヒラギノ角ゴ Pro W3" pitchFamily="1" charset="-128"/>
            </a:endParaRPr>
          </a:p>
        </p:txBody>
      </p:sp>
      <p:pic>
        <p:nvPicPr>
          <p:cNvPr id="4" name="Resim 3"/>
          <p:cNvPicPr>
            <a:picLocks noChangeAspect="1"/>
          </p:cNvPicPr>
          <p:nvPr/>
        </p:nvPicPr>
        <p:blipFill>
          <a:blip r:embed="rId4"/>
          <a:stretch>
            <a:fillRect/>
          </a:stretch>
        </p:blipFill>
        <p:spPr>
          <a:xfrm>
            <a:off x="11222705" y="136782"/>
            <a:ext cx="719390" cy="512108"/>
          </a:xfrm>
          <a:prstGeom prst="rect">
            <a:avLst/>
          </a:prstGeom>
        </p:spPr>
      </p:pic>
      <p:sp>
        <p:nvSpPr>
          <p:cNvPr id="16" name="Metin kutusu 15"/>
          <p:cNvSpPr txBox="1"/>
          <p:nvPr/>
        </p:nvSpPr>
        <p:spPr>
          <a:xfrm>
            <a:off x="197891" y="369754"/>
            <a:ext cx="4480832" cy="480131"/>
          </a:xfrm>
          <a:prstGeom prst="rect">
            <a:avLst/>
          </a:prstGeom>
          <a:solidFill>
            <a:schemeClr val="bg1"/>
          </a:solidFill>
        </p:spPr>
        <p:txBody>
          <a:bodyPr wrap="square" rtlCol="0">
            <a:spAutoFit/>
          </a:body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2800"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BAŞVURU KOŞULLARI</a:t>
            </a:r>
          </a:p>
        </p:txBody>
      </p:sp>
      <p:sp>
        <p:nvSpPr>
          <p:cNvPr id="6" name="Dikdörtgen 5"/>
          <p:cNvSpPr/>
          <p:nvPr/>
        </p:nvSpPr>
        <p:spPr>
          <a:xfrm>
            <a:off x="2438307" y="963233"/>
            <a:ext cx="7842831" cy="707886"/>
          </a:xfrm>
          <a:prstGeom prst="rect">
            <a:avLst/>
          </a:prstGeom>
        </p:spPr>
        <p:txBody>
          <a:bodyPr wrap="square">
            <a:spAutoFit/>
          </a:bodyPr>
          <a:lstStyle/>
          <a:p>
            <a:endParaRPr lang="tr-TR" sz="2000" dirty="0">
              <a:solidFill>
                <a:srgbClr val="000000"/>
              </a:solidFill>
              <a:latin typeface="Times New Roman" panose="02020603050405020304" pitchFamily="18" charset="0"/>
            </a:endParaRPr>
          </a:p>
          <a:p>
            <a:r>
              <a:rPr lang="tr-TR" sz="2000" dirty="0">
                <a:solidFill>
                  <a:srgbClr val="000000"/>
                </a:solidFill>
                <a:latin typeface="Times New Roman" panose="02020603050405020304" pitchFamily="18" charset="0"/>
              </a:rPr>
              <a:t> </a:t>
            </a:r>
            <a:r>
              <a:rPr lang="tr-TR" sz="2000" b="1" dirty="0" smtClean="0">
                <a:solidFill>
                  <a:schemeClr val="accent2">
                    <a:lumMod val="75000"/>
                  </a:schemeClr>
                </a:solidFill>
              </a:rPr>
              <a:t>Koronavirüs (Covid-19) Salgını Kapsamında Üretilecek Ürün Listesi </a:t>
            </a:r>
            <a:endParaRPr lang="tr-TR" sz="2000" b="1" dirty="0">
              <a:solidFill>
                <a:schemeClr val="accent2">
                  <a:lumMod val="75000"/>
                </a:schemeClr>
              </a:solidFill>
            </a:endParaRPr>
          </a:p>
        </p:txBody>
      </p:sp>
    </p:spTree>
    <p:custDataLst>
      <p:tags r:id="rId1"/>
    </p:custDataLst>
    <p:extLst>
      <p:ext uri="{BB962C8B-B14F-4D97-AF65-F5344CB8AC3E}">
        <p14:creationId xmlns:p14="http://schemas.microsoft.com/office/powerpoint/2010/main" val="28384120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p:cNvPicPr>
            <a:picLocks noChangeAspect="1" noChangeArrowheads="1"/>
          </p:cNvPicPr>
          <p:nvPr/>
        </p:nvPicPr>
        <p:blipFill>
          <a:blip r:embed="rId3" cstate="print"/>
          <a:srcRect/>
          <a:stretch>
            <a:fillRect/>
          </a:stretch>
        </p:blipFill>
        <p:spPr bwMode="auto">
          <a:xfrm>
            <a:off x="9709784" y="176608"/>
            <a:ext cx="722757" cy="509801"/>
          </a:xfrm>
          <a:prstGeom prst="rect">
            <a:avLst/>
          </a:prstGeom>
          <a:noFill/>
          <a:ln w="9525">
            <a:noFill/>
            <a:miter lim="800000"/>
            <a:headEnd/>
            <a:tailEnd/>
          </a:ln>
        </p:spPr>
      </p:pic>
      <p:sp>
        <p:nvSpPr>
          <p:cNvPr id="10" name="3 Metin kutusu"/>
          <p:cNvSpPr txBox="1"/>
          <p:nvPr/>
        </p:nvSpPr>
        <p:spPr>
          <a:xfrm>
            <a:off x="1831735" y="248870"/>
            <a:ext cx="7778655" cy="525165"/>
          </a:xfrm>
          <a:prstGeom prst="rect">
            <a:avLst/>
          </a:prstGeom>
          <a:noFill/>
        </p:spPr>
        <p:txBody>
          <a:bodyPr wrap="square" rtlCol="0">
            <a:spAutoFit/>
          </a:bodyPr>
          <a:lstStyle/>
          <a:p>
            <a:r>
              <a:rPr lang="tr-TR" sz="2810" b="1" dirty="0">
                <a:solidFill>
                  <a:srgbClr val="00B3D2"/>
                </a:solidFill>
              </a:rPr>
              <a:t>TEKNOLOJİ, YENİLİK ve YERLİLEŞTİRME DESTEKLERİ </a:t>
            </a:r>
          </a:p>
        </p:txBody>
      </p:sp>
      <p:grpSp>
        <p:nvGrpSpPr>
          <p:cNvPr id="19" name="Grup 18"/>
          <p:cNvGrpSpPr/>
          <p:nvPr/>
        </p:nvGrpSpPr>
        <p:grpSpPr>
          <a:xfrm>
            <a:off x="2021442" y="1482961"/>
            <a:ext cx="7733499" cy="469040"/>
            <a:chOff x="1345192" y="5066354"/>
            <a:chExt cx="7704856" cy="467303"/>
          </a:xfrm>
        </p:grpSpPr>
        <p:sp>
          <p:nvSpPr>
            <p:cNvPr id="14" name="Metin kutusu 13"/>
            <p:cNvSpPr txBox="1"/>
            <p:nvPr/>
          </p:nvSpPr>
          <p:spPr>
            <a:xfrm>
              <a:off x="1906764" y="5135029"/>
              <a:ext cx="7143284" cy="398628"/>
            </a:xfrm>
            <a:prstGeom prst="rect">
              <a:avLst/>
            </a:prstGeom>
            <a:noFill/>
          </p:spPr>
          <p:txBody>
            <a:bodyPr wrap="square" rtlCol="0">
              <a:spAutoFit/>
            </a:bodyPr>
            <a:lstStyle/>
            <a:p>
              <a:r>
                <a:rPr lang="tr-TR" sz="2000" b="1" dirty="0">
                  <a:solidFill>
                    <a:srgbClr val="C00000"/>
                  </a:solidFill>
                </a:rPr>
                <a:t>1. </a:t>
              </a:r>
              <a:r>
                <a:rPr lang="tr-TR" sz="2000" b="1" dirty="0" smtClean="0">
                  <a:solidFill>
                    <a:srgbClr val="C00000"/>
                  </a:solidFill>
                </a:rPr>
                <a:t>ARGE VE İNOVASYON DESTEK </a:t>
              </a:r>
              <a:r>
                <a:rPr lang="tr-TR" sz="2000" b="1" dirty="0">
                  <a:solidFill>
                    <a:srgbClr val="C00000"/>
                  </a:solidFill>
                </a:rPr>
                <a:t>PROGRAMI </a:t>
              </a:r>
            </a:p>
          </p:txBody>
        </p:sp>
        <p:pic>
          <p:nvPicPr>
            <p:cNvPr id="1026" name="Picture 2" descr="C:\Users\ahmet.ozyilmaz.KOSGEB\Desktop\zihin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45192" y="5066354"/>
              <a:ext cx="408067" cy="396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up 22"/>
          <p:cNvGrpSpPr/>
          <p:nvPr/>
        </p:nvGrpSpPr>
        <p:grpSpPr>
          <a:xfrm>
            <a:off x="1912848" y="4544526"/>
            <a:ext cx="8805542" cy="707886"/>
            <a:chOff x="666889" y="5589319"/>
            <a:chExt cx="8263738" cy="705263"/>
          </a:xfrm>
        </p:grpSpPr>
        <p:pic>
          <p:nvPicPr>
            <p:cNvPr id="2" name="Picture 2" descr="http://cdn.skollworldforum.org/wp-content/uploads/social_edge_images/distributionmodels_300.jpg">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6889" y="5706259"/>
              <a:ext cx="484798" cy="396000"/>
            </a:xfrm>
            <a:prstGeom prst="rect">
              <a:avLst/>
            </a:prstGeom>
            <a:noFill/>
            <a:extLst>
              <a:ext uri="{909E8E84-426E-40DD-AFC4-6F175D3DCCD1}">
                <a14:hiddenFill xmlns:a14="http://schemas.microsoft.com/office/drawing/2010/main">
                  <a:solidFill>
                    <a:srgbClr val="FFFFFF"/>
                  </a:solidFill>
                </a14:hiddenFill>
              </a:ext>
            </a:extLst>
          </p:spPr>
        </p:pic>
        <p:sp>
          <p:nvSpPr>
            <p:cNvPr id="20" name="Metin kutusu 19"/>
            <p:cNvSpPr txBox="1"/>
            <p:nvPr/>
          </p:nvSpPr>
          <p:spPr>
            <a:xfrm>
              <a:off x="1297779" y="5589319"/>
              <a:ext cx="7632848" cy="705263"/>
            </a:xfrm>
            <a:prstGeom prst="rect">
              <a:avLst/>
            </a:prstGeom>
            <a:noFill/>
          </p:spPr>
          <p:txBody>
            <a:bodyPr wrap="square" rtlCol="0">
              <a:spAutoFit/>
            </a:bodyPr>
            <a:lstStyle/>
            <a:p>
              <a:r>
                <a:rPr lang="tr-TR" sz="2000" b="1" dirty="0">
                  <a:solidFill>
                    <a:srgbClr val="C00000"/>
                  </a:solidFill>
                </a:rPr>
                <a:t>5. ULUSLARARASI KULUÇKA MERKEZİ ve HIZLANDIRICI DESTEK </a:t>
              </a:r>
              <a:r>
                <a:rPr lang="tr-TR" sz="2000" b="1" dirty="0" smtClean="0">
                  <a:solidFill>
                    <a:srgbClr val="C00000"/>
                  </a:solidFill>
                </a:rPr>
                <a:t>PROGRAMI</a:t>
              </a:r>
              <a:endParaRPr lang="tr-TR" sz="2000" b="1" dirty="0">
                <a:solidFill>
                  <a:srgbClr val="C00000"/>
                </a:solidFill>
              </a:endParaRPr>
            </a:p>
          </p:txBody>
        </p:sp>
      </p:grpSp>
      <p:grpSp>
        <p:nvGrpSpPr>
          <p:cNvPr id="24" name="Grup 23"/>
          <p:cNvGrpSpPr/>
          <p:nvPr/>
        </p:nvGrpSpPr>
        <p:grpSpPr>
          <a:xfrm>
            <a:off x="1941156" y="3826889"/>
            <a:ext cx="8283395" cy="400110"/>
            <a:chOff x="494208" y="5900892"/>
            <a:chExt cx="8252716" cy="398627"/>
          </a:xfrm>
        </p:grpSpPr>
        <p:sp>
          <p:nvSpPr>
            <p:cNvPr id="21" name="Metin kutusu 20"/>
            <p:cNvSpPr txBox="1"/>
            <p:nvPr/>
          </p:nvSpPr>
          <p:spPr>
            <a:xfrm>
              <a:off x="1114076" y="5900892"/>
              <a:ext cx="7632848" cy="398627"/>
            </a:xfrm>
            <a:prstGeom prst="rect">
              <a:avLst/>
            </a:prstGeom>
            <a:noFill/>
          </p:spPr>
          <p:txBody>
            <a:bodyPr wrap="square" rtlCol="0">
              <a:spAutoFit/>
            </a:bodyPr>
            <a:lstStyle/>
            <a:p>
              <a:r>
                <a:rPr lang="tr-TR" sz="2000" b="1" dirty="0">
                  <a:solidFill>
                    <a:srgbClr val="C00000"/>
                  </a:solidFill>
                </a:rPr>
                <a:t>4. </a:t>
              </a:r>
              <a:r>
                <a:rPr lang="tr-TR" sz="2000" b="1" dirty="0" smtClean="0">
                  <a:solidFill>
                    <a:srgbClr val="C00000"/>
                  </a:solidFill>
                </a:rPr>
                <a:t>İŞGEM/TEKMER PROGRAMI</a:t>
              </a:r>
              <a:endParaRPr lang="tr-TR" sz="2000" b="1" dirty="0">
                <a:solidFill>
                  <a:srgbClr val="00BAD9"/>
                </a:solidFill>
              </a:endParaRPr>
            </a:p>
          </p:txBody>
        </p:sp>
        <p:pic>
          <p:nvPicPr>
            <p:cNvPr id="22" name="Picture 2" descr="world-globe-3d-world-orb-1142476.jpg"/>
            <p:cNvPicPr>
              <a:picLocks noChangeAspect="1"/>
            </p:cNvPicPr>
            <p:nvPr/>
          </p:nvPicPr>
          <p:blipFill>
            <a:blip r:embed="rId7" cstate="print">
              <a:extLst>
                <a:ext uri="{28A0092B-C50C-407E-A947-70E740481C1C}">
                  <a14:useLocalDpi xmlns:a14="http://schemas.microsoft.com/office/drawing/2010/main" val="0"/>
                </a:ext>
              </a:extLst>
            </a:blip>
            <a:srcRect t="14273" b="17947"/>
            <a:stretch>
              <a:fillRect/>
            </a:stretch>
          </p:blipFill>
          <p:spPr bwMode="auto">
            <a:xfrm>
              <a:off x="494208" y="5925373"/>
              <a:ext cx="54398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 name="Grup 3"/>
          <p:cNvGrpSpPr/>
          <p:nvPr/>
        </p:nvGrpSpPr>
        <p:grpSpPr>
          <a:xfrm>
            <a:off x="1859300" y="3077586"/>
            <a:ext cx="8300700" cy="459784"/>
            <a:chOff x="732611" y="5024594"/>
            <a:chExt cx="8269957" cy="458081"/>
          </a:xfrm>
        </p:grpSpPr>
        <p:sp>
          <p:nvSpPr>
            <p:cNvPr id="34" name="Metin kutusu 33"/>
            <p:cNvSpPr txBox="1"/>
            <p:nvPr/>
          </p:nvSpPr>
          <p:spPr>
            <a:xfrm>
              <a:off x="1441728" y="5024594"/>
              <a:ext cx="7560840" cy="398628"/>
            </a:xfrm>
            <a:prstGeom prst="rect">
              <a:avLst/>
            </a:prstGeom>
            <a:noFill/>
          </p:spPr>
          <p:txBody>
            <a:bodyPr wrap="square" rtlCol="0">
              <a:spAutoFit/>
            </a:bodyPr>
            <a:lstStyle/>
            <a:p>
              <a:r>
                <a:rPr lang="tr-TR" sz="2000" b="1" dirty="0" smtClean="0">
                  <a:solidFill>
                    <a:srgbClr val="C00000"/>
                  </a:solidFill>
                </a:rPr>
                <a:t>3. </a:t>
              </a:r>
              <a:r>
                <a:rPr lang="tr-TR" sz="2000" b="1" dirty="0">
                  <a:solidFill>
                    <a:srgbClr val="C00000"/>
                  </a:solidFill>
                </a:rPr>
                <a:t>KOBİ TEKNOLOJİK ÜRÜN YATIRIM DESTEK </a:t>
              </a:r>
              <a:r>
                <a:rPr lang="tr-TR" sz="2000" b="1" dirty="0" smtClean="0">
                  <a:solidFill>
                    <a:srgbClr val="C00000"/>
                  </a:solidFill>
                </a:rPr>
                <a:t>PROGRAMI</a:t>
              </a:r>
              <a:endParaRPr lang="tr-TR" sz="2000" b="1" dirty="0">
                <a:solidFill>
                  <a:srgbClr val="C00000"/>
                </a:solidFill>
              </a:endParaRPr>
            </a:p>
          </p:txBody>
        </p:sp>
        <p:pic>
          <p:nvPicPr>
            <p:cNvPr id="25" name="Picture 2" descr="E:\c\sık kullanılanlar\calısma grupları\teknoyatırım\teknoyatırım lansman\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2611" y="5086675"/>
              <a:ext cx="709117" cy="396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up 2"/>
          <p:cNvGrpSpPr/>
          <p:nvPr/>
        </p:nvGrpSpPr>
        <p:grpSpPr>
          <a:xfrm>
            <a:off x="1912848" y="2279556"/>
            <a:ext cx="7634103" cy="481721"/>
            <a:chOff x="611560" y="5528651"/>
            <a:chExt cx="7605829" cy="479937"/>
          </a:xfrm>
        </p:grpSpPr>
        <p:sp>
          <p:nvSpPr>
            <p:cNvPr id="16" name="Metin kutusu 15"/>
            <p:cNvSpPr txBox="1"/>
            <p:nvPr/>
          </p:nvSpPr>
          <p:spPr>
            <a:xfrm>
              <a:off x="1259632" y="5528651"/>
              <a:ext cx="6957757" cy="398628"/>
            </a:xfrm>
            <a:prstGeom prst="rect">
              <a:avLst/>
            </a:prstGeom>
            <a:noFill/>
          </p:spPr>
          <p:txBody>
            <a:bodyPr wrap="square" rtlCol="0">
              <a:spAutoFit/>
            </a:bodyPr>
            <a:lstStyle/>
            <a:p>
              <a:r>
                <a:rPr lang="tr-TR" sz="2000" b="1" dirty="0" smtClean="0">
                  <a:solidFill>
                    <a:srgbClr val="C00000"/>
                  </a:solidFill>
                </a:rPr>
                <a:t>2. </a:t>
              </a:r>
              <a:r>
                <a:rPr lang="tr-TR" sz="2000" b="1" dirty="0">
                  <a:solidFill>
                    <a:srgbClr val="C00000"/>
                  </a:solidFill>
                </a:rPr>
                <a:t>STRATEJİK ÜRÜN DESTEK </a:t>
              </a:r>
              <a:r>
                <a:rPr lang="tr-TR" sz="2000" b="1" dirty="0" smtClean="0">
                  <a:solidFill>
                    <a:srgbClr val="C00000"/>
                  </a:solidFill>
                </a:rPr>
                <a:t>PROGRAMI</a:t>
              </a:r>
              <a:endParaRPr lang="tr-TR" sz="2000" b="1" dirty="0">
                <a:solidFill>
                  <a:srgbClr val="C00000"/>
                </a:solidFill>
              </a:endParaRPr>
            </a:p>
          </p:txBody>
        </p:sp>
        <p:pic>
          <p:nvPicPr>
            <p:cNvPr id="18" name="Resim 17"/>
            <p:cNvPicPr/>
            <p:nvPr/>
          </p:nvPicPr>
          <p:blipFill>
            <a:blip r:embed="rId9" cstate="print">
              <a:extLst>
                <a:ext uri="{28A0092B-C50C-407E-A947-70E740481C1C}">
                  <a14:useLocalDpi xmlns:a14="http://schemas.microsoft.com/office/drawing/2010/main" val="0"/>
                </a:ext>
              </a:extLst>
            </a:blip>
            <a:stretch>
              <a:fillRect/>
            </a:stretch>
          </p:blipFill>
          <p:spPr>
            <a:xfrm>
              <a:off x="611560" y="5612588"/>
              <a:ext cx="629990" cy="396000"/>
            </a:xfrm>
            <a:prstGeom prst="rect">
              <a:avLst/>
            </a:prstGeom>
          </p:spPr>
        </p:pic>
      </p:grpSp>
      <p:sp>
        <p:nvSpPr>
          <p:cNvPr id="6" name="Slayt Numarası Yer Tutucusu 5"/>
          <p:cNvSpPr>
            <a:spLocks noGrp="1"/>
          </p:cNvSpPr>
          <p:nvPr>
            <p:ph type="sldNum" sz="quarter" idx="12"/>
          </p:nvPr>
        </p:nvSpPr>
        <p:spPr/>
        <p:txBody>
          <a:bodyPr/>
          <a:lstStyle/>
          <a:p>
            <a:pPr>
              <a:defRPr/>
            </a:pPr>
            <a:fld id="{FF7B4E72-62B8-422C-A41E-153ABF87B654}" type="slidenum">
              <a:rPr lang="en-CA" smtClean="0">
                <a:solidFill>
                  <a:prstClr val="black">
                    <a:tint val="75000"/>
                  </a:prstClr>
                </a:solidFill>
              </a:rPr>
              <a:pPr>
                <a:defRPr/>
              </a:pPr>
              <a:t>2</a:t>
            </a:fld>
            <a:endParaRPr lang="en-CA">
              <a:solidFill>
                <a:prstClr val="black">
                  <a:tint val="75000"/>
                </a:prstClr>
              </a:solidFill>
            </a:endParaRPr>
          </a:p>
        </p:txBody>
      </p:sp>
    </p:spTree>
    <p:extLst>
      <p:ext uri="{BB962C8B-B14F-4D97-AF65-F5344CB8AC3E}">
        <p14:creationId xmlns:p14="http://schemas.microsoft.com/office/powerpoint/2010/main" val="42223096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hevron 7"/>
          <p:cNvSpPr/>
          <p:nvPr/>
        </p:nvSpPr>
        <p:spPr>
          <a:xfrm>
            <a:off x="245817" y="3001798"/>
            <a:ext cx="1975703" cy="258454"/>
          </a:xfrm>
          <a:prstGeom prst="chevron">
            <a:avLst>
              <a:gd name="adj" fmla="val 20000"/>
            </a:avLst>
          </a:prstGeom>
          <a:solidFill>
            <a:schemeClr val="accent2"/>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sp3d/>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a:ln>
                <a:noFill/>
              </a:ln>
              <a:solidFill>
                <a:srgbClr val="FFFFFF"/>
              </a:solidFill>
              <a:effectLst>
                <a:glow>
                  <a:scrgbClr r="0" g="0" b="0"/>
                </a:glow>
              </a:effectLst>
              <a:uLnTx/>
              <a:uFillTx/>
              <a:latin typeface="Calibri"/>
              <a:ea typeface="+mn-ea"/>
              <a:cs typeface="+mn-cs"/>
            </a:endParaRPr>
          </a:p>
        </p:txBody>
      </p:sp>
      <p:grpSp>
        <p:nvGrpSpPr>
          <p:cNvPr id="6" name="Group 34"/>
          <p:cNvGrpSpPr/>
          <p:nvPr/>
        </p:nvGrpSpPr>
        <p:grpSpPr>
          <a:xfrm>
            <a:off x="605782" y="1083077"/>
            <a:ext cx="914347" cy="1831565"/>
            <a:chOff x="1007340" y="1589285"/>
            <a:chExt cx="914400" cy="1831671"/>
          </a:xfrm>
        </p:grpSpPr>
        <p:sp>
          <p:nvSpPr>
            <p:cNvPr id="7" name="Oval 6"/>
            <p:cNvSpPr/>
            <p:nvPr/>
          </p:nvSpPr>
          <p:spPr>
            <a:xfrm>
              <a:off x="1007340" y="1589285"/>
              <a:ext cx="914400" cy="914400"/>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8" name="Straight Connector 36"/>
            <p:cNvCxnSpPr>
              <a:stCxn id="7" idx="4"/>
            </p:cNvCxnSpPr>
            <p:nvPr/>
          </p:nvCxnSpPr>
          <p:spPr>
            <a:xfrm>
              <a:off x="1464540" y="2590846"/>
              <a:ext cx="1959" cy="83011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9" name="Meeting3"/>
          <p:cNvGrpSpPr>
            <a:grpSpLocks noChangeAspect="1"/>
          </p:cNvGrpSpPr>
          <p:nvPr>
            <p:custDataLst>
              <p:tags r:id="rId1"/>
            </p:custDataLst>
          </p:nvPr>
        </p:nvGrpSpPr>
        <p:grpSpPr bwMode="auto">
          <a:xfrm>
            <a:off x="721527" y="1290142"/>
            <a:ext cx="682856" cy="448672"/>
            <a:chOff x="86" y="155"/>
            <a:chExt cx="312" cy="205"/>
          </a:xfrm>
          <a:solidFill>
            <a:schemeClr val="accent2"/>
          </a:solidFill>
        </p:grpSpPr>
        <p:sp>
          <p:nvSpPr>
            <p:cNvPr id="10" name="Meeting3"/>
            <p:cNvSpPr>
              <a:spLocks noChangeArrowheads="1"/>
            </p:cNvSpPr>
            <p:nvPr>
              <p:custDataLst>
                <p:tags r:id="rId2"/>
              </p:custDataLst>
            </p:nvPr>
          </p:nvSpPr>
          <p:spPr bwMode="auto">
            <a:xfrm>
              <a:off x="106" y="155"/>
              <a:ext cx="58" cy="59"/>
            </a:xfrm>
            <a:prstGeom prst="ellipse">
              <a:avLst/>
            </a:pr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11" name="Meeting3"/>
            <p:cNvSpPr>
              <a:spLocks noChangeArrowheads="1"/>
            </p:cNvSpPr>
            <p:nvPr>
              <p:custDataLst>
                <p:tags r:id="rId3"/>
              </p:custDataLst>
            </p:nvPr>
          </p:nvSpPr>
          <p:spPr bwMode="auto">
            <a:xfrm>
              <a:off x="320" y="155"/>
              <a:ext cx="59" cy="59"/>
            </a:xfrm>
            <a:prstGeom prst="ellipse">
              <a:avLst/>
            </a:pr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12" name="Meeting3"/>
            <p:cNvSpPr>
              <a:spLocks/>
            </p:cNvSpPr>
            <p:nvPr>
              <p:custDataLst>
                <p:tags r:id="rId4"/>
              </p:custDataLst>
            </p:nvPr>
          </p:nvSpPr>
          <p:spPr bwMode="auto">
            <a:xfrm>
              <a:off x="86" y="233"/>
              <a:ext cx="312" cy="127"/>
            </a:xfrm>
            <a:custGeom>
              <a:avLst/>
              <a:gdLst>
                <a:gd name="T0" fmla="*/ 338 w 400"/>
                <a:gd name="T1" fmla="*/ 0 h 162"/>
                <a:gd name="T2" fmla="*/ 306 w 400"/>
                <a:gd name="T3" fmla="*/ 8 h 162"/>
                <a:gd name="T4" fmla="*/ 306 w 400"/>
                <a:gd name="T5" fmla="*/ 8 h 162"/>
                <a:gd name="T6" fmla="*/ 200 w 400"/>
                <a:gd name="T7" fmla="*/ 71 h 162"/>
                <a:gd name="T8" fmla="*/ 94 w 400"/>
                <a:gd name="T9" fmla="*/ 8 h 162"/>
                <a:gd name="T10" fmla="*/ 94 w 400"/>
                <a:gd name="T11" fmla="*/ 8 h 162"/>
                <a:gd name="T12" fmla="*/ 63 w 400"/>
                <a:gd name="T13" fmla="*/ 0 h 162"/>
                <a:gd name="T14" fmla="*/ 0 w 400"/>
                <a:gd name="T15" fmla="*/ 62 h 162"/>
                <a:gd name="T16" fmla="*/ 0 w 400"/>
                <a:gd name="T17" fmla="*/ 162 h 162"/>
                <a:gd name="T18" fmla="*/ 125 w 400"/>
                <a:gd name="T19" fmla="*/ 162 h 162"/>
                <a:gd name="T20" fmla="*/ 125 w 400"/>
                <a:gd name="T21" fmla="*/ 85 h 162"/>
                <a:gd name="T22" fmla="*/ 188 w 400"/>
                <a:gd name="T23" fmla="*/ 122 h 162"/>
                <a:gd name="T24" fmla="*/ 188 w 400"/>
                <a:gd name="T25" fmla="*/ 122 h 162"/>
                <a:gd name="T26" fmla="*/ 194 w 400"/>
                <a:gd name="T27" fmla="*/ 125 h 162"/>
                <a:gd name="T28" fmla="*/ 200 w 400"/>
                <a:gd name="T29" fmla="*/ 126 h 162"/>
                <a:gd name="T30" fmla="*/ 200 w 400"/>
                <a:gd name="T31" fmla="*/ 126 h 162"/>
                <a:gd name="T32" fmla="*/ 200 w 400"/>
                <a:gd name="T33" fmla="*/ 126 h 162"/>
                <a:gd name="T34" fmla="*/ 206 w 400"/>
                <a:gd name="T35" fmla="*/ 125 h 162"/>
                <a:gd name="T36" fmla="*/ 213 w 400"/>
                <a:gd name="T37" fmla="*/ 122 h 162"/>
                <a:gd name="T38" fmla="*/ 213 w 400"/>
                <a:gd name="T39" fmla="*/ 122 h 162"/>
                <a:gd name="T40" fmla="*/ 275 w 400"/>
                <a:gd name="T41" fmla="*/ 84 h 162"/>
                <a:gd name="T42" fmla="*/ 275 w 400"/>
                <a:gd name="T43" fmla="*/ 162 h 162"/>
                <a:gd name="T44" fmla="*/ 400 w 400"/>
                <a:gd name="T45" fmla="*/ 162 h 162"/>
                <a:gd name="T46" fmla="*/ 400 w 400"/>
                <a:gd name="T47" fmla="*/ 62 h 162"/>
                <a:gd name="T48" fmla="*/ 338 w 400"/>
                <a:gd name="T4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0" h="162">
                  <a:moveTo>
                    <a:pt x="338" y="0"/>
                  </a:moveTo>
                  <a:cubicBezTo>
                    <a:pt x="326" y="0"/>
                    <a:pt x="316" y="3"/>
                    <a:pt x="306" y="8"/>
                  </a:cubicBezTo>
                  <a:lnTo>
                    <a:pt x="306" y="8"/>
                  </a:lnTo>
                  <a:lnTo>
                    <a:pt x="200" y="71"/>
                  </a:lnTo>
                  <a:lnTo>
                    <a:pt x="94" y="8"/>
                  </a:lnTo>
                  <a:lnTo>
                    <a:pt x="94" y="8"/>
                  </a:lnTo>
                  <a:cubicBezTo>
                    <a:pt x="84" y="3"/>
                    <a:pt x="74" y="0"/>
                    <a:pt x="63" y="0"/>
                  </a:cubicBezTo>
                  <a:cubicBezTo>
                    <a:pt x="27" y="0"/>
                    <a:pt x="0" y="27"/>
                    <a:pt x="0" y="62"/>
                  </a:cubicBezTo>
                  <a:lnTo>
                    <a:pt x="0" y="162"/>
                  </a:lnTo>
                  <a:lnTo>
                    <a:pt x="125" y="162"/>
                  </a:lnTo>
                  <a:lnTo>
                    <a:pt x="125" y="85"/>
                  </a:lnTo>
                  <a:lnTo>
                    <a:pt x="188" y="122"/>
                  </a:lnTo>
                  <a:lnTo>
                    <a:pt x="188" y="122"/>
                  </a:lnTo>
                  <a:cubicBezTo>
                    <a:pt x="190" y="123"/>
                    <a:pt x="191" y="125"/>
                    <a:pt x="194" y="125"/>
                  </a:cubicBezTo>
                  <a:cubicBezTo>
                    <a:pt x="196" y="125"/>
                    <a:pt x="198" y="126"/>
                    <a:pt x="200" y="126"/>
                  </a:cubicBezTo>
                  <a:lnTo>
                    <a:pt x="200" y="126"/>
                  </a:lnTo>
                  <a:lnTo>
                    <a:pt x="200" y="126"/>
                  </a:lnTo>
                  <a:cubicBezTo>
                    <a:pt x="203" y="126"/>
                    <a:pt x="204" y="126"/>
                    <a:pt x="206" y="125"/>
                  </a:cubicBezTo>
                  <a:cubicBezTo>
                    <a:pt x="209" y="125"/>
                    <a:pt x="210" y="123"/>
                    <a:pt x="213" y="122"/>
                  </a:cubicBezTo>
                  <a:lnTo>
                    <a:pt x="213" y="122"/>
                  </a:lnTo>
                  <a:lnTo>
                    <a:pt x="275" y="84"/>
                  </a:lnTo>
                  <a:lnTo>
                    <a:pt x="275" y="162"/>
                  </a:lnTo>
                  <a:lnTo>
                    <a:pt x="400" y="162"/>
                  </a:lnTo>
                  <a:lnTo>
                    <a:pt x="400" y="62"/>
                  </a:lnTo>
                  <a:cubicBezTo>
                    <a:pt x="400" y="27"/>
                    <a:pt x="372" y="0"/>
                    <a:pt x="338" y="0"/>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grpSp>
      <p:sp>
        <p:nvSpPr>
          <p:cNvPr id="13" name="Metin kutusu 12"/>
          <p:cNvSpPr txBox="1"/>
          <p:nvPr/>
        </p:nvSpPr>
        <p:spPr>
          <a:xfrm>
            <a:off x="145293" y="31896"/>
            <a:ext cx="4480832" cy="593093"/>
          </a:xfrm>
          <a:prstGeom prst="rect">
            <a:avLst/>
          </a:prstGeom>
          <a:solidFill>
            <a:schemeClr val="bg1"/>
          </a:solidFill>
        </p:spPr>
        <p:txBody>
          <a:bodyPr wrap="square" rtlCol="0">
            <a:spAutoFit/>
          </a:body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BAŞVURU KOŞULLARI</a:t>
            </a:r>
          </a:p>
        </p:txBody>
      </p:sp>
      <p:pic>
        <p:nvPicPr>
          <p:cNvPr id="14" name="Picture 3"/>
          <p:cNvPicPr>
            <a:picLocks noChangeAspect="1" noChangeArrowheads="1"/>
          </p:cNvPicPr>
          <p:nvPr/>
        </p:nvPicPr>
        <p:blipFill>
          <a:blip r:embed="rId6" cstate="print"/>
          <a:srcRect/>
          <a:stretch>
            <a:fillRect/>
          </a:stretch>
        </p:blipFill>
        <p:spPr bwMode="auto">
          <a:xfrm>
            <a:off x="11299547" y="130154"/>
            <a:ext cx="722715" cy="509772"/>
          </a:xfrm>
          <a:prstGeom prst="rect">
            <a:avLst/>
          </a:prstGeom>
          <a:noFill/>
          <a:ln w="9525">
            <a:noFill/>
            <a:miter lim="800000"/>
            <a:headEnd/>
            <a:tailEnd/>
          </a:ln>
        </p:spPr>
      </p:pic>
      <p:sp>
        <p:nvSpPr>
          <p:cNvPr id="16" name="Dikdörtgen 15"/>
          <p:cNvSpPr/>
          <p:nvPr/>
        </p:nvSpPr>
        <p:spPr>
          <a:xfrm>
            <a:off x="145293" y="639125"/>
            <a:ext cx="2749671" cy="370683"/>
          </a:xfrm>
          <a:prstGeom prst="rect">
            <a:avLst/>
          </a:prstGeom>
        </p:spPr>
        <p:txBody>
          <a:bodyPr wrap="square">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Paydaşa ilişkin hususlar;</a:t>
            </a:r>
          </a:p>
        </p:txBody>
      </p:sp>
      <p:sp>
        <p:nvSpPr>
          <p:cNvPr id="17" name="Dikdörtgen 16"/>
          <p:cNvSpPr/>
          <p:nvPr/>
        </p:nvSpPr>
        <p:spPr>
          <a:xfrm>
            <a:off x="3316294" y="2084580"/>
            <a:ext cx="6096000" cy="4541756"/>
          </a:xfrm>
          <a:prstGeom prst="rect">
            <a:avLst/>
          </a:prstGeom>
        </p:spPr>
        <p:txBody>
          <a:bodyPr>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endParaRPr lang="tr-TR" sz="1807" b="1" u="sng" dirty="0">
              <a:solidFill>
                <a:srgbClr val="002060"/>
              </a:solidFill>
              <a:latin typeface="Calibri" pitchFamily="34" charset="0"/>
              <a:ea typeface="ヒラギノ角ゴ Pro W3" pitchFamily="1" charset="-128"/>
            </a:endParaRPr>
          </a:p>
          <a:p>
            <a:pPr marL="0" marR="0" lvl="0" indent="0" algn="just" defTabSz="917783" rtl="0" eaLnBrk="1" fontAlgn="base" latinLnBrk="0" hangingPunct="1">
              <a:lnSpc>
                <a:spcPct val="100000"/>
              </a:lnSpc>
              <a:spcBef>
                <a:spcPct val="0"/>
              </a:spcBef>
              <a:spcAft>
                <a:spcPct val="0"/>
              </a:spcAft>
              <a:buClrTx/>
              <a:buSzTx/>
              <a:buFontTx/>
              <a:buNone/>
              <a:tabLst/>
              <a:defRPr/>
            </a:pPr>
            <a:endParaRPr kumimoji="0" lang="tr-TR" sz="1807" b="1" i="0" u="none" strike="noStrike" kern="1200" cap="none" spc="0" normalizeH="0" baseline="0" noProof="0" dirty="0" smtClean="0">
              <a:ln>
                <a:noFill/>
              </a:ln>
              <a:solidFill>
                <a:srgbClr val="002060"/>
              </a:solidFill>
              <a:effectLst/>
              <a:uLnTx/>
              <a:uFillTx/>
              <a:latin typeface="Calibri" pitchFamily="34" charset="0"/>
              <a:ea typeface="ヒラギノ角ゴ Pro W3" pitchFamily="1" charset="-128"/>
              <a:cs typeface="+mn-cs"/>
            </a:endParaRPr>
          </a:p>
          <a:p>
            <a:pPr marL="0" marR="0" lvl="0" indent="0" algn="just" defTabSz="917783" rtl="0" eaLnBrk="1" fontAlgn="base" latinLnBrk="0" hangingPunct="1">
              <a:lnSpc>
                <a:spcPct val="100000"/>
              </a:lnSpc>
              <a:spcBef>
                <a:spcPct val="0"/>
              </a:spcBef>
              <a:spcAft>
                <a:spcPct val="0"/>
              </a:spcAft>
              <a:buClrTx/>
              <a:buSzTx/>
              <a:buFontTx/>
              <a:buNone/>
              <a:tabLst/>
              <a:defRPr/>
            </a:pPr>
            <a:endParaRPr lang="tr-TR" sz="1807" b="1" dirty="0">
              <a:solidFill>
                <a:srgbClr val="002060"/>
              </a:solidFill>
              <a:latin typeface="Calibri" pitchFamily="34" charset="0"/>
              <a:ea typeface="ヒラギノ角ゴ Pro W3" pitchFamily="1" charset="-128"/>
            </a:endParaRPr>
          </a:p>
          <a:p>
            <a:pPr marL="0" marR="0" lvl="0" indent="0" algn="just" defTabSz="917783" rtl="0" eaLnBrk="1" fontAlgn="base" latinLnBrk="0" hangingPunct="1">
              <a:lnSpc>
                <a:spcPct val="100000"/>
              </a:lnSpc>
              <a:spcBef>
                <a:spcPct val="0"/>
              </a:spcBef>
              <a:spcAft>
                <a:spcPct val="0"/>
              </a:spcAft>
              <a:buClrTx/>
              <a:buSzTx/>
              <a:buFontTx/>
              <a:buNone/>
              <a:tabLst/>
              <a:defRPr/>
            </a:pPr>
            <a:endParaRPr kumimoji="0" lang="tr-TR" sz="1807" b="1" i="0" u="none" strike="noStrike" kern="1200" cap="none" spc="0" normalizeH="0" baseline="0" noProof="0" dirty="0" smtClean="0">
              <a:ln>
                <a:noFill/>
              </a:ln>
              <a:solidFill>
                <a:srgbClr val="002060"/>
              </a:solidFill>
              <a:effectLst/>
              <a:uLnTx/>
              <a:uFillTx/>
              <a:latin typeface="Calibri" pitchFamily="34" charset="0"/>
              <a:ea typeface="ヒラギノ角ゴ Pro W3" pitchFamily="1" charset="-128"/>
              <a:cs typeface="+mn-cs"/>
            </a:endParaRPr>
          </a:p>
          <a:p>
            <a:pPr marL="0" marR="0" lvl="0" indent="0" algn="just" defTabSz="917783" rtl="0" eaLnBrk="1" fontAlgn="base" latinLnBrk="0" hangingPunct="1">
              <a:lnSpc>
                <a:spcPct val="100000"/>
              </a:lnSpc>
              <a:spcBef>
                <a:spcPct val="0"/>
              </a:spcBef>
              <a:spcAft>
                <a:spcPct val="0"/>
              </a:spcAft>
              <a:buClrTx/>
              <a:buSzTx/>
              <a:buFontTx/>
              <a:buNone/>
              <a:tabLst/>
              <a:defRPr/>
            </a:pPr>
            <a:endParaRPr lang="tr-TR" sz="1807" b="1" dirty="0">
              <a:solidFill>
                <a:srgbClr val="002060"/>
              </a:solidFill>
              <a:latin typeface="Calibri" pitchFamily="34" charset="0"/>
              <a:ea typeface="ヒラギノ角ゴ Pro W3" pitchFamily="1" charset="-128"/>
            </a:endParaRPr>
          </a:p>
          <a:p>
            <a:pPr marL="0" marR="0" lvl="0" indent="0" algn="just" defTabSz="917783" rtl="0" eaLnBrk="1" fontAlgn="base" latinLnBrk="0" hangingPunct="1">
              <a:lnSpc>
                <a:spcPct val="100000"/>
              </a:lnSpc>
              <a:spcBef>
                <a:spcPct val="0"/>
              </a:spcBef>
              <a:spcAft>
                <a:spcPct val="0"/>
              </a:spcAft>
              <a:buClrTx/>
              <a:buSzTx/>
              <a:buFontTx/>
              <a:buNone/>
              <a:tabLst/>
              <a:defRPr/>
            </a:pPr>
            <a:endParaRPr kumimoji="0" lang="tr-TR" sz="1807" b="1" i="0" u="none" strike="noStrike" kern="1200" cap="none" spc="0" normalizeH="0" baseline="0" noProof="0" dirty="0" smtClean="0">
              <a:ln>
                <a:noFill/>
              </a:ln>
              <a:solidFill>
                <a:srgbClr val="002060"/>
              </a:solidFill>
              <a:effectLst/>
              <a:uLnTx/>
              <a:uFillTx/>
              <a:latin typeface="Calibri" pitchFamily="34" charset="0"/>
              <a:ea typeface="ヒラギノ角ゴ Pro W3" pitchFamily="1" charset="-128"/>
              <a:cs typeface="+mn-cs"/>
            </a:endParaRPr>
          </a:p>
          <a:p>
            <a:pPr marL="0" marR="0" lvl="0" indent="0" algn="just" defTabSz="917783" rtl="0" eaLnBrk="1" fontAlgn="base" latinLnBrk="0" hangingPunct="1">
              <a:lnSpc>
                <a:spcPct val="100000"/>
              </a:lnSpc>
              <a:spcBef>
                <a:spcPct val="0"/>
              </a:spcBef>
              <a:spcAft>
                <a:spcPct val="0"/>
              </a:spcAft>
              <a:buClrTx/>
              <a:buSzTx/>
              <a:buFontTx/>
              <a:buNone/>
              <a:tabLst/>
              <a:defRPr/>
            </a:pPr>
            <a:endParaRPr lang="tr-TR" sz="1807" b="1" dirty="0">
              <a:solidFill>
                <a:srgbClr val="002060"/>
              </a:solidFill>
              <a:latin typeface="Calibri" pitchFamily="34" charset="0"/>
              <a:ea typeface="ヒラギノ角ゴ Pro W3" pitchFamily="1" charset="-128"/>
            </a:endParaRPr>
          </a:p>
          <a:p>
            <a:pPr marL="0" marR="0" lvl="0" indent="0" algn="just" defTabSz="917783" rtl="0" eaLnBrk="1" fontAlgn="base" latinLnBrk="0" hangingPunct="1">
              <a:lnSpc>
                <a:spcPct val="100000"/>
              </a:lnSpc>
              <a:spcBef>
                <a:spcPct val="0"/>
              </a:spcBef>
              <a:spcAft>
                <a:spcPct val="0"/>
              </a:spcAft>
              <a:buClrTx/>
              <a:buSzTx/>
              <a:buFontTx/>
              <a:buNone/>
              <a:tabLst/>
              <a:defRPr/>
            </a:pPr>
            <a:endPar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endParaRPr>
          </a:p>
          <a:p>
            <a:pPr marL="0" marR="0" lvl="0" indent="0" algn="just" defTabSz="917783" rtl="0" eaLnBrk="1" fontAlgn="base" latinLnBrk="0" hangingPunct="1">
              <a:lnSpc>
                <a:spcPct val="100000"/>
              </a:lnSpc>
              <a:spcBef>
                <a:spcPct val="0"/>
              </a:spcBef>
              <a:spcAft>
                <a:spcPct val="0"/>
              </a:spcAft>
              <a:buClrTx/>
              <a:buSzTx/>
              <a:buFontTx/>
              <a:buNone/>
              <a:tabLst/>
              <a:defRPr/>
            </a:pPr>
            <a:endParaRPr kumimoji="0" lang="tr-TR" sz="1807" b="1" i="0" u="none" strike="noStrike" kern="1200" cap="none" spc="0" normalizeH="0" baseline="0" noProof="0" dirty="0" smtClean="0">
              <a:ln>
                <a:noFill/>
              </a:ln>
              <a:solidFill>
                <a:srgbClr val="002060"/>
              </a:solidFill>
              <a:effectLst/>
              <a:uLnTx/>
              <a:uFillTx/>
              <a:latin typeface="Calibri" pitchFamily="34" charset="0"/>
              <a:ea typeface="ヒラギノ角ゴ Pro W3" pitchFamily="1" charset="-128"/>
              <a:cs typeface="+mn-cs"/>
            </a:endParaRPr>
          </a:p>
          <a:p>
            <a:pPr marL="0" marR="0" lvl="0" indent="0" algn="just" defTabSz="917783" rtl="0" eaLnBrk="1" fontAlgn="base" latinLnBrk="0" hangingPunct="1">
              <a:lnSpc>
                <a:spcPct val="100000"/>
              </a:lnSpc>
              <a:spcBef>
                <a:spcPct val="0"/>
              </a:spcBef>
              <a:spcAft>
                <a:spcPct val="0"/>
              </a:spcAft>
              <a:buClrTx/>
              <a:buSzTx/>
              <a:buFontTx/>
              <a:buNone/>
              <a:tabLst/>
              <a:defRPr/>
            </a:pPr>
            <a:endParaRPr lang="tr-TR" sz="1807" b="1" dirty="0">
              <a:solidFill>
                <a:srgbClr val="002060"/>
              </a:solidFill>
              <a:latin typeface="Calibri" pitchFamily="34" charset="0"/>
              <a:ea typeface="ヒラギノ角ゴ Pro W3" pitchFamily="1" charset="-128"/>
            </a:endParaRPr>
          </a:p>
          <a:p>
            <a:pPr marL="0" marR="0" lvl="0" indent="0" algn="just" defTabSz="917783" rtl="0" eaLnBrk="1" fontAlgn="base" latinLnBrk="0" hangingPunct="1">
              <a:lnSpc>
                <a:spcPct val="100000"/>
              </a:lnSpc>
              <a:spcBef>
                <a:spcPct val="0"/>
              </a:spcBef>
              <a:spcAft>
                <a:spcPct val="0"/>
              </a:spcAft>
              <a:buClrTx/>
              <a:buSzTx/>
              <a:buFontTx/>
              <a:buNone/>
              <a:tabLst/>
              <a:defRPr/>
            </a:pPr>
            <a:r>
              <a:rPr kumimoji="0" lang="tr-TR" sz="1807" b="1" i="0" u="none" strike="noStrike" kern="1200" cap="none" spc="0" normalizeH="0" baseline="0" noProof="0" dirty="0" smtClean="0">
                <a:ln>
                  <a:noFill/>
                </a:ln>
                <a:solidFill>
                  <a:srgbClr val="002060"/>
                </a:solidFill>
                <a:effectLst/>
                <a:uLnTx/>
                <a:uFillTx/>
                <a:latin typeface="Calibri" pitchFamily="34" charset="0"/>
                <a:ea typeface="ヒラギノ角ゴ Pro W3" pitchFamily="1" charset="-128"/>
                <a:cs typeface="+mn-cs"/>
              </a:rPr>
              <a:t>Paydaştan </a:t>
            </a: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yatırım projesi kapsamında üretilecek ürünü satın almaya ilişkin iradesi ve niyetinin olması, proje süresince işletmeye teknik ve mali açıdan rehberlik yapması, ürünün belirlenen standart ve </a:t>
            </a:r>
            <a:r>
              <a:rPr kumimoji="0" lang="tr-TR" sz="1807" b="1" i="0" u="none" strike="noStrike" kern="1200" cap="none" spc="0" normalizeH="0" baseline="0" noProof="0" dirty="0" err="1">
                <a:ln>
                  <a:noFill/>
                </a:ln>
                <a:solidFill>
                  <a:srgbClr val="002060"/>
                </a:solidFill>
                <a:effectLst/>
                <a:uLnTx/>
                <a:uFillTx/>
                <a:latin typeface="Calibri" pitchFamily="34" charset="0"/>
                <a:ea typeface="ヒラギノ角ゴ Pro W3" pitchFamily="1" charset="-128"/>
                <a:cs typeface="+mn-cs"/>
              </a:rPr>
              <a:t>spesifikasyonlara</a:t>
            </a:r>
            <a:r>
              <a:rPr kumimoji="0" lang="tr-TR" sz="1807" b="1" i="0" u="none" strike="noStrike" kern="1200" cap="none" spc="0" normalizeH="0" baseline="0" noProof="0" dirty="0">
                <a:ln>
                  <a:noFill/>
                </a:ln>
                <a:solidFill>
                  <a:srgbClr val="002060"/>
                </a:solidFill>
                <a:effectLst/>
                <a:uLnTx/>
                <a:uFillTx/>
                <a:latin typeface="Calibri" pitchFamily="34" charset="0"/>
                <a:ea typeface="ヒラギノ角ゴ Pro W3" pitchFamily="1" charset="-128"/>
                <a:cs typeface="+mn-cs"/>
              </a:rPr>
              <a:t> uygun şekilde üretildiğini takip etmesi, işletmenin proje süresince karşılaşabileceği zorluklara ortak çözümler üretmesi beklenir.</a:t>
            </a:r>
          </a:p>
        </p:txBody>
      </p:sp>
      <p:sp>
        <p:nvSpPr>
          <p:cNvPr id="18" name="Freeform 3"/>
          <p:cNvSpPr>
            <a:spLocks noChangeAspect="1"/>
          </p:cNvSpPr>
          <p:nvPr/>
        </p:nvSpPr>
        <p:spPr>
          <a:xfrm>
            <a:off x="3566548" y="1847786"/>
            <a:ext cx="2221694" cy="193060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5400" b="0" i="0" u="none" strike="noStrike" kern="0" cap="none" spc="0" normalizeH="0" baseline="0" noProof="0" dirty="0" smtClean="0">
                <a:ln>
                  <a:noFill/>
                </a:ln>
                <a:solidFill>
                  <a:prstClr val="white"/>
                </a:solidFill>
                <a:effectLst/>
                <a:uLnTx/>
                <a:uFillTx/>
                <a:latin typeface="Calibri"/>
                <a:ea typeface="+mn-ea"/>
                <a:cs typeface="+mn-cs"/>
              </a:rPr>
              <a:t>K</a:t>
            </a:r>
            <a:endParaRPr kumimoji="0" lang="en-US" sz="540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b="0" i="0" u="none" strike="noStrike" kern="0" cap="none" spc="0" normalizeH="0" baseline="0" noProof="0" dirty="0" smtClean="0">
                <a:ln>
                  <a:noFill/>
                </a:ln>
                <a:solidFill>
                  <a:prstClr val="white"/>
                </a:solidFill>
                <a:effectLst/>
                <a:uLnTx/>
                <a:uFillTx/>
                <a:latin typeface="Calibri"/>
                <a:ea typeface="+mn-ea"/>
                <a:cs typeface="+mn-cs"/>
              </a:rPr>
              <a:t>Kam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b="0" i="0" u="none" strike="noStrike" kern="0" cap="none" spc="0" normalizeH="0" baseline="0" noProof="0" dirty="0" smtClean="0">
                <a:ln>
                  <a:noFill/>
                </a:ln>
                <a:solidFill>
                  <a:prstClr val="white"/>
                </a:solidFill>
                <a:effectLst/>
                <a:uLnTx/>
                <a:uFillTx/>
                <a:latin typeface="Calibri"/>
                <a:ea typeface="+mn-ea"/>
                <a:cs typeface="+mn-cs"/>
              </a:rPr>
              <a:t>Kurum/Kuruluşu</a:t>
            </a:r>
            <a:endParaRPr kumimoji="0" lang="en-US" b="0" i="0" u="none" strike="noStrike" kern="0" cap="none" spc="0" normalizeH="0" baseline="0" noProof="0" dirty="0">
              <a:ln>
                <a:noFill/>
              </a:ln>
              <a:solidFill>
                <a:prstClr val="white"/>
              </a:solidFill>
              <a:effectLst/>
              <a:uLnTx/>
              <a:uFillTx/>
              <a:latin typeface="Calibri"/>
              <a:ea typeface="+mn-ea"/>
              <a:cs typeface="+mn-cs"/>
            </a:endParaRPr>
          </a:p>
        </p:txBody>
      </p:sp>
      <p:sp>
        <p:nvSpPr>
          <p:cNvPr id="19" name="Freeform 4"/>
          <p:cNvSpPr>
            <a:spLocks noChangeAspect="1"/>
          </p:cNvSpPr>
          <p:nvPr/>
        </p:nvSpPr>
        <p:spPr>
          <a:xfrm>
            <a:off x="5497738" y="2867488"/>
            <a:ext cx="1933695" cy="1680340"/>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5400" b="0" i="0" u="none" strike="noStrike" kern="0" cap="none" spc="0" normalizeH="0" baseline="0" noProof="0" dirty="0" smtClean="0">
                <a:ln>
                  <a:noFill/>
                </a:ln>
                <a:solidFill>
                  <a:prstClr val="white"/>
                </a:solidFill>
                <a:effectLst/>
                <a:uLnTx/>
                <a:uFillTx/>
                <a:latin typeface="Calibri"/>
                <a:ea typeface="+mn-ea"/>
                <a:cs typeface="+mn-cs"/>
              </a:rPr>
              <a:t>O</a:t>
            </a:r>
            <a:endParaRPr kumimoji="0" lang="en-US" sz="540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tr-TR" kern="0" dirty="0" smtClean="0">
                <a:solidFill>
                  <a:prstClr val="white"/>
                </a:solidFill>
                <a:latin typeface="Calibri"/>
              </a:rPr>
              <a:t>Orta ölçekli işletme</a:t>
            </a: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Freeform 5"/>
          <p:cNvSpPr>
            <a:spLocks noChangeAspect="1"/>
          </p:cNvSpPr>
          <p:nvPr/>
        </p:nvSpPr>
        <p:spPr>
          <a:xfrm>
            <a:off x="7003689" y="1847786"/>
            <a:ext cx="2086457" cy="1813087"/>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5400" b="0" i="0" u="none" strike="noStrike" kern="0" cap="none" spc="0" normalizeH="0" baseline="0" noProof="0" dirty="0" smtClean="0">
                <a:ln>
                  <a:noFill/>
                </a:ln>
                <a:solidFill>
                  <a:prstClr val="white"/>
                </a:solidFill>
                <a:effectLst/>
                <a:uLnTx/>
                <a:uFillTx/>
                <a:latin typeface="Calibri"/>
                <a:ea typeface="+mn-ea"/>
                <a:cs typeface="+mn-cs"/>
              </a:rPr>
              <a:t>B</a:t>
            </a:r>
            <a:endParaRPr kumimoji="0" lang="en-US" sz="5400" b="0" i="0" u="none" strike="noStrike" kern="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0" cap="none" spc="0" normalizeH="0" baseline="0" noProof="0" dirty="0" smtClean="0">
                <a:ln>
                  <a:noFill/>
                </a:ln>
                <a:solidFill>
                  <a:prstClr val="white"/>
                </a:solidFill>
                <a:effectLst/>
                <a:uLnTx/>
                <a:uFillTx/>
                <a:latin typeface="Calibri"/>
                <a:ea typeface="+mn-ea"/>
                <a:cs typeface="+mn-cs"/>
              </a:rPr>
              <a:t>Büyük ölçekli</a:t>
            </a:r>
          </a:p>
          <a:p>
            <a:pPr marL="0" marR="0" lvl="0" indent="0" algn="ctr" defTabSz="914400" rtl="0" eaLnBrk="1" fontAlgn="auto" latinLnBrk="0" hangingPunct="1">
              <a:lnSpc>
                <a:spcPct val="100000"/>
              </a:lnSpc>
              <a:spcBef>
                <a:spcPts val="0"/>
              </a:spcBef>
              <a:spcAft>
                <a:spcPts val="0"/>
              </a:spcAft>
              <a:buClrTx/>
              <a:buSzTx/>
              <a:buFontTx/>
              <a:buNone/>
              <a:tabLst/>
              <a:defRPr/>
            </a:pPr>
            <a:r>
              <a:rPr lang="tr-TR" kern="0" dirty="0" smtClean="0">
                <a:solidFill>
                  <a:prstClr val="white"/>
                </a:solidFill>
                <a:latin typeface="Calibri"/>
              </a:rPr>
              <a:t>işletme</a:t>
            </a: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84967091"/>
      </p:ext>
    </p:extLst>
  </p:cSld>
  <p:clrMapOvr>
    <a:masterClrMapping/>
  </p:clrMapOvr>
  <mc:AlternateContent xmlns:mc="http://schemas.openxmlformats.org/markup-compatibility/2006" xmlns:p14="http://schemas.microsoft.com/office/powerpoint/2010/main">
    <mc:Choice Requires="p14">
      <p:transition spd="slow" p14:dur="2000" advTm="95563"/>
    </mc:Choice>
    <mc:Fallback xmlns="">
      <p:transition spd="slow" advTm="95563"/>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Crown"/>
          <p:cNvSpPr>
            <a:spLocks noChangeAspect="1" noEditPoints="1"/>
          </p:cNvSpPr>
          <p:nvPr>
            <p:custDataLst>
              <p:tags r:id="rId2"/>
            </p:custDataLst>
          </p:nvPr>
        </p:nvSpPr>
        <p:spPr bwMode="auto">
          <a:xfrm>
            <a:off x="5899276" y="2967520"/>
            <a:ext cx="414346" cy="278590"/>
          </a:xfrm>
          <a:custGeom>
            <a:avLst/>
            <a:gdLst>
              <a:gd name="T0" fmla="*/ 28528 w 29809"/>
              <a:gd name="T1" fmla="*/ 7350 h 20000"/>
              <a:gd name="T2" fmla="*/ 23033 w 29809"/>
              <a:gd name="T3" fmla="*/ 5787 h 20000"/>
              <a:gd name="T4" fmla="*/ 15552 w 29809"/>
              <a:gd name="T5" fmla="*/ 5435 h 20000"/>
              <a:gd name="T6" fmla="*/ 15496 w 29809"/>
              <a:gd name="T7" fmla="*/ 4922 h 20000"/>
              <a:gd name="T8" fmla="*/ 15740 w 29809"/>
              <a:gd name="T9" fmla="*/ 4922 h 20000"/>
              <a:gd name="T10" fmla="*/ 15338 w 29809"/>
              <a:gd name="T11" fmla="*/ 2786 h 20000"/>
              <a:gd name="T12" fmla="*/ 17474 w 29809"/>
              <a:gd name="T13" fmla="*/ 3188 h 20000"/>
              <a:gd name="T14" fmla="*/ 17474 w 29809"/>
              <a:gd name="T15" fmla="*/ 1734 h 20000"/>
              <a:gd name="T16" fmla="*/ 15338 w 29809"/>
              <a:gd name="T17" fmla="*/ 2137 h 20000"/>
              <a:gd name="T18" fmla="*/ 15740 w 29809"/>
              <a:gd name="T19" fmla="*/ 0 h 20000"/>
              <a:gd name="T20" fmla="*/ 14286 w 29809"/>
              <a:gd name="T21" fmla="*/ 0 h 20000"/>
              <a:gd name="T22" fmla="*/ 14689 w 29809"/>
              <a:gd name="T23" fmla="*/ 2137 h 20000"/>
              <a:gd name="T24" fmla="*/ 12552 w 29809"/>
              <a:gd name="T25" fmla="*/ 1734 h 20000"/>
              <a:gd name="T26" fmla="*/ 12552 w 29809"/>
              <a:gd name="T27" fmla="*/ 3188 h 20000"/>
              <a:gd name="T28" fmla="*/ 14689 w 29809"/>
              <a:gd name="T29" fmla="*/ 2786 h 20000"/>
              <a:gd name="T30" fmla="*/ 14286 w 29809"/>
              <a:gd name="T31" fmla="*/ 4922 h 20000"/>
              <a:gd name="T32" fmla="*/ 14544 w 29809"/>
              <a:gd name="T33" fmla="*/ 4922 h 20000"/>
              <a:gd name="T34" fmla="*/ 14480 w 29809"/>
              <a:gd name="T35" fmla="*/ 5510 h 20000"/>
              <a:gd name="T36" fmla="*/ 6923 w 29809"/>
              <a:gd name="T37" fmla="*/ 5772 h 20000"/>
              <a:gd name="T38" fmla="*/ 1991 w 29809"/>
              <a:gd name="T39" fmla="*/ 6492 h 20000"/>
              <a:gd name="T40" fmla="*/ 4232 w 29809"/>
              <a:gd name="T41" fmla="*/ 15375 h 20000"/>
              <a:gd name="T42" fmla="*/ 8460 w 29809"/>
              <a:gd name="T43" fmla="*/ 20000 h 20000"/>
              <a:gd name="T44" fmla="*/ 21571 w 29809"/>
              <a:gd name="T45" fmla="*/ 20000 h 20000"/>
              <a:gd name="T46" fmla="*/ 25898 w 29809"/>
              <a:gd name="T47" fmla="*/ 15226 h 20000"/>
              <a:gd name="T48" fmla="*/ 28528 w 29809"/>
              <a:gd name="T49" fmla="*/ 7350 h 20000"/>
              <a:gd name="T50" fmla="*/ 7576 w 29809"/>
              <a:gd name="T51" fmla="*/ 17144 h 20000"/>
              <a:gd name="T52" fmla="*/ 3033 w 29809"/>
              <a:gd name="T53" fmla="*/ 10502 h 20000"/>
              <a:gd name="T54" fmla="*/ 6631 w 29809"/>
              <a:gd name="T55" fmla="*/ 7856 h 20000"/>
              <a:gd name="T56" fmla="*/ 7576 w 29809"/>
              <a:gd name="T57" fmla="*/ 12309 h 20000"/>
              <a:gd name="T58" fmla="*/ 10447 w 29809"/>
              <a:gd name="T59" fmla="*/ 17144 h 20000"/>
              <a:gd name="T60" fmla="*/ 7576 w 29809"/>
              <a:gd name="T61" fmla="*/ 17144 h 20000"/>
              <a:gd name="T62" fmla="*/ 11411 w 29809"/>
              <a:gd name="T63" fmla="*/ 17147 h 20000"/>
              <a:gd name="T64" fmla="*/ 11411 w 29809"/>
              <a:gd name="T65" fmla="*/ 17147 h 20000"/>
              <a:gd name="T66" fmla="*/ 8463 w 29809"/>
              <a:gd name="T67" fmla="*/ 8261 h 20000"/>
              <a:gd name="T68" fmla="*/ 14190 w 29809"/>
              <a:gd name="T69" fmla="*/ 8061 h 20000"/>
              <a:gd name="T70" fmla="*/ 14290 w 29809"/>
              <a:gd name="T71" fmla="*/ 17147 h 20000"/>
              <a:gd name="T72" fmla="*/ 11411 w 29809"/>
              <a:gd name="T73" fmla="*/ 17147 h 20000"/>
              <a:gd name="T74" fmla="*/ 15649 w 29809"/>
              <a:gd name="T75" fmla="*/ 17147 h 20000"/>
              <a:gd name="T76" fmla="*/ 15649 w 29809"/>
              <a:gd name="T77" fmla="*/ 17147 h 20000"/>
              <a:gd name="T78" fmla="*/ 15749 w 29809"/>
              <a:gd name="T79" fmla="*/ 8061 h 20000"/>
              <a:gd name="T80" fmla="*/ 21476 w 29809"/>
              <a:gd name="T81" fmla="*/ 8261 h 20000"/>
              <a:gd name="T82" fmla="*/ 18528 w 29809"/>
              <a:gd name="T83" fmla="*/ 17147 h 20000"/>
              <a:gd name="T84" fmla="*/ 15649 w 29809"/>
              <a:gd name="T85" fmla="*/ 17147 h 20000"/>
              <a:gd name="T86" fmla="*/ 26928 w 29809"/>
              <a:gd name="T87" fmla="*/ 10502 h 20000"/>
              <a:gd name="T88" fmla="*/ 22385 w 29809"/>
              <a:gd name="T89" fmla="*/ 17144 h 20000"/>
              <a:gd name="T90" fmla="*/ 19514 w 29809"/>
              <a:gd name="T91" fmla="*/ 17144 h 20000"/>
              <a:gd name="T92" fmla="*/ 22385 w 29809"/>
              <a:gd name="T93" fmla="*/ 12309 h 20000"/>
              <a:gd name="T94" fmla="*/ 23330 w 29809"/>
              <a:gd name="T95" fmla="*/ 7856 h 20000"/>
              <a:gd name="T96" fmla="*/ 26928 w 29809"/>
              <a:gd name="T97" fmla="*/ 10502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809" h="20000">
                <a:moveTo>
                  <a:pt x="28528" y="7350"/>
                </a:moveTo>
                <a:cubicBezTo>
                  <a:pt x="27509" y="5435"/>
                  <a:pt x="25331" y="5296"/>
                  <a:pt x="23033" y="5787"/>
                </a:cubicBezTo>
                <a:cubicBezTo>
                  <a:pt x="21751" y="2530"/>
                  <a:pt x="18775" y="3493"/>
                  <a:pt x="15552" y="5435"/>
                </a:cubicBezTo>
                <a:lnTo>
                  <a:pt x="15496" y="4922"/>
                </a:lnTo>
                <a:lnTo>
                  <a:pt x="15740" y="4922"/>
                </a:lnTo>
                <a:cubicBezTo>
                  <a:pt x="15503" y="4228"/>
                  <a:pt x="15369" y="3509"/>
                  <a:pt x="15338" y="2786"/>
                </a:cubicBezTo>
                <a:cubicBezTo>
                  <a:pt x="16061" y="2817"/>
                  <a:pt x="16780" y="2951"/>
                  <a:pt x="17474" y="3188"/>
                </a:cubicBezTo>
                <a:lnTo>
                  <a:pt x="17474" y="1734"/>
                </a:lnTo>
                <a:cubicBezTo>
                  <a:pt x="16780" y="1972"/>
                  <a:pt x="16061" y="2106"/>
                  <a:pt x="15338" y="2137"/>
                </a:cubicBezTo>
                <a:cubicBezTo>
                  <a:pt x="15369" y="1414"/>
                  <a:pt x="15503" y="694"/>
                  <a:pt x="15740" y="0"/>
                </a:cubicBezTo>
                <a:lnTo>
                  <a:pt x="14286" y="0"/>
                </a:lnTo>
                <a:cubicBezTo>
                  <a:pt x="14524" y="694"/>
                  <a:pt x="14658" y="1414"/>
                  <a:pt x="14689" y="2137"/>
                </a:cubicBezTo>
                <a:cubicBezTo>
                  <a:pt x="13966" y="2106"/>
                  <a:pt x="13246" y="1972"/>
                  <a:pt x="12552" y="1734"/>
                </a:cubicBezTo>
                <a:lnTo>
                  <a:pt x="12552" y="3188"/>
                </a:lnTo>
                <a:cubicBezTo>
                  <a:pt x="13246" y="2951"/>
                  <a:pt x="13966" y="2817"/>
                  <a:pt x="14689" y="2786"/>
                </a:cubicBezTo>
                <a:cubicBezTo>
                  <a:pt x="14658" y="3509"/>
                  <a:pt x="14524" y="4228"/>
                  <a:pt x="14286" y="4922"/>
                </a:cubicBezTo>
                <a:lnTo>
                  <a:pt x="14544" y="4922"/>
                </a:lnTo>
                <a:lnTo>
                  <a:pt x="14480" y="5510"/>
                </a:lnTo>
                <a:cubicBezTo>
                  <a:pt x="11241" y="3569"/>
                  <a:pt x="8294" y="2450"/>
                  <a:pt x="6923" y="5772"/>
                </a:cubicBezTo>
                <a:cubicBezTo>
                  <a:pt x="4921" y="5360"/>
                  <a:pt x="3010" y="5420"/>
                  <a:pt x="1991" y="6492"/>
                </a:cubicBezTo>
                <a:cubicBezTo>
                  <a:pt x="0" y="8585"/>
                  <a:pt x="1616" y="12496"/>
                  <a:pt x="4232" y="15375"/>
                </a:cubicBezTo>
                <a:cubicBezTo>
                  <a:pt x="5634" y="16918"/>
                  <a:pt x="7615" y="18699"/>
                  <a:pt x="8460" y="20000"/>
                </a:cubicBezTo>
                <a:lnTo>
                  <a:pt x="21571" y="20000"/>
                </a:lnTo>
                <a:cubicBezTo>
                  <a:pt x="22231" y="18493"/>
                  <a:pt x="24476" y="16600"/>
                  <a:pt x="25898" y="15226"/>
                </a:cubicBezTo>
                <a:cubicBezTo>
                  <a:pt x="27194" y="13973"/>
                  <a:pt x="29809" y="9757"/>
                  <a:pt x="28528" y="7350"/>
                </a:cubicBezTo>
                <a:close/>
                <a:moveTo>
                  <a:pt x="7576" y="17144"/>
                </a:moveTo>
                <a:cubicBezTo>
                  <a:pt x="5819" y="15382"/>
                  <a:pt x="3356" y="12428"/>
                  <a:pt x="3033" y="10502"/>
                </a:cubicBezTo>
                <a:cubicBezTo>
                  <a:pt x="2701" y="8530"/>
                  <a:pt x="4435" y="7331"/>
                  <a:pt x="6631" y="7856"/>
                </a:cubicBezTo>
                <a:cubicBezTo>
                  <a:pt x="6579" y="9490"/>
                  <a:pt x="7055" y="10995"/>
                  <a:pt x="7576" y="12309"/>
                </a:cubicBezTo>
                <a:cubicBezTo>
                  <a:pt x="8356" y="14278"/>
                  <a:pt x="9600" y="15937"/>
                  <a:pt x="10447" y="17144"/>
                </a:cubicBezTo>
                <a:lnTo>
                  <a:pt x="7576" y="17144"/>
                </a:lnTo>
                <a:close/>
                <a:moveTo>
                  <a:pt x="11411" y="17147"/>
                </a:moveTo>
                <a:lnTo>
                  <a:pt x="11411" y="17147"/>
                </a:lnTo>
                <a:cubicBezTo>
                  <a:pt x="9330" y="13268"/>
                  <a:pt x="8130" y="10279"/>
                  <a:pt x="8463" y="8261"/>
                </a:cubicBezTo>
                <a:cubicBezTo>
                  <a:pt x="8902" y="5592"/>
                  <a:pt x="12118" y="6132"/>
                  <a:pt x="14190" y="8061"/>
                </a:cubicBezTo>
                <a:cubicBezTo>
                  <a:pt x="13936" y="11075"/>
                  <a:pt x="13962" y="14103"/>
                  <a:pt x="14290" y="17147"/>
                </a:cubicBezTo>
                <a:lnTo>
                  <a:pt x="11411" y="17147"/>
                </a:lnTo>
                <a:close/>
                <a:moveTo>
                  <a:pt x="15649" y="17147"/>
                </a:moveTo>
                <a:lnTo>
                  <a:pt x="15649" y="17147"/>
                </a:lnTo>
                <a:cubicBezTo>
                  <a:pt x="15977" y="14103"/>
                  <a:pt x="16003" y="11075"/>
                  <a:pt x="15749" y="8061"/>
                </a:cubicBezTo>
                <a:cubicBezTo>
                  <a:pt x="17821" y="6132"/>
                  <a:pt x="21037" y="5592"/>
                  <a:pt x="21476" y="8261"/>
                </a:cubicBezTo>
                <a:cubicBezTo>
                  <a:pt x="21809" y="10279"/>
                  <a:pt x="20609" y="13268"/>
                  <a:pt x="18528" y="17147"/>
                </a:cubicBezTo>
                <a:lnTo>
                  <a:pt x="15649" y="17147"/>
                </a:lnTo>
                <a:close/>
                <a:moveTo>
                  <a:pt x="26928" y="10502"/>
                </a:moveTo>
                <a:cubicBezTo>
                  <a:pt x="26605" y="12428"/>
                  <a:pt x="24142" y="15382"/>
                  <a:pt x="22385" y="17144"/>
                </a:cubicBezTo>
                <a:lnTo>
                  <a:pt x="19514" y="17144"/>
                </a:lnTo>
                <a:cubicBezTo>
                  <a:pt x="20361" y="15937"/>
                  <a:pt x="21605" y="14278"/>
                  <a:pt x="22385" y="12309"/>
                </a:cubicBezTo>
                <a:cubicBezTo>
                  <a:pt x="22906" y="10995"/>
                  <a:pt x="23382" y="9490"/>
                  <a:pt x="23330" y="7856"/>
                </a:cubicBezTo>
                <a:cubicBezTo>
                  <a:pt x="25526" y="7331"/>
                  <a:pt x="27259" y="8530"/>
                  <a:pt x="26928" y="10502"/>
                </a:cubicBezTo>
                <a:close/>
              </a:path>
            </a:pathLst>
          </a:custGeom>
          <a:solidFill>
            <a:schemeClr val="bg1"/>
          </a:solid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61" name="Custom"/>
          <p:cNvSpPr>
            <a:spLocks noChangeAspect="1" noEditPoints="1"/>
          </p:cNvSpPr>
          <p:nvPr>
            <p:custDataLst>
              <p:tags r:id="rId3"/>
            </p:custDataLst>
          </p:nvPr>
        </p:nvSpPr>
        <p:spPr bwMode="auto">
          <a:xfrm>
            <a:off x="3920234" y="3819583"/>
            <a:ext cx="324854" cy="278590"/>
          </a:xfrm>
          <a:custGeom>
            <a:avLst/>
            <a:gdLst>
              <a:gd name="T0" fmla="*/ 693 w 5475"/>
              <a:gd name="T1" fmla="*/ 4519 h 4687"/>
              <a:gd name="T2" fmla="*/ 660 w 5475"/>
              <a:gd name="T3" fmla="*/ 4002 h 4687"/>
              <a:gd name="T4" fmla="*/ 150 w 5475"/>
              <a:gd name="T5" fmla="*/ 3970 h 4687"/>
              <a:gd name="T6" fmla="*/ 1 w 5475"/>
              <a:gd name="T7" fmla="*/ 2841 h 4687"/>
              <a:gd name="T8" fmla="*/ 29 w 5475"/>
              <a:gd name="T9" fmla="*/ 1832 h 4687"/>
              <a:gd name="T10" fmla="*/ 651 w 5475"/>
              <a:gd name="T11" fmla="*/ 1700 h 4687"/>
              <a:gd name="T12" fmla="*/ 675 w 5475"/>
              <a:gd name="T13" fmla="*/ 3987 h 4687"/>
              <a:gd name="T14" fmla="*/ 2936 w 5475"/>
              <a:gd name="T15" fmla="*/ 3998 h 4687"/>
              <a:gd name="T16" fmla="*/ 2910 w 5475"/>
              <a:gd name="T17" fmla="*/ 4552 h 4687"/>
              <a:gd name="T18" fmla="*/ 1802 w 5475"/>
              <a:gd name="T19" fmla="*/ 4687 h 4687"/>
              <a:gd name="T20" fmla="*/ 3250 w 5475"/>
              <a:gd name="T21" fmla="*/ 4345 h 4687"/>
              <a:gd name="T22" fmla="*/ 4077 w 5475"/>
              <a:gd name="T23" fmla="*/ 3987 h 4687"/>
              <a:gd name="T24" fmla="*/ 4860 w 5475"/>
              <a:gd name="T25" fmla="*/ 3834 h 4687"/>
              <a:gd name="T26" fmla="*/ 4228 w 5475"/>
              <a:gd name="T27" fmla="*/ 3678 h 4687"/>
              <a:gd name="T28" fmla="*/ 4324 w 5475"/>
              <a:gd name="T29" fmla="*/ 2678 h 4687"/>
              <a:gd name="T30" fmla="*/ 5106 w 5475"/>
              <a:gd name="T31" fmla="*/ 1708 h 4687"/>
              <a:gd name="T32" fmla="*/ 5475 w 5475"/>
              <a:gd name="T33" fmla="*/ 3414 h 4687"/>
              <a:gd name="T34" fmla="*/ 4363 w 5475"/>
              <a:gd name="T35" fmla="*/ 4687 h 4687"/>
              <a:gd name="T36" fmla="*/ 3250 w 5475"/>
              <a:gd name="T37" fmla="*/ 4345 h 4687"/>
              <a:gd name="T38" fmla="*/ 1592 w 5475"/>
              <a:gd name="T39" fmla="*/ 3741 h 4687"/>
              <a:gd name="T40" fmla="*/ 2258 w 5475"/>
              <a:gd name="T41" fmla="*/ 2636 h 4687"/>
              <a:gd name="T42" fmla="*/ 4673 w 5475"/>
              <a:gd name="T43" fmla="*/ 1719 h 4687"/>
              <a:gd name="T44" fmla="*/ 3250 w 5475"/>
              <a:gd name="T45" fmla="*/ 2963 h 4687"/>
              <a:gd name="T46" fmla="*/ 2675 w 5475"/>
              <a:gd name="T47" fmla="*/ 3059 h 4687"/>
              <a:gd name="T48" fmla="*/ 1744 w 5475"/>
              <a:gd name="T49" fmla="*/ 3895 h 4687"/>
              <a:gd name="T50" fmla="*/ 3526 w 5475"/>
              <a:gd name="T51" fmla="*/ 1011 h 4687"/>
              <a:gd name="T52" fmla="*/ 3380 w 5475"/>
              <a:gd name="T53" fmla="*/ 910 h 4687"/>
              <a:gd name="T54" fmla="*/ 3354 w 5475"/>
              <a:gd name="T55" fmla="*/ 737 h 4687"/>
              <a:gd name="T56" fmla="*/ 4107 w 5475"/>
              <a:gd name="T57" fmla="*/ 594 h 4687"/>
              <a:gd name="T58" fmla="*/ 4748 w 5475"/>
              <a:gd name="T59" fmla="*/ 756 h 4687"/>
              <a:gd name="T60" fmla="*/ 4044 w 5475"/>
              <a:gd name="T61" fmla="*/ 1511 h 4687"/>
              <a:gd name="T62" fmla="*/ 3177 w 5475"/>
              <a:gd name="T63" fmla="*/ 28 h 4687"/>
              <a:gd name="T64" fmla="*/ 3948 w 5475"/>
              <a:gd name="T65" fmla="*/ 0 h 4687"/>
              <a:gd name="T66" fmla="*/ 4742 w 5475"/>
              <a:gd name="T67" fmla="*/ 28 h 4687"/>
              <a:gd name="T68" fmla="*/ 4102 w 5475"/>
              <a:gd name="T69" fmla="*/ 450 h 4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75" h="4687">
                <a:moveTo>
                  <a:pt x="832" y="4664"/>
                </a:moveTo>
                <a:cubicBezTo>
                  <a:pt x="770" y="4635"/>
                  <a:pt x="721" y="4584"/>
                  <a:pt x="693" y="4519"/>
                </a:cubicBezTo>
                <a:cubicBezTo>
                  <a:pt x="676" y="4479"/>
                  <a:pt x="670" y="4419"/>
                  <a:pt x="665" y="4235"/>
                </a:cubicBezTo>
                <a:lnTo>
                  <a:pt x="660" y="4002"/>
                </a:lnTo>
                <a:lnTo>
                  <a:pt x="427" y="3998"/>
                </a:lnTo>
                <a:cubicBezTo>
                  <a:pt x="230" y="3994"/>
                  <a:pt x="187" y="3990"/>
                  <a:pt x="150" y="3970"/>
                </a:cubicBezTo>
                <a:cubicBezTo>
                  <a:pt x="89" y="3938"/>
                  <a:pt x="52" y="3901"/>
                  <a:pt x="24" y="3847"/>
                </a:cubicBezTo>
                <a:cubicBezTo>
                  <a:pt x="1" y="3803"/>
                  <a:pt x="0" y="3760"/>
                  <a:pt x="1" y="2841"/>
                </a:cubicBezTo>
                <a:lnTo>
                  <a:pt x="1" y="1881"/>
                </a:lnTo>
                <a:lnTo>
                  <a:pt x="29" y="1832"/>
                </a:lnTo>
                <a:cubicBezTo>
                  <a:pt x="66" y="1766"/>
                  <a:pt x="141" y="1715"/>
                  <a:pt x="224" y="1700"/>
                </a:cubicBezTo>
                <a:cubicBezTo>
                  <a:pt x="312" y="1683"/>
                  <a:pt x="620" y="1684"/>
                  <a:pt x="651" y="1700"/>
                </a:cubicBezTo>
                <a:cubicBezTo>
                  <a:pt x="675" y="1713"/>
                  <a:pt x="675" y="1739"/>
                  <a:pt x="675" y="2850"/>
                </a:cubicBezTo>
                <a:lnTo>
                  <a:pt x="675" y="3987"/>
                </a:lnTo>
                <a:lnTo>
                  <a:pt x="1797" y="3988"/>
                </a:lnTo>
                <a:cubicBezTo>
                  <a:pt x="2414" y="3988"/>
                  <a:pt x="2927" y="3992"/>
                  <a:pt x="2936" y="3998"/>
                </a:cubicBezTo>
                <a:cubicBezTo>
                  <a:pt x="2949" y="4007"/>
                  <a:pt x="2951" y="4060"/>
                  <a:pt x="2948" y="4251"/>
                </a:cubicBezTo>
                <a:cubicBezTo>
                  <a:pt x="2944" y="4490"/>
                  <a:pt x="2944" y="4495"/>
                  <a:pt x="2910" y="4552"/>
                </a:cubicBezTo>
                <a:cubicBezTo>
                  <a:pt x="2872" y="4616"/>
                  <a:pt x="2830" y="4650"/>
                  <a:pt x="2764" y="4673"/>
                </a:cubicBezTo>
                <a:cubicBezTo>
                  <a:pt x="2734" y="4683"/>
                  <a:pt x="2464" y="4687"/>
                  <a:pt x="1802" y="4687"/>
                </a:cubicBezTo>
                <a:cubicBezTo>
                  <a:pt x="933" y="4687"/>
                  <a:pt x="879" y="4686"/>
                  <a:pt x="832" y="4664"/>
                </a:cubicBezTo>
                <a:close/>
                <a:moveTo>
                  <a:pt x="3250" y="4345"/>
                </a:moveTo>
                <a:cubicBezTo>
                  <a:pt x="3250" y="4044"/>
                  <a:pt x="3253" y="4002"/>
                  <a:pt x="3270" y="3995"/>
                </a:cubicBezTo>
                <a:cubicBezTo>
                  <a:pt x="3281" y="3991"/>
                  <a:pt x="3644" y="3987"/>
                  <a:pt x="4077" y="3987"/>
                </a:cubicBezTo>
                <a:lnTo>
                  <a:pt x="4864" y="3987"/>
                </a:lnTo>
                <a:lnTo>
                  <a:pt x="4860" y="3834"/>
                </a:lnTo>
                <a:lnTo>
                  <a:pt x="4857" y="3681"/>
                </a:lnTo>
                <a:lnTo>
                  <a:pt x="4228" y="3678"/>
                </a:lnTo>
                <a:cubicBezTo>
                  <a:pt x="3841" y="3676"/>
                  <a:pt x="3600" y="3670"/>
                  <a:pt x="3600" y="3663"/>
                </a:cubicBezTo>
                <a:cubicBezTo>
                  <a:pt x="3600" y="3656"/>
                  <a:pt x="3926" y="3213"/>
                  <a:pt x="4324" y="2678"/>
                </a:cubicBezTo>
                <a:lnTo>
                  <a:pt x="5047" y="1706"/>
                </a:lnTo>
                <a:lnTo>
                  <a:pt x="5106" y="1708"/>
                </a:lnTo>
                <a:cubicBezTo>
                  <a:pt x="5272" y="1714"/>
                  <a:pt x="5424" y="1870"/>
                  <a:pt x="5463" y="2074"/>
                </a:cubicBezTo>
                <a:cubicBezTo>
                  <a:pt x="5471" y="2116"/>
                  <a:pt x="5475" y="2611"/>
                  <a:pt x="5475" y="3414"/>
                </a:cubicBezTo>
                <a:lnTo>
                  <a:pt x="5475" y="4687"/>
                </a:lnTo>
                <a:lnTo>
                  <a:pt x="4363" y="4687"/>
                </a:lnTo>
                <a:lnTo>
                  <a:pt x="3250" y="4687"/>
                </a:lnTo>
                <a:lnTo>
                  <a:pt x="3250" y="4345"/>
                </a:lnTo>
                <a:close/>
                <a:moveTo>
                  <a:pt x="1744" y="3895"/>
                </a:moveTo>
                <a:cubicBezTo>
                  <a:pt x="1676" y="3864"/>
                  <a:pt x="1620" y="3806"/>
                  <a:pt x="1592" y="3741"/>
                </a:cubicBezTo>
                <a:cubicBezTo>
                  <a:pt x="1566" y="3679"/>
                  <a:pt x="1571" y="3570"/>
                  <a:pt x="1602" y="3509"/>
                </a:cubicBezTo>
                <a:cubicBezTo>
                  <a:pt x="1616" y="3481"/>
                  <a:pt x="1912" y="3088"/>
                  <a:pt x="2258" y="2636"/>
                </a:cubicBezTo>
                <a:cubicBezTo>
                  <a:pt x="2941" y="1746"/>
                  <a:pt x="2930" y="1759"/>
                  <a:pt x="3081" y="1719"/>
                </a:cubicBezTo>
                <a:cubicBezTo>
                  <a:pt x="3192" y="1690"/>
                  <a:pt x="4679" y="1690"/>
                  <a:pt x="4673" y="1719"/>
                </a:cubicBezTo>
                <a:cubicBezTo>
                  <a:pt x="4667" y="1745"/>
                  <a:pt x="3277" y="3587"/>
                  <a:pt x="3262" y="3587"/>
                </a:cubicBezTo>
                <a:cubicBezTo>
                  <a:pt x="3255" y="3587"/>
                  <a:pt x="3250" y="3347"/>
                  <a:pt x="3250" y="2963"/>
                </a:cubicBezTo>
                <a:cubicBezTo>
                  <a:pt x="3250" y="2612"/>
                  <a:pt x="3246" y="2336"/>
                  <a:pt x="3239" y="2332"/>
                </a:cubicBezTo>
                <a:cubicBezTo>
                  <a:pt x="3233" y="2328"/>
                  <a:pt x="2979" y="2656"/>
                  <a:pt x="2675" y="3059"/>
                </a:cubicBezTo>
                <a:cubicBezTo>
                  <a:pt x="2371" y="3463"/>
                  <a:pt x="2104" y="3812"/>
                  <a:pt x="2083" y="3835"/>
                </a:cubicBezTo>
                <a:cubicBezTo>
                  <a:pt x="1995" y="3929"/>
                  <a:pt x="1866" y="3952"/>
                  <a:pt x="1744" y="3895"/>
                </a:cubicBezTo>
                <a:close/>
                <a:moveTo>
                  <a:pt x="4044" y="1511"/>
                </a:moveTo>
                <a:cubicBezTo>
                  <a:pt x="3780" y="1477"/>
                  <a:pt x="3568" y="1272"/>
                  <a:pt x="3526" y="1011"/>
                </a:cubicBezTo>
                <a:cubicBezTo>
                  <a:pt x="3519" y="967"/>
                  <a:pt x="3513" y="927"/>
                  <a:pt x="3513" y="922"/>
                </a:cubicBezTo>
                <a:cubicBezTo>
                  <a:pt x="3513" y="917"/>
                  <a:pt x="3453" y="912"/>
                  <a:pt x="3380" y="910"/>
                </a:cubicBezTo>
                <a:cubicBezTo>
                  <a:pt x="3303" y="908"/>
                  <a:pt x="3244" y="901"/>
                  <a:pt x="3242" y="893"/>
                </a:cubicBezTo>
                <a:cubicBezTo>
                  <a:pt x="3240" y="886"/>
                  <a:pt x="3290" y="816"/>
                  <a:pt x="3354" y="737"/>
                </a:cubicBezTo>
                <a:lnTo>
                  <a:pt x="3470" y="594"/>
                </a:lnTo>
                <a:lnTo>
                  <a:pt x="4107" y="594"/>
                </a:lnTo>
                <a:lnTo>
                  <a:pt x="4744" y="594"/>
                </a:lnTo>
                <a:lnTo>
                  <a:pt x="4748" y="756"/>
                </a:lnTo>
                <a:cubicBezTo>
                  <a:pt x="4752" y="959"/>
                  <a:pt x="4735" y="1065"/>
                  <a:pt x="4679" y="1177"/>
                </a:cubicBezTo>
                <a:cubicBezTo>
                  <a:pt x="4562" y="1410"/>
                  <a:pt x="4306" y="1545"/>
                  <a:pt x="4044" y="1511"/>
                </a:cubicBezTo>
                <a:close/>
                <a:moveTo>
                  <a:pt x="3460" y="434"/>
                </a:moveTo>
                <a:cubicBezTo>
                  <a:pt x="3440" y="418"/>
                  <a:pt x="3203" y="79"/>
                  <a:pt x="3177" y="28"/>
                </a:cubicBezTo>
                <a:lnTo>
                  <a:pt x="3162" y="0"/>
                </a:lnTo>
                <a:lnTo>
                  <a:pt x="3948" y="0"/>
                </a:lnTo>
                <a:lnTo>
                  <a:pt x="4735" y="0"/>
                </a:lnTo>
                <a:lnTo>
                  <a:pt x="4742" y="28"/>
                </a:lnTo>
                <a:cubicBezTo>
                  <a:pt x="4755" y="76"/>
                  <a:pt x="4751" y="400"/>
                  <a:pt x="4737" y="426"/>
                </a:cubicBezTo>
                <a:cubicBezTo>
                  <a:pt x="4725" y="449"/>
                  <a:pt x="4705" y="450"/>
                  <a:pt x="4102" y="450"/>
                </a:cubicBezTo>
                <a:cubicBezTo>
                  <a:pt x="3623" y="450"/>
                  <a:pt x="3476" y="446"/>
                  <a:pt x="3460" y="434"/>
                </a:cubicBezTo>
                <a:close/>
              </a:path>
            </a:pathLst>
          </a:custGeom>
          <a:solidFill>
            <a:schemeClr val="bg1"/>
          </a:solid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73" name="Title 1"/>
          <p:cNvSpPr>
            <a:spLocks noGrp="1"/>
          </p:cNvSpPr>
          <p:nvPr>
            <p:ph type="title"/>
          </p:nvPr>
        </p:nvSpPr>
        <p:spPr>
          <a:xfrm>
            <a:off x="273713" y="-9021"/>
            <a:ext cx="7349769" cy="770789"/>
          </a:xfrm>
        </p:spPr>
        <p:txBody>
          <a:bodyPr>
            <a:normAutofit/>
          </a:bodyPr>
          <a:lstStyle/>
          <a:p>
            <a:pPr algn="l"/>
            <a:r>
              <a:rPr lang="tr-TR" sz="3613"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rPr>
              <a:t>DESTEK ÜST LİMİT VE ORANLARI</a:t>
            </a:r>
            <a:endParaRPr lang="en-US" sz="3613"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endParaRPr>
          </a:p>
        </p:txBody>
      </p:sp>
      <p:pic>
        <p:nvPicPr>
          <p:cNvPr id="74" name="Picture 3"/>
          <p:cNvPicPr>
            <a:picLocks noChangeAspect="1" noChangeArrowheads="1"/>
          </p:cNvPicPr>
          <p:nvPr/>
        </p:nvPicPr>
        <p:blipFill>
          <a:blip r:embed="rId6" cstate="print"/>
          <a:srcRect/>
          <a:stretch>
            <a:fillRect/>
          </a:stretch>
        </p:blipFill>
        <p:spPr bwMode="auto">
          <a:xfrm>
            <a:off x="10970036" y="176129"/>
            <a:ext cx="720038" cy="507884"/>
          </a:xfrm>
          <a:prstGeom prst="rect">
            <a:avLst/>
          </a:prstGeom>
          <a:noFill/>
          <a:ln w="9525">
            <a:noFill/>
            <a:miter lim="800000"/>
            <a:headEnd/>
            <a:tailEnd/>
          </a:ln>
        </p:spPr>
      </p:pic>
      <p:grpSp>
        <p:nvGrpSpPr>
          <p:cNvPr id="8" name="Grup 7"/>
          <p:cNvGrpSpPr/>
          <p:nvPr/>
        </p:nvGrpSpPr>
        <p:grpSpPr>
          <a:xfrm>
            <a:off x="7623482" y="1523500"/>
            <a:ext cx="2434800" cy="1923025"/>
            <a:chOff x="5753323" y="966192"/>
            <a:chExt cx="2425923" cy="1916014"/>
          </a:xfrm>
          <a:scene3d>
            <a:camera prst="orthographicFront"/>
            <a:lightRig rig="threePt" dir="t">
              <a:rot lat="0" lon="0" rev="7500000"/>
            </a:lightRig>
          </a:scene3d>
        </p:grpSpPr>
        <p:sp>
          <p:nvSpPr>
            <p:cNvPr id="9" name="Oval 8"/>
            <p:cNvSpPr/>
            <p:nvPr/>
          </p:nvSpPr>
          <p:spPr>
            <a:xfrm>
              <a:off x="5753323" y="966192"/>
              <a:ext cx="2425923" cy="1916014"/>
            </a:xfrm>
            <a:prstGeom prst="ellipse">
              <a:avLst/>
            </a:prstGeom>
            <a:sp3d prstMaterial="plastic">
              <a:bevelT w="127000" h="25400" prst="relaxedInset"/>
            </a:sp3d>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10" name="Oval 4"/>
            <p:cNvSpPr/>
            <p:nvPr/>
          </p:nvSpPr>
          <p:spPr>
            <a:xfrm>
              <a:off x="5941592" y="1094925"/>
              <a:ext cx="1715387" cy="135482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marR="0" lvl="0" indent="0" algn="ctr" defTabSz="1249205" rtl="0" eaLnBrk="1" fontAlgn="base" latinLnBrk="0" hangingPunct="1">
                <a:lnSpc>
                  <a:spcPct val="90000"/>
                </a:lnSpc>
                <a:spcBef>
                  <a:spcPct val="0"/>
                </a:spcBef>
                <a:spcAft>
                  <a:spcPct val="35000"/>
                </a:spcAft>
                <a:buClrTx/>
                <a:buSzTx/>
                <a:buFontTx/>
                <a:buNone/>
                <a:tabLst/>
                <a:defRPr/>
              </a:pPr>
              <a:r>
                <a:rPr kumimoji="0" lang="tr-TR" sz="2810" b="0" i="0" u="none" strike="noStrike" kern="1200" cap="none" spc="0" normalizeH="0" baseline="0" noProof="0" dirty="0">
                  <a:ln>
                    <a:noFill/>
                  </a:ln>
                  <a:solidFill>
                    <a:prstClr val="white"/>
                  </a:solidFill>
                  <a:effectLst/>
                  <a:uLnTx/>
                  <a:uFillTx/>
                  <a:latin typeface="Calibri Light" panose="020F0302020204030204"/>
                  <a:ea typeface="+mn-ea"/>
                  <a:cs typeface="+mn-cs"/>
                </a:rPr>
                <a:t>Destek Oranı %60</a:t>
              </a:r>
            </a:p>
          </p:txBody>
        </p:sp>
      </p:grpSp>
      <p:grpSp>
        <p:nvGrpSpPr>
          <p:cNvPr id="11" name="Grup 10"/>
          <p:cNvGrpSpPr/>
          <p:nvPr/>
        </p:nvGrpSpPr>
        <p:grpSpPr>
          <a:xfrm>
            <a:off x="8126806" y="3070319"/>
            <a:ext cx="3697580" cy="1350134"/>
            <a:chOff x="7175874" y="1700231"/>
            <a:chExt cx="2874022" cy="1775352"/>
          </a:xfrm>
          <a:scene3d>
            <a:camera prst="orthographicFront"/>
            <a:lightRig rig="threePt" dir="t">
              <a:rot lat="0" lon="0" rev="7500000"/>
            </a:lightRig>
          </a:scene3d>
        </p:grpSpPr>
        <p:sp>
          <p:nvSpPr>
            <p:cNvPr id="12" name="Dikdörtgen 11"/>
            <p:cNvSpPr/>
            <p:nvPr/>
          </p:nvSpPr>
          <p:spPr>
            <a:xfrm>
              <a:off x="7175874" y="1700231"/>
              <a:ext cx="2874022" cy="1742700"/>
            </a:xfrm>
            <a:prstGeom prst="rect">
              <a:avLst/>
            </a:prstGeom>
            <a:sp3d z="-152400" extrusionH="63500" prstMaterial="dkEdge">
              <a:bevelT w="144450" h="36350" prst="relaxedInset"/>
              <a:contourClr>
                <a:schemeClr val="bg1"/>
              </a:contourClr>
            </a:sp3d>
          </p:spPr>
          <p:style>
            <a:lnRef idx="1">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2">
              <a:schemeClr val="accent5">
                <a:alpha val="90000"/>
                <a:tint val="40000"/>
                <a:hueOff val="0"/>
                <a:satOff val="0"/>
                <a:lumOff val="0"/>
                <a:alphaOff val="0"/>
              </a:schemeClr>
            </a:effectRef>
            <a:fontRef idx="minor">
              <a:schemeClr val="dk1">
                <a:hueOff val="0"/>
                <a:satOff val="0"/>
                <a:lumOff val="0"/>
                <a:alphaOff val="0"/>
              </a:schemeClr>
            </a:fontRef>
          </p:style>
        </p:sp>
        <p:sp>
          <p:nvSpPr>
            <p:cNvPr id="13" name="Dikdörtgen 12"/>
            <p:cNvSpPr/>
            <p:nvPr/>
          </p:nvSpPr>
          <p:spPr>
            <a:xfrm>
              <a:off x="7405796" y="1732882"/>
              <a:ext cx="2414178" cy="1742701"/>
            </a:xfrm>
            <a:prstGeom prst="rect">
              <a:avLst/>
            </a:prstGeom>
            <a:sp3d z="-1524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228417" rIns="228417" bIns="228417" numCol="1" spcCol="1270" anchor="ctr" anchorCtr="0">
              <a:noAutofit/>
            </a:bodyPr>
            <a:lstStyle/>
            <a:p>
              <a:pPr marL="0" marR="0" lvl="0" indent="0" algn="l" defTabSz="1427663" rtl="0" eaLnBrk="1" fontAlgn="base" latinLnBrk="0" hangingPunct="1">
                <a:lnSpc>
                  <a:spcPct val="90000"/>
                </a:lnSpc>
                <a:spcBef>
                  <a:spcPct val="0"/>
                </a:spcBef>
                <a:spcAft>
                  <a:spcPct val="35000"/>
                </a:spcAft>
                <a:buClrTx/>
                <a:buSzTx/>
                <a:buFontTx/>
                <a:buNone/>
                <a:tabLst/>
                <a:defRPr/>
              </a:pPr>
              <a:r>
                <a:rPr kumimoji="0" lang="tr-TR" sz="2400" b="0" i="0" u="none" strike="noStrike" kern="1200" cap="none" spc="0" normalizeH="0" baseline="0" noProof="0" dirty="0">
                  <a:ln>
                    <a:noFill/>
                  </a:ln>
                  <a:solidFill>
                    <a:prstClr val="black">
                      <a:hueOff val="0"/>
                      <a:satOff val="0"/>
                      <a:lumOff val="0"/>
                      <a:alphaOff val="0"/>
                    </a:prstClr>
                  </a:solidFill>
                  <a:effectLst/>
                  <a:uLnTx/>
                  <a:uFillTx/>
                  <a:latin typeface="Calibri Light" panose="020F0302020204030204"/>
                  <a:ea typeface="+mn-ea"/>
                  <a:cs typeface="+mn-cs"/>
                </a:rPr>
                <a:t>%30’u Geri </a:t>
              </a:r>
              <a:r>
                <a:rPr kumimoji="0" lang="tr-TR" sz="2400" b="0" i="0" u="none" strike="noStrike" kern="1200" cap="none" spc="0" normalizeH="0" baseline="0" noProof="0" dirty="0" smtClean="0">
                  <a:ln>
                    <a:noFill/>
                  </a:ln>
                  <a:solidFill>
                    <a:prstClr val="black">
                      <a:hueOff val="0"/>
                      <a:satOff val="0"/>
                      <a:lumOff val="0"/>
                      <a:alphaOff val="0"/>
                    </a:prstClr>
                  </a:solidFill>
                  <a:effectLst/>
                  <a:uLnTx/>
                  <a:uFillTx/>
                  <a:latin typeface="Calibri Light" panose="020F0302020204030204"/>
                  <a:ea typeface="+mn-ea"/>
                  <a:cs typeface="+mn-cs"/>
                </a:rPr>
                <a:t>Ödemesiz      </a:t>
              </a:r>
              <a:r>
                <a:rPr kumimoji="0" lang="tr-TR" sz="2400" b="0" i="0" u="none" strike="noStrike" kern="1200" cap="none" spc="0" normalizeH="0" baseline="0" noProof="0" dirty="0">
                  <a:ln>
                    <a:noFill/>
                  </a:ln>
                  <a:solidFill>
                    <a:prstClr val="black">
                      <a:hueOff val="0"/>
                      <a:satOff val="0"/>
                      <a:lumOff val="0"/>
                      <a:alphaOff val="0"/>
                    </a:prstClr>
                  </a:solidFill>
                  <a:effectLst/>
                  <a:uLnTx/>
                  <a:uFillTx/>
                  <a:latin typeface="Calibri Light" panose="020F0302020204030204"/>
                  <a:ea typeface="+mn-ea"/>
                  <a:cs typeface="+mn-cs"/>
                </a:rPr>
                <a:t>%70’ i Geri Ödemeli</a:t>
              </a:r>
            </a:p>
          </p:txBody>
        </p:sp>
      </p:grpSp>
      <p:sp>
        <p:nvSpPr>
          <p:cNvPr id="3" name="Metin kutusu 2"/>
          <p:cNvSpPr txBox="1"/>
          <p:nvPr/>
        </p:nvSpPr>
        <p:spPr>
          <a:xfrm>
            <a:off x="8688240" y="4529989"/>
            <a:ext cx="2740083" cy="926709"/>
          </a:xfrm>
          <a:prstGeom prst="rect">
            <a:avLst/>
          </a:prstGeom>
          <a:noFill/>
        </p:spPr>
        <p:txBody>
          <a:bodyPr wrap="square" rtlCol="0">
            <a:spAutoFit/>
          </a:bodyPr>
          <a:lstStyle/>
          <a:p>
            <a:pPr marR="0" lvl="0" algn="ctr" defTabSz="917783" rtl="0" eaLnBrk="1" fontAlgn="base" latinLnBrk="0" hangingPunct="1">
              <a:lnSpc>
                <a:spcPct val="100000"/>
              </a:lnSpc>
              <a:spcBef>
                <a:spcPct val="0"/>
              </a:spcBef>
              <a:spcAft>
                <a:spcPct val="0"/>
              </a:spcAft>
              <a:buClrTx/>
              <a:buSzTx/>
              <a:tabLst/>
              <a:defRPr/>
            </a:pP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Personel gideri desteği %100 oranında geri ödemesiz</a:t>
            </a:r>
          </a:p>
        </p:txBody>
      </p:sp>
      <p:graphicFrame>
        <p:nvGraphicFramePr>
          <p:cNvPr id="5" name="Diyagram 4"/>
          <p:cNvGraphicFramePr/>
          <p:nvPr>
            <p:extLst/>
          </p:nvPr>
        </p:nvGraphicFramePr>
        <p:xfrm>
          <a:off x="-1856358" y="684013"/>
          <a:ext cx="10655313" cy="596716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custDataLst>
      <p:tags r:id="rId1"/>
    </p:custDataLst>
    <p:extLst>
      <p:ext uri="{BB962C8B-B14F-4D97-AF65-F5344CB8AC3E}">
        <p14:creationId xmlns:p14="http://schemas.microsoft.com/office/powerpoint/2010/main" val="941714505"/>
      </p:ext>
    </p:extLst>
  </p:cSld>
  <p:clrMapOvr>
    <a:masterClrMapping/>
  </p:clrMapOvr>
  <mc:AlternateContent xmlns:mc="http://schemas.openxmlformats.org/markup-compatibility/2006" xmlns:p14="http://schemas.microsoft.com/office/powerpoint/2010/main">
    <mc:Choice Requires="p14">
      <p:transition spd="slow" p14:dur="2000" advTm="109571"/>
    </mc:Choice>
    <mc:Fallback xmlns="">
      <p:transition spd="slow" advTm="109571"/>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a:spLocks noChangeAspect="1"/>
          </p:cNvSpPr>
          <p:nvPr/>
        </p:nvSpPr>
        <p:spPr>
          <a:xfrm>
            <a:off x="1278797" y="2593596"/>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7783" rtl="0" eaLnBrk="1" fontAlgn="auto" latinLnBrk="0" hangingPunct="1">
              <a:lnSpc>
                <a:spcPct val="100000"/>
              </a:lnSpc>
              <a:spcBef>
                <a:spcPts val="0"/>
              </a:spcBef>
              <a:spcAft>
                <a:spcPts val="0"/>
              </a:spcAft>
              <a:buClrTx/>
              <a:buSzTx/>
              <a:buFontTx/>
              <a:buNone/>
              <a:tabLst/>
              <a:defRPr/>
            </a:pPr>
            <a:r>
              <a:rPr kumimoji="0" lang="en-US" sz="1606" b="0" i="0" u="none" strike="noStrike" kern="0" cap="none" spc="0" normalizeH="0" baseline="0" noProof="0" dirty="0">
                <a:ln>
                  <a:noFill/>
                </a:ln>
                <a:solidFill>
                  <a:prstClr val="white"/>
                </a:solidFill>
                <a:effectLst/>
                <a:uLnTx/>
                <a:uFillTx/>
                <a:latin typeface="Calibri"/>
                <a:ea typeface="+mn-ea"/>
                <a:cs typeface="+mn-cs"/>
              </a:rPr>
              <a:t>Makine-teçhizat </a:t>
            </a:r>
            <a:r>
              <a:rPr kumimoji="0" lang="en-US" sz="1606" b="0" i="0" u="none" strike="noStrike" kern="0" cap="none" spc="0" normalizeH="0" baseline="0" noProof="0" dirty="0" err="1">
                <a:ln>
                  <a:noFill/>
                </a:ln>
                <a:solidFill>
                  <a:prstClr val="white"/>
                </a:solidFill>
                <a:effectLst/>
                <a:uLnTx/>
                <a:uFillTx/>
                <a:latin typeface="Calibri"/>
                <a:ea typeface="+mn-ea"/>
                <a:cs typeface="+mn-cs"/>
              </a:rPr>
              <a:t>desteği</a:t>
            </a:r>
            <a:endParaRPr kumimoji="0" lang="en-US" sz="1606" b="0" i="0" u="none" strike="noStrike" kern="0" cap="none" spc="0" normalizeH="0" baseline="0" noProof="0" dirty="0">
              <a:ln>
                <a:noFill/>
              </a:ln>
              <a:solidFill>
                <a:prstClr val="white"/>
              </a:solidFill>
              <a:effectLst/>
              <a:uLnTx/>
              <a:uFillTx/>
              <a:latin typeface="Calibri"/>
              <a:ea typeface="+mn-ea"/>
              <a:cs typeface="+mn-cs"/>
            </a:endParaRPr>
          </a:p>
        </p:txBody>
      </p:sp>
      <p:sp>
        <p:nvSpPr>
          <p:cNvPr id="5" name="Freeform 4"/>
          <p:cNvSpPr>
            <a:spLocks noChangeAspect="1"/>
          </p:cNvSpPr>
          <p:nvPr/>
        </p:nvSpPr>
        <p:spPr>
          <a:xfrm>
            <a:off x="2816155" y="3379444"/>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7783" rtl="0" eaLnBrk="1" fontAlgn="auto" latinLnBrk="0" hangingPunct="1">
              <a:lnSpc>
                <a:spcPct val="100000"/>
              </a:lnSpc>
              <a:spcBef>
                <a:spcPts val="0"/>
              </a:spcBef>
              <a:spcAft>
                <a:spcPts val="0"/>
              </a:spcAft>
              <a:buClrTx/>
              <a:buSzTx/>
              <a:buFontTx/>
              <a:buNone/>
              <a:tabLst/>
              <a:defRPr/>
            </a:pPr>
            <a:r>
              <a:rPr kumimoji="0" lang="en-US" sz="1606" b="0" i="0" u="none" strike="noStrike" kern="0" cap="none" spc="0" normalizeH="0" baseline="0" noProof="0" dirty="0">
                <a:ln>
                  <a:noFill/>
                </a:ln>
                <a:solidFill>
                  <a:prstClr val="white"/>
                </a:solidFill>
                <a:effectLst/>
                <a:uLnTx/>
                <a:uFillTx/>
                <a:latin typeface="Calibri"/>
                <a:ea typeface="+mn-ea"/>
                <a:cs typeface="+mn-cs"/>
              </a:rPr>
              <a:t>Üretim </a:t>
            </a:r>
            <a:r>
              <a:rPr kumimoji="0" lang="en-US" sz="1606" b="0" i="0" u="none" strike="noStrike" kern="0" cap="none" spc="0" normalizeH="0" baseline="0" noProof="0" dirty="0" err="1">
                <a:ln>
                  <a:noFill/>
                </a:ln>
                <a:solidFill>
                  <a:prstClr val="white"/>
                </a:solidFill>
                <a:effectLst/>
                <a:uLnTx/>
                <a:uFillTx/>
                <a:latin typeface="Calibri"/>
                <a:ea typeface="+mn-ea"/>
                <a:cs typeface="+mn-cs"/>
              </a:rPr>
              <a:t>hattı</a:t>
            </a:r>
            <a:r>
              <a:rPr kumimoji="0" lang="en-US" sz="1606" b="0" i="0" u="none" strike="noStrike" kern="0" cap="none" spc="0" normalizeH="0" baseline="0" noProof="0" dirty="0">
                <a:ln>
                  <a:noFill/>
                </a:ln>
                <a:solidFill>
                  <a:prstClr val="white"/>
                </a:solidFill>
                <a:effectLst/>
                <a:uLnTx/>
                <a:uFillTx/>
                <a:latin typeface="Calibri"/>
                <a:ea typeface="+mn-ea"/>
                <a:cs typeface="+mn-cs"/>
              </a:rPr>
              <a:t> </a:t>
            </a:r>
            <a:r>
              <a:rPr kumimoji="0" lang="en-US" sz="1606" b="0" i="0" u="none" strike="noStrike" kern="0" cap="none" spc="0" normalizeH="0" baseline="0" noProof="0" dirty="0" err="1">
                <a:ln>
                  <a:noFill/>
                </a:ln>
                <a:solidFill>
                  <a:prstClr val="white"/>
                </a:solidFill>
                <a:effectLst/>
                <a:uLnTx/>
                <a:uFillTx/>
                <a:latin typeface="Calibri"/>
                <a:ea typeface="+mn-ea"/>
                <a:cs typeface="+mn-cs"/>
              </a:rPr>
              <a:t>tasarım</a:t>
            </a:r>
            <a:r>
              <a:rPr kumimoji="0" lang="en-US" sz="1606" b="0" i="0" u="none" strike="noStrike" kern="0" cap="none" spc="0" normalizeH="0" baseline="0" noProof="0" dirty="0">
                <a:ln>
                  <a:noFill/>
                </a:ln>
                <a:solidFill>
                  <a:prstClr val="white"/>
                </a:solidFill>
                <a:effectLst/>
                <a:uLnTx/>
                <a:uFillTx/>
                <a:latin typeface="Calibri"/>
                <a:ea typeface="+mn-ea"/>
                <a:cs typeface="+mn-cs"/>
              </a:rPr>
              <a:t> </a:t>
            </a:r>
            <a:r>
              <a:rPr kumimoji="0" lang="en-US" sz="1606" b="0" i="0" u="none" strike="noStrike" kern="0" cap="none" spc="0" normalizeH="0" baseline="0" noProof="0" dirty="0" err="1">
                <a:ln>
                  <a:noFill/>
                </a:ln>
                <a:solidFill>
                  <a:prstClr val="white"/>
                </a:solidFill>
                <a:effectLst/>
                <a:uLnTx/>
                <a:uFillTx/>
                <a:latin typeface="Calibri"/>
                <a:ea typeface="+mn-ea"/>
                <a:cs typeface="+mn-cs"/>
              </a:rPr>
              <a:t>giderleri</a:t>
            </a:r>
            <a:r>
              <a:rPr kumimoji="0" lang="en-US" sz="1606" b="0" i="0" u="none" strike="noStrike" kern="0" cap="none" spc="0" normalizeH="0" baseline="0" noProof="0" dirty="0">
                <a:ln>
                  <a:noFill/>
                </a:ln>
                <a:solidFill>
                  <a:prstClr val="white"/>
                </a:solidFill>
                <a:effectLst/>
                <a:uLnTx/>
                <a:uFillTx/>
                <a:latin typeface="Calibri"/>
                <a:ea typeface="+mn-ea"/>
                <a:cs typeface="+mn-cs"/>
              </a:rPr>
              <a:t> </a:t>
            </a:r>
            <a:r>
              <a:rPr kumimoji="0" lang="en-US" sz="1606" b="0" i="0" u="none" strike="noStrike" kern="0" cap="none" spc="0" normalizeH="0" baseline="0" noProof="0" dirty="0" err="1">
                <a:ln>
                  <a:noFill/>
                </a:ln>
                <a:solidFill>
                  <a:prstClr val="white"/>
                </a:solidFill>
                <a:effectLst/>
                <a:uLnTx/>
                <a:uFillTx/>
                <a:latin typeface="Calibri"/>
                <a:ea typeface="+mn-ea"/>
                <a:cs typeface="+mn-cs"/>
              </a:rPr>
              <a:t>desteği</a:t>
            </a:r>
            <a:endParaRPr kumimoji="0" lang="en-US" sz="1606" b="0" i="0" u="none" strike="noStrike" kern="0" cap="none" spc="0" normalizeH="0" baseline="0" noProof="0" dirty="0">
              <a:ln>
                <a:noFill/>
              </a:ln>
              <a:solidFill>
                <a:prstClr val="white"/>
              </a:solidFill>
              <a:effectLst/>
              <a:uLnTx/>
              <a:uFillTx/>
              <a:latin typeface="Calibri"/>
              <a:ea typeface="+mn-ea"/>
              <a:cs typeface="+mn-cs"/>
            </a:endParaRPr>
          </a:p>
        </p:txBody>
      </p:sp>
      <p:sp>
        <p:nvSpPr>
          <p:cNvPr id="6" name="Freeform 5"/>
          <p:cNvSpPr>
            <a:spLocks noChangeAspect="1"/>
          </p:cNvSpPr>
          <p:nvPr/>
        </p:nvSpPr>
        <p:spPr>
          <a:xfrm>
            <a:off x="4353512" y="2593595"/>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7783" rtl="0" eaLnBrk="1" fontAlgn="auto" latinLnBrk="0" hangingPunct="1">
              <a:lnSpc>
                <a:spcPct val="100000"/>
              </a:lnSpc>
              <a:spcBef>
                <a:spcPts val="0"/>
              </a:spcBef>
              <a:spcAft>
                <a:spcPts val="0"/>
              </a:spcAft>
              <a:buClrTx/>
              <a:buSzTx/>
              <a:buFontTx/>
              <a:buNone/>
              <a:tabLst/>
              <a:defRPr/>
            </a:pPr>
            <a:r>
              <a:rPr kumimoji="0" lang="en-US" sz="1606" b="0" i="0" u="none" strike="noStrike" kern="0" cap="none" spc="0" normalizeH="0" baseline="0" noProof="0" dirty="0">
                <a:ln>
                  <a:noFill/>
                </a:ln>
                <a:solidFill>
                  <a:prstClr val="white"/>
                </a:solidFill>
                <a:effectLst/>
                <a:uLnTx/>
                <a:uFillTx/>
                <a:latin typeface="Calibri"/>
                <a:ea typeface="+mn-ea"/>
                <a:cs typeface="+mn-cs"/>
              </a:rPr>
              <a:t>Yazılım </a:t>
            </a:r>
            <a:r>
              <a:rPr kumimoji="0" lang="en-US" sz="1606" b="0" i="0" u="none" strike="noStrike" kern="0" cap="none" spc="0" normalizeH="0" baseline="0" noProof="0" dirty="0" err="1">
                <a:ln>
                  <a:noFill/>
                </a:ln>
                <a:solidFill>
                  <a:prstClr val="white"/>
                </a:solidFill>
                <a:effectLst/>
                <a:uLnTx/>
                <a:uFillTx/>
                <a:latin typeface="Calibri"/>
                <a:ea typeface="+mn-ea"/>
                <a:cs typeface="+mn-cs"/>
              </a:rPr>
              <a:t>giderleri</a:t>
            </a:r>
            <a:r>
              <a:rPr kumimoji="0" lang="en-US" sz="1606" b="0" i="0" u="none" strike="noStrike" kern="0" cap="none" spc="0" normalizeH="0" baseline="0" noProof="0" dirty="0">
                <a:ln>
                  <a:noFill/>
                </a:ln>
                <a:solidFill>
                  <a:prstClr val="white"/>
                </a:solidFill>
                <a:effectLst/>
                <a:uLnTx/>
                <a:uFillTx/>
                <a:latin typeface="Calibri"/>
                <a:ea typeface="+mn-ea"/>
                <a:cs typeface="+mn-cs"/>
              </a:rPr>
              <a:t> </a:t>
            </a:r>
            <a:r>
              <a:rPr kumimoji="0" lang="en-US" sz="1606" b="0" i="0" u="none" strike="noStrike" kern="0" cap="none" spc="0" normalizeH="0" baseline="0" noProof="0" dirty="0" err="1">
                <a:ln>
                  <a:noFill/>
                </a:ln>
                <a:solidFill>
                  <a:prstClr val="white"/>
                </a:solidFill>
                <a:effectLst/>
                <a:uLnTx/>
                <a:uFillTx/>
                <a:latin typeface="Calibri"/>
                <a:ea typeface="+mn-ea"/>
                <a:cs typeface="+mn-cs"/>
              </a:rPr>
              <a:t>desteği</a:t>
            </a:r>
            <a:endParaRPr kumimoji="0" lang="en-US" sz="1606" b="0" i="0" u="none" strike="noStrike" kern="0" cap="none" spc="0" normalizeH="0" baseline="0" noProof="0" dirty="0">
              <a:ln>
                <a:noFill/>
              </a:ln>
              <a:solidFill>
                <a:prstClr val="white"/>
              </a:solidFill>
              <a:effectLst/>
              <a:uLnTx/>
              <a:uFillTx/>
              <a:latin typeface="Calibri"/>
              <a:ea typeface="+mn-ea"/>
              <a:cs typeface="+mn-cs"/>
            </a:endParaRPr>
          </a:p>
        </p:txBody>
      </p:sp>
      <p:sp>
        <p:nvSpPr>
          <p:cNvPr id="7" name="Freeform 6"/>
          <p:cNvSpPr>
            <a:spLocks noChangeAspect="1"/>
          </p:cNvSpPr>
          <p:nvPr/>
        </p:nvSpPr>
        <p:spPr>
          <a:xfrm>
            <a:off x="5890870" y="3379444"/>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7783" rtl="0" eaLnBrk="1" fontAlgn="auto" latinLnBrk="0" hangingPunct="1">
              <a:lnSpc>
                <a:spcPct val="100000"/>
              </a:lnSpc>
              <a:spcBef>
                <a:spcPts val="0"/>
              </a:spcBef>
              <a:spcAft>
                <a:spcPts val="0"/>
              </a:spcAft>
              <a:buClrTx/>
              <a:buSzTx/>
              <a:buFontTx/>
              <a:buNone/>
              <a:tabLst/>
              <a:defRPr/>
            </a:pPr>
            <a:r>
              <a:rPr kumimoji="0" lang="en-US" sz="1606" b="0" i="0" u="none" strike="noStrike" kern="0" cap="none" spc="0" normalizeH="0" baseline="0" noProof="0" dirty="0">
                <a:ln>
                  <a:noFill/>
                </a:ln>
                <a:solidFill>
                  <a:prstClr val="white"/>
                </a:solidFill>
                <a:effectLst/>
                <a:uLnTx/>
                <a:uFillTx/>
                <a:latin typeface="Calibri"/>
                <a:ea typeface="+mn-ea"/>
                <a:cs typeface="+mn-cs"/>
              </a:rPr>
              <a:t>Personel </a:t>
            </a:r>
            <a:r>
              <a:rPr kumimoji="0" lang="en-US" sz="1606" b="0" i="0" u="none" strike="noStrike" kern="0" cap="none" spc="0" normalizeH="0" baseline="0" noProof="0" dirty="0" err="1">
                <a:ln>
                  <a:noFill/>
                </a:ln>
                <a:solidFill>
                  <a:prstClr val="white"/>
                </a:solidFill>
                <a:effectLst/>
                <a:uLnTx/>
                <a:uFillTx/>
                <a:latin typeface="Calibri"/>
                <a:ea typeface="+mn-ea"/>
                <a:cs typeface="+mn-cs"/>
              </a:rPr>
              <a:t>gideri</a:t>
            </a:r>
            <a:r>
              <a:rPr kumimoji="0" lang="en-US" sz="1606" b="0" i="0" u="none" strike="noStrike" kern="0" cap="none" spc="0" normalizeH="0" baseline="0" noProof="0" dirty="0">
                <a:ln>
                  <a:noFill/>
                </a:ln>
                <a:solidFill>
                  <a:prstClr val="white"/>
                </a:solidFill>
                <a:effectLst/>
                <a:uLnTx/>
                <a:uFillTx/>
                <a:latin typeface="Calibri"/>
                <a:ea typeface="+mn-ea"/>
                <a:cs typeface="+mn-cs"/>
              </a:rPr>
              <a:t> </a:t>
            </a:r>
            <a:r>
              <a:rPr kumimoji="0" lang="en-US" sz="1606" b="0" i="0" u="none" strike="noStrike" kern="0" cap="none" spc="0" normalizeH="0" baseline="0" noProof="0" dirty="0" err="1">
                <a:ln>
                  <a:noFill/>
                </a:ln>
                <a:solidFill>
                  <a:prstClr val="white"/>
                </a:solidFill>
                <a:effectLst/>
                <a:uLnTx/>
                <a:uFillTx/>
                <a:latin typeface="Calibri"/>
                <a:ea typeface="+mn-ea"/>
                <a:cs typeface="+mn-cs"/>
              </a:rPr>
              <a:t>desteği</a:t>
            </a:r>
            <a:endParaRPr kumimoji="0" lang="en-US" sz="1606" b="0" i="0" u="none" strike="noStrike" kern="0" cap="none" spc="0" normalizeH="0" baseline="0" noProof="0" dirty="0">
              <a:ln>
                <a:noFill/>
              </a:ln>
              <a:solidFill>
                <a:prstClr val="white"/>
              </a:solidFill>
              <a:effectLst/>
              <a:uLnTx/>
              <a:uFillTx/>
              <a:latin typeface="Calibri"/>
              <a:ea typeface="+mn-ea"/>
              <a:cs typeface="+mn-cs"/>
            </a:endParaRPr>
          </a:p>
        </p:txBody>
      </p:sp>
      <p:sp>
        <p:nvSpPr>
          <p:cNvPr id="8" name="Freeform 7"/>
          <p:cNvSpPr>
            <a:spLocks noChangeAspect="1"/>
          </p:cNvSpPr>
          <p:nvPr/>
        </p:nvSpPr>
        <p:spPr>
          <a:xfrm>
            <a:off x="7428228" y="2593594"/>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7783" rtl="0" eaLnBrk="1" fontAlgn="auto" latinLnBrk="0" hangingPunct="1">
              <a:lnSpc>
                <a:spcPct val="100000"/>
              </a:lnSpc>
              <a:spcBef>
                <a:spcPts val="0"/>
              </a:spcBef>
              <a:spcAft>
                <a:spcPts val="0"/>
              </a:spcAft>
              <a:buClrTx/>
              <a:buSzTx/>
              <a:buFontTx/>
              <a:buNone/>
              <a:tabLst/>
              <a:defRPr/>
            </a:pPr>
            <a:r>
              <a:rPr kumimoji="0" lang="en-US" sz="1606" b="0" i="0" u="none" strike="noStrike" kern="0" cap="none" spc="0" normalizeH="0" baseline="0" noProof="0" dirty="0">
                <a:ln>
                  <a:noFill/>
                </a:ln>
                <a:solidFill>
                  <a:prstClr val="white"/>
                </a:solidFill>
                <a:effectLst/>
                <a:uLnTx/>
                <a:uFillTx/>
                <a:latin typeface="Calibri"/>
                <a:ea typeface="+mn-ea"/>
                <a:cs typeface="+mn-cs"/>
              </a:rPr>
              <a:t>Eğitim ve </a:t>
            </a:r>
            <a:r>
              <a:rPr kumimoji="0" lang="en-US" sz="1606" b="0" i="0" u="none" strike="noStrike" kern="0" cap="none" spc="0" normalizeH="0" baseline="0" noProof="0" dirty="0" err="1">
                <a:ln>
                  <a:noFill/>
                </a:ln>
                <a:solidFill>
                  <a:prstClr val="white"/>
                </a:solidFill>
                <a:effectLst/>
                <a:uLnTx/>
                <a:uFillTx/>
                <a:latin typeface="Calibri"/>
                <a:ea typeface="+mn-ea"/>
                <a:cs typeface="+mn-cs"/>
              </a:rPr>
              <a:t>danışmanlık</a:t>
            </a:r>
            <a:r>
              <a:rPr kumimoji="0" lang="en-US" sz="1606" b="0" i="0" u="none" strike="noStrike" kern="0" cap="none" spc="0" normalizeH="0" baseline="0" noProof="0" dirty="0">
                <a:ln>
                  <a:noFill/>
                </a:ln>
                <a:solidFill>
                  <a:prstClr val="white"/>
                </a:solidFill>
                <a:effectLst/>
                <a:uLnTx/>
                <a:uFillTx/>
                <a:latin typeface="Calibri"/>
                <a:ea typeface="+mn-ea"/>
                <a:cs typeface="+mn-cs"/>
              </a:rPr>
              <a:t> </a:t>
            </a:r>
            <a:r>
              <a:rPr kumimoji="0" lang="en-US" sz="1606" b="0" i="0" u="none" strike="noStrike" kern="0" cap="none" spc="0" normalizeH="0" baseline="0" noProof="0" dirty="0" err="1">
                <a:ln>
                  <a:noFill/>
                </a:ln>
                <a:solidFill>
                  <a:prstClr val="white"/>
                </a:solidFill>
                <a:effectLst/>
                <a:uLnTx/>
                <a:uFillTx/>
                <a:latin typeface="Calibri"/>
                <a:ea typeface="+mn-ea"/>
                <a:cs typeface="+mn-cs"/>
              </a:rPr>
              <a:t>desteği</a:t>
            </a:r>
            <a:endParaRPr kumimoji="0" lang="en-US" sz="1606" b="0" i="0" u="none" strike="noStrike" kern="0" cap="none" spc="0" normalizeH="0" baseline="0" noProof="0" dirty="0">
              <a:ln>
                <a:noFill/>
              </a:ln>
              <a:solidFill>
                <a:prstClr val="white"/>
              </a:solidFill>
              <a:effectLst/>
              <a:uLnTx/>
              <a:uFillTx/>
              <a:latin typeface="Calibri"/>
              <a:ea typeface="+mn-ea"/>
              <a:cs typeface="+mn-cs"/>
            </a:endParaRPr>
          </a:p>
        </p:txBody>
      </p:sp>
      <p:sp>
        <p:nvSpPr>
          <p:cNvPr id="9" name="Freeform 8"/>
          <p:cNvSpPr>
            <a:spLocks noChangeAspect="1"/>
          </p:cNvSpPr>
          <p:nvPr/>
        </p:nvSpPr>
        <p:spPr>
          <a:xfrm>
            <a:off x="8965586" y="3379444"/>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7783" rtl="0" eaLnBrk="1" fontAlgn="auto" latinLnBrk="0" hangingPunct="1">
              <a:lnSpc>
                <a:spcPct val="100000"/>
              </a:lnSpc>
              <a:spcBef>
                <a:spcPts val="0"/>
              </a:spcBef>
              <a:spcAft>
                <a:spcPts val="0"/>
              </a:spcAft>
              <a:buClrTx/>
              <a:buSzTx/>
              <a:buFontTx/>
              <a:buNone/>
              <a:tabLst/>
              <a:defRPr/>
            </a:pPr>
            <a:r>
              <a:rPr kumimoji="0" lang="it-IT" sz="1606" b="0" i="0" u="none" strike="noStrike" kern="0" cap="none" spc="0" normalizeH="0" baseline="0" noProof="0" dirty="0">
                <a:ln>
                  <a:noFill/>
                </a:ln>
                <a:solidFill>
                  <a:prstClr val="white"/>
                </a:solidFill>
                <a:effectLst/>
                <a:uLnTx/>
                <a:uFillTx/>
                <a:latin typeface="Calibri"/>
                <a:ea typeface="+mn-ea"/>
                <a:cs typeface="+mn-cs"/>
              </a:rPr>
              <a:t>Tanıtım ve pazarlama giderleri desteği </a:t>
            </a:r>
          </a:p>
        </p:txBody>
      </p:sp>
      <p:pic>
        <p:nvPicPr>
          <p:cNvPr id="24" name="Picture 3"/>
          <p:cNvPicPr>
            <a:picLocks noChangeAspect="1" noChangeArrowheads="1"/>
          </p:cNvPicPr>
          <p:nvPr/>
        </p:nvPicPr>
        <p:blipFill>
          <a:blip r:embed="rId3" cstate="print"/>
          <a:srcRect/>
          <a:stretch>
            <a:fillRect/>
          </a:stretch>
        </p:blipFill>
        <p:spPr bwMode="auto">
          <a:xfrm>
            <a:off x="10970036" y="176129"/>
            <a:ext cx="720038" cy="507884"/>
          </a:xfrm>
          <a:prstGeom prst="rect">
            <a:avLst/>
          </a:prstGeom>
          <a:noFill/>
          <a:ln w="9525">
            <a:noFill/>
            <a:miter lim="800000"/>
            <a:headEnd/>
            <a:tailEnd/>
          </a:ln>
        </p:spPr>
      </p:pic>
      <p:sp>
        <p:nvSpPr>
          <p:cNvPr id="12" name="Title 1"/>
          <p:cNvSpPr txBox="1">
            <a:spLocks/>
          </p:cNvSpPr>
          <p:nvPr/>
        </p:nvSpPr>
        <p:spPr>
          <a:xfrm>
            <a:off x="421005" y="21270"/>
            <a:ext cx="10514989" cy="1325487"/>
          </a:xfrm>
          <a:prstGeom prst="rect">
            <a:avLst/>
          </a:prstGeom>
        </p:spPr>
        <p:txBody>
          <a:bodyPr vert="horz" lIns="91434" tIns="45718" rIns="91434" bIns="4571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j-cs"/>
              </a:rPr>
              <a:t>DESTEK UNSURLARI</a:t>
            </a:r>
            <a:endParaRPr kumimoji="0" lang="en-US" sz="2409"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j-cs"/>
            </a:endParaRPr>
          </a:p>
        </p:txBody>
      </p:sp>
    </p:spTree>
    <p:custDataLst>
      <p:tags r:id="rId1"/>
    </p:custDataLst>
    <p:extLst>
      <p:ext uri="{BB962C8B-B14F-4D97-AF65-F5344CB8AC3E}">
        <p14:creationId xmlns:p14="http://schemas.microsoft.com/office/powerpoint/2010/main" val="3023580302"/>
      </p:ext>
    </p:extLst>
  </p:cSld>
  <p:clrMapOvr>
    <a:masterClrMapping/>
  </p:clrMapOvr>
  <mc:AlternateContent xmlns:mc="http://schemas.openxmlformats.org/markup-compatibility/2006" xmlns:p14="http://schemas.microsoft.com/office/powerpoint/2010/main">
    <mc:Choice Requires="p14">
      <p:transition spd="slow" p14:dur="2000" advTm="18039"/>
    </mc:Choice>
    <mc:Fallback xmlns="">
      <p:transition spd="slow" advTm="18039"/>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4"/>
          <p:cNvSpPr>
            <a:spLocks noChangeAspect="1"/>
          </p:cNvSpPr>
          <p:nvPr/>
        </p:nvSpPr>
        <p:spPr>
          <a:xfrm rot="10800000">
            <a:off x="750017" y="1723707"/>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Arc 5"/>
          <p:cNvSpPr>
            <a:spLocks noChangeAspect="1"/>
          </p:cNvSpPr>
          <p:nvPr/>
        </p:nvSpPr>
        <p:spPr>
          <a:xfrm>
            <a:off x="2532031" y="1723709"/>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Arc 8"/>
          <p:cNvSpPr>
            <a:spLocks noChangeAspect="1"/>
          </p:cNvSpPr>
          <p:nvPr/>
        </p:nvSpPr>
        <p:spPr>
          <a:xfrm rot="10800000">
            <a:off x="4314046" y="1723709"/>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Arc 9"/>
          <p:cNvSpPr>
            <a:spLocks noChangeAspect="1"/>
          </p:cNvSpPr>
          <p:nvPr/>
        </p:nvSpPr>
        <p:spPr>
          <a:xfrm>
            <a:off x="6096059" y="1723711"/>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Arc 12"/>
          <p:cNvSpPr>
            <a:spLocks noChangeAspect="1"/>
          </p:cNvSpPr>
          <p:nvPr/>
        </p:nvSpPr>
        <p:spPr>
          <a:xfrm rot="10800000">
            <a:off x="7878074" y="1723711"/>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Arc 13"/>
          <p:cNvSpPr>
            <a:spLocks noChangeAspect="1"/>
          </p:cNvSpPr>
          <p:nvPr/>
        </p:nvSpPr>
        <p:spPr>
          <a:xfrm>
            <a:off x="9660089" y="1723714"/>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Arc 2"/>
          <p:cNvSpPr>
            <a:spLocks noChangeAspect="1"/>
          </p:cNvSpPr>
          <p:nvPr/>
        </p:nvSpPr>
        <p:spPr>
          <a:xfrm>
            <a:off x="750017" y="1723707"/>
            <a:ext cx="1781801" cy="1781802"/>
          </a:xfrm>
          <a:prstGeom prst="arc">
            <a:avLst>
              <a:gd name="adj1" fmla="val 10800000"/>
              <a:gd name="adj2" fmla="val 0"/>
            </a:avLst>
          </a:prstGeom>
          <a:ln w="57150">
            <a:solidFill>
              <a:schemeClr val="tx2">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Arc 6"/>
          <p:cNvSpPr>
            <a:spLocks noChangeAspect="1"/>
          </p:cNvSpPr>
          <p:nvPr/>
        </p:nvSpPr>
        <p:spPr>
          <a:xfrm rot="10800000">
            <a:off x="2532031" y="1723708"/>
            <a:ext cx="1781803" cy="1781803"/>
          </a:xfrm>
          <a:prstGeom prst="arc">
            <a:avLst>
              <a:gd name="adj1" fmla="val 10800000"/>
              <a:gd name="adj2" fmla="val 0"/>
            </a:avLst>
          </a:prstGeom>
          <a:ln w="57150">
            <a:solidFill>
              <a:schemeClr val="accent1">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Arc 7"/>
          <p:cNvSpPr>
            <a:spLocks noChangeAspect="1"/>
          </p:cNvSpPr>
          <p:nvPr/>
        </p:nvSpPr>
        <p:spPr>
          <a:xfrm>
            <a:off x="4314046" y="1723710"/>
            <a:ext cx="1781803" cy="1781803"/>
          </a:xfrm>
          <a:prstGeom prst="arc">
            <a:avLst>
              <a:gd name="adj1" fmla="val 10800000"/>
              <a:gd name="adj2" fmla="val 0"/>
            </a:avLst>
          </a:prstGeom>
          <a:ln w="57150">
            <a:solidFill>
              <a:schemeClr val="accent2">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Arc 10"/>
          <p:cNvSpPr>
            <a:spLocks noChangeAspect="1"/>
          </p:cNvSpPr>
          <p:nvPr/>
        </p:nvSpPr>
        <p:spPr>
          <a:xfrm rot="10800000">
            <a:off x="6096059" y="1723710"/>
            <a:ext cx="1781803" cy="1781803"/>
          </a:xfrm>
          <a:prstGeom prst="arc">
            <a:avLst>
              <a:gd name="adj1" fmla="val 10800000"/>
              <a:gd name="adj2" fmla="val 0"/>
            </a:avLst>
          </a:prstGeom>
          <a:ln w="57150">
            <a:solidFill>
              <a:schemeClr val="accent3">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Arc 11"/>
          <p:cNvSpPr>
            <a:spLocks noChangeAspect="1"/>
          </p:cNvSpPr>
          <p:nvPr/>
        </p:nvSpPr>
        <p:spPr>
          <a:xfrm>
            <a:off x="7878074" y="1723713"/>
            <a:ext cx="1781803" cy="1781803"/>
          </a:xfrm>
          <a:prstGeom prst="arc">
            <a:avLst>
              <a:gd name="adj1" fmla="val 10800000"/>
              <a:gd name="adj2" fmla="val 0"/>
            </a:avLst>
          </a:prstGeom>
          <a:ln w="57150">
            <a:solidFill>
              <a:schemeClr val="accent4">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Arc 14"/>
          <p:cNvSpPr>
            <a:spLocks noChangeAspect="1"/>
          </p:cNvSpPr>
          <p:nvPr/>
        </p:nvSpPr>
        <p:spPr>
          <a:xfrm rot="10800000">
            <a:off x="9660089" y="1723713"/>
            <a:ext cx="1781803" cy="1781803"/>
          </a:xfrm>
          <a:prstGeom prst="arc">
            <a:avLst>
              <a:gd name="adj1" fmla="val 10800000"/>
              <a:gd name="adj2" fmla="val 0"/>
            </a:avLst>
          </a:prstGeom>
          <a:ln w="57150">
            <a:solidFill>
              <a:schemeClr val="accent5">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TextBox 16"/>
          <p:cNvSpPr txBox="1"/>
          <p:nvPr/>
        </p:nvSpPr>
        <p:spPr>
          <a:xfrm>
            <a:off x="476256" y="3589429"/>
            <a:ext cx="1781804" cy="2502112"/>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İşletmey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tır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onu</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ünü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etilm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işk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la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kine-teçhizat</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lıp</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irlikt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ağlanı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lınan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kine-teçhizat</a:t>
            </a:r>
            <a:r>
              <a:rPr kumimoji="0" lang="tr-TR"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ın</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r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l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lg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lgelendirilm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durumu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anın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15</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av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dil</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ir</a:t>
            </a: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19" name="TextBox 18"/>
          <p:cNvSpPr txBox="1"/>
          <p:nvPr/>
        </p:nvSpPr>
        <p:spPr>
          <a:xfrm>
            <a:off x="4314043" y="3616660"/>
            <a:ext cx="1781804" cy="3428821"/>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İşletmey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tır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onu</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ünü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etilm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işki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la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zıl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psam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n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ınaca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zılımı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lisans</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d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y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ür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dek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zaman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ınırl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lisans</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ullan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d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irlikt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ağlanı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lınan </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yazılımı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r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l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lg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lgelendirilm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urumu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anın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 15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av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dilir</a:t>
            </a: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a:p>
            <a:pPr marL="0" marR="0" lvl="0" indent="0" algn="just" defTabSz="914388" rtl="0" eaLnBrk="1" fontAlgn="auto" latinLnBrk="0" hangingPunct="1">
              <a:lnSpc>
                <a:spcPct val="100000"/>
              </a:lnSpc>
              <a:spcBef>
                <a:spcPts val="0"/>
              </a:spcBef>
              <a:spcAft>
                <a:spcPts val="0"/>
              </a:spcAft>
              <a:buClrTx/>
              <a:buSzTx/>
              <a:buFontTx/>
              <a:buNone/>
              <a:tabLst/>
              <a:defRPr/>
            </a:pP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20" name="TextBox 19"/>
          <p:cNvSpPr txBox="1"/>
          <p:nvPr/>
        </p:nvSpPr>
        <p:spPr>
          <a:xfrm>
            <a:off x="6140852" y="3716792"/>
            <a:ext cx="1781804" cy="1760097"/>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Yatırım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psam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n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stihda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dilec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ersone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rili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ersone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ğ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psam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100</a:t>
            </a:r>
            <a:r>
              <a:rPr kumimoji="0" lang="tr-TR"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an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ağlanı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p>
        </p:txBody>
      </p:sp>
      <p:sp>
        <p:nvSpPr>
          <p:cNvPr id="21" name="TextBox 20"/>
          <p:cNvSpPr txBox="1"/>
          <p:nvPr/>
        </p:nvSpPr>
        <p:spPr>
          <a:xfrm>
            <a:off x="7967661" y="3638137"/>
            <a:ext cx="1781804" cy="2687454"/>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şletmen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ğiti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anışmanlı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irlikt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ağlanı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Bu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ğ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st</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limit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tır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onusu</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ünü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üşü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y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t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üşü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eknoloj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an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mas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halind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30.000 T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t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üks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y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üks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eknoloj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an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mas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halind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150.000 </a:t>
            </a:r>
            <a:r>
              <a:rPr kumimoji="0" lang="en-US" sz="1204" b="1"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L’</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i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p>
        </p:txBody>
      </p:sp>
      <p:sp>
        <p:nvSpPr>
          <p:cNvPr id="22" name="TextBox 21"/>
          <p:cNvSpPr txBox="1"/>
          <p:nvPr/>
        </p:nvSpPr>
        <p:spPr>
          <a:xfrm>
            <a:off x="9688729" y="3632841"/>
            <a:ext cx="2116719" cy="3243479"/>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Yatırım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onu</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ünü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örse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edya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anıtımın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işk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ijita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rekla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anıt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osya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edy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reklamlar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ram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otoru</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ptimizasyonu</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b.)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yur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yur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ış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asıl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rekla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azet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rg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roşü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talog</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asım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lektroni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icaret</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iteler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yeli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yur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ış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fuarlar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tıl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irlikt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rili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Bu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ğ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st</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limit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200.000 </a:t>
            </a:r>
            <a:r>
              <a:rPr kumimoji="0" lang="en-US" sz="1204" b="1"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L’</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i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a:t>
            </a:r>
          </a:p>
        </p:txBody>
      </p:sp>
      <p:sp>
        <p:nvSpPr>
          <p:cNvPr id="52" name="TextBox 51"/>
          <p:cNvSpPr txBox="1"/>
          <p:nvPr/>
        </p:nvSpPr>
        <p:spPr>
          <a:xfrm>
            <a:off x="687775" y="1057633"/>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4617B"/>
                </a:solidFill>
                <a:effectLst/>
                <a:uLnTx/>
                <a:uFillTx/>
                <a:latin typeface="Calibri"/>
                <a:ea typeface="ヒラギノ角ゴ Pro W3" pitchFamily="1" charset="-128"/>
                <a:cs typeface="+mn-cs"/>
              </a:rPr>
              <a:t>Makine-teçhizat</a:t>
            </a:r>
            <a:r>
              <a:rPr kumimoji="0" lang="en-US" sz="1400" b="1" i="0" u="none" strike="noStrike" kern="1200" cap="none" spc="0" normalizeH="0" baseline="0" noProof="0" dirty="0">
                <a:ln>
                  <a:noFill/>
                </a:ln>
                <a:solidFill>
                  <a:srgbClr val="04617B"/>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4617B"/>
                </a:solidFill>
                <a:effectLst/>
                <a:uLnTx/>
                <a:uFillTx/>
                <a:latin typeface="Calibri"/>
                <a:ea typeface="ヒラギノ角ゴ Pro W3" pitchFamily="1" charset="-128"/>
                <a:cs typeface="+mn-cs"/>
              </a:rPr>
              <a:t>desteği</a:t>
            </a:r>
            <a:endParaRPr kumimoji="0" lang="en-US" sz="1400" b="1" i="0" u="none" strike="noStrike" kern="1200" cap="none" spc="0" normalizeH="0" baseline="0" noProof="0" dirty="0">
              <a:ln>
                <a:noFill/>
              </a:ln>
              <a:solidFill>
                <a:srgbClr val="04617B"/>
              </a:solidFill>
              <a:effectLst/>
              <a:uLnTx/>
              <a:uFillTx/>
              <a:latin typeface="Calibri"/>
              <a:ea typeface="ヒラギノ角ゴ Pro W3" pitchFamily="1" charset="-128"/>
              <a:cs typeface="+mn-cs"/>
            </a:endParaRPr>
          </a:p>
        </p:txBody>
      </p:sp>
      <p:sp>
        <p:nvSpPr>
          <p:cNvPr id="53" name="TextBox 52"/>
          <p:cNvSpPr txBox="1"/>
          <p:nvPr/>
        </p:nvSpPr>
        <p:spPr>
          <a:xfrm>
            <a:off x="2686283" y="905462"/>
            <a:ext cx="1495708" cy="73904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Üretim</a:t>
            </a:r>
            <a:r>
              <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hattı</a:t>
            </a:r>
            <a:r>
              <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tasarım</a:t>
            </a:r>
            <a:r>
              <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giderleri</a:t>
            </a:r>
            <a:r>
              <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F6FC6"/>
                </a:solidFill>
                <a:effectLst/>
                <a:uLnTx/>
                <a:uFillTx/>
                <a:latin typeface="Calibri"/>
                <a:ea typeface="ヒラギノ角ゴ Pro W3" pitchFamily="1" charset="-128"/>
                <a:cs typeface="+mn-cs"/>
              </a:rPr>
              <a:t>desteği</a:t>
            </a:r>
            <a:endParaRPr kumimoji="0" lang="en-US" sz="1400" b="1" i="0" u="none" strike="noStrike" kern="1200" cap="none" spc="0" normalizeH="0" baseline="0" noProof="0" dirty="0">
              <a:ln>
                <a:noFill/>
              </a:ln>
              <a:solidFill>
                <a:srgbClr val="0F6FC6"/>
              </a:solidFill>
              <a:effectLst/>
              <a:uLnTx/>
              <a:uFillTx/>
              <a:latin typeface="Calibri"/>
              <a:ea typeface="ヒラギノ角ゴ Pro W3" pitchFamily="1" charset="-128"/>
              <a:cs typeface="+mn-cs"/>
            </a:endParaRPr>
          </a:p>
        </p:txBody>
      </p:sp>
      <p:sp>
        <p:nvSpPr>
          <p:cNvPr id="54" name="TextBox 53"/>
          <p:cNvSpPr txBox="1"/>
          <p:nvPr/>
        </p:nvSpPr>
        <p:spPr>
          <a:xfrm>
            <a:off x="4398698" y="1162901"/>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srgbClr val="009DD9"/>
                </a:solidFill>
                <a:effectLst/>
                <a:uLnTx/>
                <a:uFillTx/>
                <a:latin typeface="Calibri"/>
                <a:ea typeface="ヒラギノ角ゴ Pro W3" pitchFamily="1" charset="-128"/>
                <a:cs typeface="+mn-cs"/>
              </a:rPr>
              <a:t>Yazılım Giderleri Desteği</a:t>
            </a:r>
            <a:endParaRPr kumimoji="0" lang="en-US" sz="1400" b="1" i="0" u="none" strike="noStrike" kern="1200" cap="none" spc="0" normalizeH="0" baseline="0" noProof="0" dirty="0">
              <a:ln>
                <a:noFill/>
              </a:ln>
              <a:solidFill>
                <a:srgbClr val="009DD9"/>
              </a:solidFill>
              <a:effectLst/>
              <a:uLnTx/>
              <a:uFillTx/>
              <a:latin typeface="Calibri"/>
              <a:ea typeface="ヒラギノ角ゴ Pro W3" pitchFamily="1" charset="-128"/>
              <a:cs typeface="+mn-cs"/>
            </a:endParaRPr>
          </a:p>
        </p:txBody>
      </p:sp>
      <p:sp>
        <p:nvSpPr>
          <p:cNvPr id="55" name="TextBox 54"/>
          <p:cNvSpPr txBox="1"/>
          <p:nvPr/>
        </p:nvSpPr>
        <p:spPr>
          <a:xfrm>
            <a:off x="6096059" y="1170888"/>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srgbClr val="0BD0D9"/>
                </a:solidFill>
                <a:effectLst/>
                <a:uLnTx/>
                <a:uFillTx/>
                <a:latin typeface="Calibri"/>
                <a:ea typeface="ヒラギノ角ゴ Pro W3" pitchFamily="1" charset="-128"/>
                <a:cs typeface="+mn-cs"/>
              </a:rPr>
              <a:t>Personel Gideri Desteği</a:t>
            </a:r>
            <a:endParaRPr kumimoji="0" lang="en-US" sz="1400" b="1" i="0" u="none" strike="noStrike" kern="1200" cap="none" spc="0" normalizeH="0" baseline="0" noProof="0" dirty="0">
              <a:ln>
                <a:noFill/>
              </a:ln>
              <a:solidFill>
                <a:srgbClr val="0BD0D9"/>
              </a:solidFill>
              <a:effectLst/>
              <a:uLnTx/>
              <a:uFillTx/>
              <a:latin typeface="Calibri"/>
              <a:ea typeface="ヒラギノ角ゴ Pro W3" pitchFamily="1" charset="-128"/>
              <a:cs typeface="+mn-cs"/>
            </a:endParaRPr>
          </a:p>
        </p:txBody>
      </p:sp>
      <p:sp>
        <p:nvSpPr>
          <p:cNvPr id="56" name="TextBox 55"/>
          <p:cNvSpPr txBox="1"/>
          <p:nvPr/>
        </p:nvSpPr>
        <p:spPr>
          <a:xfrm>
            <a:off x="7878074" y="1116069"/>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10CF9B"/>
                </a:solidFill>
                <a:effectLst/>
                <a:uLnTx/>
                <a:uFillTx/>
                <a:latin typeface="Calibri"/>
                <a:ea typeface="ヒラギノ角ゴ Pro W3" pitchFamily="1" charset="-128"/>
                <a:cs typeface="+mn-cs"/>
              </a:rPr>
              <a:t>Eğitim</a:t>
            </a:r>
            <a:r>
              <a:rPr kumimoji="0" lang="en-US" sz="1400" b="1" i="0" u="none" strike="noStrike" kern="1200" cap="none" spc="0" normalizeH="0" baseline="0" noProof="0" dirty="0">
                <a:ln>
                  <a:noFill/>
                </a:ln>
                <a:solidFill>
                  <a:srgbClr val="10CF9B"/>
                </a:solidFill>
                <a:effectLst/>
                <a:uLnTx/>
                <a:uFillTx/>
                <a:latin typeface="Calibri"/>
                <a:ea typeface="ヒラギノ角ゴ Pro W3" pitchFamily="1" charset="-128"/>
                <a:cs typeface="+mn-cs"/>
              </a:rPr>
              <a:t> ve </a:t>
            </a:r>
            <a:r>
              <a:rPr kumimoji="0" lang="en-US" sz="1400" b="1" i="0" u="none" strike="noStrike" kern="1200" cap="none" spc="0" normalizeH="0" baseline="0" noProof="0" dirty="0" err="1">
                <a:ln>
                  <a:noFill/>
                </a:ln>
                <a:solidFill>
                  <a:srgbClr val="10CF9B"/>
                </a:solidFill>
                <a:effectLst/>
                <a:uLnTx/>
                <a:uFillTx/>
                <a:latin typeface="Calibri"/>
                <a:ea typeface="ヒラギノ角ゴ Pro W3" pitchFamily="1" charset="-128"/>
                <a:cs typeface="+mn-cs"/>
              </a:rPr>
              <a:t>danışmanlık</a:t>
            </a:r>
            <a:r>
              <a:rPr kumimoji="0" lang="en-US" sz="1400" b="1" i="0" u="none" strike="noStrike" kern="1200" cap="none" spc="0" normalizeH="0" baseline="0" noProof="0" dirty="0">
                <a:ln>
                  <a:noFill/>
                </a:ln>
                <a:solidFill>
                  <a:srgbClr val="10CF9B"/>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10CF9B"/>
                </a:solidFill>
                <a:effectLst/>
                <a:uLnTx/>
                <a:uFillTx/>
                <a:latin typeface="Calibri"/>
                <a:ea typeface="ヒラギノ角ゴ Pro W3" pitchFamily="1" charset="-128"/>
                <a:cs typeface="+mn-cs"/>
              </a:rPr>
              <a:t>desteği</a:t>
            </a:r>
            <a:endParaRPr kumimoji="0" lang="en-US" sz="1400" b="1" i="0" u="none" strike="noStrike" kern="1200" cap="none" spc="0" normalizeH="0" baseline="0" noProof="0" dirty="0">
              <a:ln>
                <a:noFill/>
              </a:ln>
              <a:solidFill>
                <a:srgbClr val="10CF9B"/>
              </a:solidFill>
              <a:effectLst/>
              <a:uLnTx/>
              <a:uFillTx/>
              <a:latin typeface="Calibri"/>
              <a:ea typeface="ヒラギノ角ゴ Pro W3" pitchFamily="1" charset="-128"/>
              <a:cs typeface="+mn-cs"/>
            </a:endParaRPr>
          </a:p>
        </p:txBody>
      </p:sp>
      <p:sp>
        <p:nvSpPr>
          <p:cNvPr id="57" name="TextBox 56"/>
          <p:cNvSpPr txBox="1"/>
          <p:nvPr/>
        </p:nvSpPr>
        <p:spPr>
          <a:xfrm>
            <a:off x="9688729" y="1141659"/>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7CCA62"/>
                </a:solidFill>
                <a:effectLst/>
                <a:uLnTx/>
                <a:uFillTx/>
                <a:latin typeface="Calibri"/>
                <a:ea typeface="ヒラギノ角ゴ Pro W3" pitchFamily="1" charset="-128"/>
                <a:cs typeface="+mn-cs"/>
              </a:rPr>
              <a:t>Tanıtım ve pazarlama giderleri desteği</a:t>
            </a:r>
            <a:endParaRPr kumimoji="0" lang="en-US" sz="1400" b="1" i="0" u="none" strike="noStrike" kern="1200" cap="none" spc="0" normalizeH="0" baseline="0" noProof="0" dirty="0">
              <a:ln>
                <a:noFill/>
              </a:ln>
              <a:solidFill>
                <a:srgbClr val="7CCA62"/>
              </a:solidFill>
              <a:effectLst/>
              <a:uLnTx/>
              <a:uFillTx/>
              <a:latin typeface="Calibri"/>
              <a:ea typeface="ヒラギノ角ゴ Pro W3" pitchFamily="1" charset="-128"/>
              <a:cs typeface="+mn-cs"/>
            </a:endParaRPr>
          </a:p>
        </p:txBody>
      </p:sp>
      <p:sp>
        <p:nvSpPr>
          <p:cNvPr id="61" name="TextBox 60"/>
          <p:cNvSpPr txBox="1"/>
          <p:nvPr/>
        </p:nvSpPr>
        <p:spPr>
          <a:xfrm>
            <a:off x="1090009"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4617B"/>
                </a:solidFill>
                <a:effectLst/>
                <a:uLnTx/>
                <a:uFillTx/>
                <a:latin typeface="Calibri"/>
                <a:ea typeface="ヒラギノ角ゴ Pro W3" pitchFamily="1" charset="-128"/>
                <a:cs typeface="+mn-cs"/>
              </a:rPr>
              <a:t>1</a:t>
            </a:r>
          </a:p>
        </p:txBody>
      </p:sp>
      <p:sp>
        <p:nvSpPr>
          <p:cNvPr id="62" name="TextBox 61"/>
          <p:cNvSpPr txBox="1"/>
          <p:nvPr/>
        </p:nvSpPr>
        <p:spPr>
          <a:xfrm>
            <a:off x="2871811"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2</a:t>
            </a:r>
          </a:p>
        </p:txBody>
      </p:sp>
      <p:sp>
        <p:nvSpPr>
          <p:cNvPr id="63" name="TextBox 62"/>
          <p:cNvSpPr txBox="1"/>
          <p:nvPr/>
        </p:nvSpPr>
        <p:spPr>
          <a:xfrm>
            <a:off x="4661934" y="1704724"/>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DD9"/>
                </a:solidFill>
                <a:effectLst/>
                <a:uLnTx/>
                <a:uFillTx/>
                <a:latin typeface="Calibri"/>
                <a:ea typeface="ヒラギノ角ゴ Pro W3" pitchFamily="1" charset="-128"/>
                <a:cs typeface="+mn-cs"/>
              </a:rPr>
              <a:t>3</a:t>
            </a:r>
          </a:p>
        </p:txBody>
      </p:sp>
      <p:sp>
        <p:nvSpPr>
          <p:cNvPr id="64" name="TextBox 63"/>
          <p:cNvSpPr txBox="1"/>
          <p:nvPr/>
        </p:nvSpPr>
        <p:spPr>
          <a:xfrm>
            <a:off x="6435202" y="1732309"/>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BD0D9"/>
                </a:solidFill>
                <a:effectLst/>
                <a:uLnTx/>
                <a:uFillTx/>
                <a:latin typeface="Calibri"/>
                <a:ea typeface="ヒラギノ角ゴ Pro W3" pitchFamily="1" charset="-128"/>
                <a:cs typeface="+mn-cs"/>
              </a:rPr>
              <a:t>4</a:t>
            </a:r>
          </a:p>
        </p:txBody>
      </p:sp>
      <p:sp>
        <p:nvSpPr>
          <p:cNvPr id="65" name="TextBox 64"/>
          <p:cNvSpPr txBox="1"/>
          <p:nvPr/>
        </p:nvSpPr>
        <p:spPr>
          <a:xfrm>
            <a:off x="8217218"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0CF9B"/>
                </a:solidFill>
                <a:effectLst/>
                <a:uLnTx/>
                <a:uFillTx/>
                <a:latin typeface="Calibri"/>
                <a:ea typeface="ヒラギノ角ゴ Pro W3" pitchFamily="1" charset="-128"/>
                <a:cs typeface="+mn-cs"/>
              </a:rPr>
              <a:t>5</a:t>
            </a:r>
          </a:p>
        </p:txBody>
      </p:sp>
      <p:sp>
        <p:nvSpPr>
          <p:cNvPr id="66" name="TextBox 65"/>
          <p:cNvSpPr txBox="1"/>
          <p:nvPr/>
        </p:nvSpPr>
        <p:spPr>
          <a:xfrm>
            <a:off x="9999020"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CCA62"/>
                </a:solidFill>
                <a:effectLst/>
                <a:uLnTx/>
                <a:uFillTx/>
                <a:latin typeface="Calibri"/>
                <a:ea typeface="ヒラギノ角ゴ Pro W3" pitchFamily="1" charset="-128"/>
                <a:cs typeface="+mn-cs"/>
              </a:rPr>
              <a:t>6</a:t>
            </a:r>
          </a:p>
        </p:txBody>
      </p:sp>
      <p:sp>
        <p:nvSpPr>
          <p:cNvPr id="67" name="Title 1"/>
          <p:cNvSpPr txBox="1">
            <a:spLocks/>
          </p:cNvSpPr>
          <p:nvPr/>
        </p:nvSpPr>
        <p:spPr>
          <a:xfrm>
            <a:off x="335100" y="-63950"/>
            <a:ext cx="6845488" cy="1114024"/>
          </a:xfrm>
          <a:prstGeom prst="rect">
            <a:avLst/>
          </a:prstGeom>
        </p:spPr>
        <p:txBody>
          <a:bodyPr vert="horz" lIns="91434" tIns="45718" rIns="91434" bIns="4571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j-cs"/>
              </a:rPr>
              <a:t>DESTEK UNSURLARI</a:t>
            </a:r>
            <a:endParaRPr kumimoji="0" lang="en-US" sz="2409"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j-cs"/>
            </a:endParaRPr>
          </a:p>
        </p:txBody>
      </p:sp>
      <p:pic>
        <p:nvPicPr>
          <p:cNvPr id="68" name="Picture 3"/>
          <p:cNvPicPr>
            <a:picLocks noChangeAspect="1" noChangeArrowheads="1"/>
          </p:cNvPicPr>
          <p:nvPr/>
        </p:nvPicPr>
        <p:blipFill>
          <a:blip r:embed="rId25" cstate="print"/>
          <a:srcRect/>
          <a:stretch>
            <a:fillRect/>
          </a:stretch>
        </p:blipFill>
        <p:spPr bwMode="auto">
          <a:xfrm>
            <a:off x="10970036" y="176129"/>
            <a:ext cx="720038" cy="507884"/>
          </a:xfrm>
          <a:prstGeom prst="rect">
            <a:avLst/>
          </a:prstGeom>
          <a:noFill/>
          <a:ln w="9525">
            <a:noFill/>
            <a:miter lim="800000"/>
            <a:headEnd/>
            <a:tailEnd/>
          </a:ln>
        </p:spPr>
      </p:pic>
      <p:sp>
        <p:nvSpPr>
          <p:cNvPr id="69" name="TextBox 16"/>
          <p:cNvSpPr txBox="1"/>
          <p:nvPr/>
        </p:nvSpPr>
        <p:spPr>
          <a:xfrm>
            <a:off x="2469576" y="3700646"/>
            <a:ext cx="1781804" cy="1575404"/>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eti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hatt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asar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lemey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sas</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uta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kine-teçhizat</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lıp</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naylana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opla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lemey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sas</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tutarı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 3 </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nü</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çemez</a:t>
            </a: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grpSp>
        <p:nvGrpSpPr>
          <p:cNvPr id="70" name="POWER_USER_ID_ICONS_Forklift"/>
          <p:cNvGrpSpPr>
            <a:grpSpLocks noChangeAspect="1"/>
          </p:cNvGrpSpPr>
          <p:nvPr>
            <p:custDataLst>
              <p:tags r:id="rId2"/>
            </p:custDataLst>
          </p:nvPr>
        </p:nvGrpSpPr>
        <p:grpSpPr bwMode="auto">
          <a:xfrm>
            <a:off x="1177814" y="2248994"/>
            <a:ext cx="925394" cy="809720"/>
            <a:chOff x="8" y="8"/>
            <a:chExt cx="528" cy="462"/>
          </a:xfrm>
          <a:solidFill>
            <a:schemeClr val="accent2"/>
          </a:solidFill>
        </p:grpSpPr>
        <p:sp>
          <p:nvSpPr>
            <p:cNvPr id="71" name="POWER_USER_ID_ICONS_Forklift"/>
            <p:cNvSpPr>
              <a:spLocks/>
            </p:cNvSpPr>
            <p:nvPr>
              <p:custDataLst>
                <p:tags r:id="rId22"/>
              </p:custDataLst>
            </p:nvPr>
          </p:nvSpPr>
          <p:spPr bwMode="auto">
            <a:xfrm>
              <a:off x="341" y="91"/>
              <a:ext cx="47" cy="47"/>
            </a:xfrm>
            <a:custGeom>
              <a:avLst/>
              <a:gdLst>
                <a:gd name="T0" fmla="*/ 55 w 111"/>
                <a:gd name="T1" fmla="*/ 112 h 112"/>
                <a:gd name="T2" fmla="*/ 111 w 111"/>
                <a:gd name="T3" fmla="*/ 56 h 112"/>
                <a:gd name="T4" fmla="*/ 55 w 111"/>
                <a:gd name="T5" fmla="*/ 0 h 112"/>
                <a:gd name="T6" fmla="*/ 54 w 111"/>
                <a:gd name="T7" fmla="*/ 0 h 112"/>
                <a:gd name="T8" fmla="*/ 0 w 111"/>
                <a:gd name="T9" fmla="*/ 56 h 112"/>
                <a:gd name="T10" fmla="*/ 55 w 111"/>
                <a:gd name="T11" fmla="*/ 112 h 112"/>
              </a:gdLst>
              <a:ahLst/>
              <a:cxnLst>
                <a:cxn ang="0">
                  <a:pos x="T0" y="T1"/>
                </a:cxn>
                <a:cxn ang="0">
                  <a:pos x="T2" y="T3"/>
                </a:cxn>
                <a:cxn ang="0">
                  <a:pos x="T4" y="T5"/>
                </a:cxn>
                <a:cxn ang="0">
                  <a:pos x="T6" y="T7"/>
                </a:cxn>
                <a:cxn ang="0">
                  <a:pos x="T8" y="T9"/>
                </a:cxn>
                <a:cxn ang="0">
                  <a:pos x="T10" y="T11"/>
                </a:cxn>
              </a:cxnLst>
              <a:rect l="0" t="0" r="r" b="b"/>
              <a:pathLst>
                <a:path w="111" h="112">
                  <a:moveTo>
                    <a:pt x="55" y="112"/>
                  </a:moveTo>
                  <a:cubicBezTo>
                    <a:pt x="86" y="112"/>
                    <a:pt x="111" y="87"/>
                    <a:pt x="111" y="56"/>
                  </a:cubicBezTo>
                  <a:cubicBezTo>
                    <a:pt x="111" y="25"/>
                    <a:pt x="86" y="0"/>
                    <a:pt x="55" y="0"/>
                  </a:cubicBezTo>
                  <a:lnTo>
                    <a:pt x="54" y="0"/>
                  </a:lnTo>
                  <a:cubicBezTo>
                    <a:pt x="24" y="1"/>
                    <a:pt x="0" y="26"/>
                    <a:pt x="0" y="56"/>
                  </a:cubicBezTo>
                  <a:cubicBezTo>
                    <a:pt x="0" y="87"/>
                    <a:pt x="25" y="112"/>
                    <a:pt x="55" y="112"/>
                  </a:cubicBezTo>
                  <a:close/>
                </a:path>
              </a:pathLst>
            </a:custGeom>
            <a:solidFill>
              <a:srgbClr val="0070C0"/>
            </a:solid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72" name="POWER_USER_ID_ICONS_Forklift"/>
            <p:cNvSpPr>
              <a:spLocks noEditPoints="1"/>
            </p:cNvSpPr>
            <p:nvPr>
              <p:custDataLst>
                <p:tags r:id="rId23"/>
              </p:custDataLst>
            </p:nvPr>
          </p:nvSpPr>
          <p:spPr bwMode="auto">
            <a:xfrm>
              <a:off x="8" y="8"/>
              <a:ext cx="528" cy="462"/>
            </a:xfrm>
            <a:custGeom>
              <a:avLst/>
              <a:gdLst>
                <a:gd name="T0" fmla="*/ 1202 w 1250"/>
                <a:gd name="T1" fmla="*/ 585 h 1092"/>
                <a:gd name="T2" fmla="*/ 1034 w 1250"/>
                <a:gd name="T3" fmla="*/ 585 h 1092"/>
                <a:gd name="T4" fmla="*/ 1034 w 1250"/>
                <a:gd name="T5" fmla="*/ 162 h 1092"/>
                <a:gd name="T6" fmla="*/ 604 w 1250"/>
                <a:gd name="T7" fmla="*/ 114 h 1092"/>
                <a:gd name="T8" fmla="*/ 560 w 1250"/>
                <a:gd name="T9" fmla="*/ 149 h 1092"/>
                <a:gd name="T10" fmla="*/ 361 w 1250"/>
                <a:gd name="T11" fmla="*/ 822 h 1092"/>
                <a:gd name="T12" fmla="*/ 545 w 1250"/>
                <a:gd name="T13" fmla="*/ 14 h 1092"/>
                <a:gd name="T14" fmla="*/ 202 w 1250"/>
                <a:gd name="T15" fmla="*/ 1005 h 1092"/>
                <a:gd name="T16" fmla="*/ 0 w 1250"/>
                <a:gd name="T17" fmla="*/ 1005 h 1092"/>
                <a:gd name="T18" fmla="*/ 246 w 1250"/>
                <a:gd name="T19" fmla="*/ 1023 h 1092"/>
                <a:gd name="T20" fmla="*/ 451 w 1250"/>
                <a:gd name="T21" fmla="*/ 1092 h 1092"/>
                <a:gd name="T22" fmla="*/ 841 w 1250"/>
                <a:gd name="T23" fmla="*/ 1023 h 1092"/>
                <a:gd name="T24" fmla="*/ 1080 w 1250"/>
                <a:gd name="T25" fmla="*/ 1023 h 1092"/>
                <a:gd name="T26" fmla="*/ 1250 w 1250"/>
                <a:gd name="T27" fmla="*/ 633 h 1092"/>
                <a:gd name="T28" fmla="*/ 606 w 1250"/>
                <a:gd name="T29" fmla="*/ 162 h 1092"/>
                <a:gd name="T30" fmla="*/ 986 w 1250"/>
                <a:gd name="T31" fmla="*/ 162 h 1092"/>
                <a:gd name="T32" fmla="*/ 910 w 1250"/>
                <a:gd name="T33" fmla="*/ 585 h 1092"/>
                <a:gd name="T34" fmla="*/ 924 w 1250"/>
                <a:gd name="T35" fmla="*/ 324 h 1092"/>
                <a:gd name="T36" fmla="*/ 798 w 1250"/>
                <a:gd name="T37" fmla="*/ 312 h 1092"/>
                <a:gd name="T38" fmla="*/ 629 w 1250"/>
                <a:gd name="T39" fmla="*/ 439 h 1092"/>
                <a:gd name="T40" fmla="*/ 735 w 1250"/>
                <a:gd name="T41" fmla="*/ 470 h 1092"/>
                <a:gd name="T42" fmla="*/ 793 w 1250"/>
                <a:gd name="T43" fmla="*/ 541 h 1092"/>
                <a:gd name="T44" fmla="*/ 659 w 1250"/>
                <a:gd name="T45" fmla="*/ 708 h 1092"/>
                <a:gd name="T46" fmla="*/ 605 w 1250"/>
                <a:gd name="T47" fmla="*/ 162 h 1092"/>
                <a:gd name="T48" fmla="*/ 771 w 1250"/>
                <a:gd name="T49" fmla="*/ 633 h 1092"/>
                <a:gd name="T50" fmla="*/ 711 w 1250"/>
                <a:gd name="T51" fmla="*/ 708 h 1092"/>
                <a:gd name="T52" fmla="*/ 771 w 1250"/>
                <a:gd name="T53" fmla="*/ 593 h 1092"/>
                <a:gd name="T54" fmla="*/ 395 w 1250"/>
                <a:gd name="T55" fmla="*/ 992 h 1092"/>
                <a:gd name="T56" fmla="*/ 506 w 1250"/>
                <a:gd name="T57" fmla="*/ 992 h 1092"/>
                <a:gd name="T58" fmla="*/ 960 w 1250"/>
                <a:gd name="T59" fmla="*/ 1041 h 1092"/>
                <a:gd name="T60" fmla="*/ 960 w 1250"/>
                <a:gd name="T61" fmla="*/ 866 h 1092"/>
                <a:gd name="T62" fmla="*/ 960 w 1250"/>
                <a:gd name="T63" fmla="*/ 1041 h 1092"/>
                <a:gd name="T64" fmla="*/ 1097 w 1250"/>
                <a:gd name="T65" fmla="*/ 975 h 1092"/>
                <a:gd name="T66" fmla="*/ 960 w 1250"/>
                <a:gd name="T67" fmla="*/ 815 h 1092"/>
                <a:gd name="T68" fmla="*/ 824 w 1250"/>
                <a:gd name="T69" fmla="*/ 975 h 1092"/>
                <a:gd name="T70" fmla="*/ 451 w 1250"/>
                <a:gd name="T71" fmla="*/ 892 h 1092"/>
                <a:gd name="T72" fmla="*/ 260 w 1250"/>
                <a:gd name="T73" fmla="*/ 975 h 1092"/>
                <a:gd name="T74" fmla="*/ 396 w 1250"/>
                <a:gd name="T75" fmla="*/ 870 h 1092"/>
                <a:gd name="T76" fmla="*/ 819 w 1250"/>
                <a:gd name="T77" fmla="*/ 755 h 1092"/>
                <a:gd name="T78" fmla="*/ 1202 w 1250"/>
                <a:gd name="T79" fmla="*/ 633 h 1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0" h="1092">
                  <a:moveTo>
                    <a:pt x="1250" y="633"/>
                  </a:moveTo>
                  <a:cubicBezTo>
                    <a:pt x="1250" y="606"/>
                    <a:pt x="1229" y="585"/>
                    <a:pt x="1202" y="585"/>
                  </a:cubicBezTo>
                  <a:lnTo>
                    <a:pt x="1202" y="585"/>
                  </a:lnTo>
                  <a:lnTo>
                    <a:pt x="1034" y="585"/>
                  </a:lnTo>
                  <a:lnTo>
                    <a:pt x="1034" y="162"/>
                  </a:lnTo>
                  <a:lnTo>
                    <a:pt x="1034" y="162"/>
                  </a:lnTo>
                  <a:cubicBezTo>
                    <a:pt x="1034" y="136"/>
                    <a:pt x="1013" y="114"/>
                    <a:pt x="986" y="114"/>
                  </a:cubicBezTo>
                  <a:lnTo>
                    <a:pt x="604" y="114"/>
                  </a:lnTo>
                  <a:lnTo>
                    <a:pt x="604" y="115"/>
                  </a:lnTo>
                  <a:cubicBezTo>
                    <a:pt x="583" y="115"/>
                    <a:pt x="566" y="129"/>
                    <a:pt x="560" y="149"/>
                  </a:cubicBezTo>
                  <a:lnTo>
                    <a:pt x="560" y="149"/>
                  </a:lnTo>
                  <a:lnTo>
                    <a:pt x="361" y="822"/>
                  </a:lnTo>
                  <a:lnTo>
                    <a:pt x="306" y="822"/>
                  </a:lnTo>
                  <a:lnTo>
                    <a:pt x="545" y="14"/>
                  </a:lnTo>
                  <a:lnTo>
                    <a:pt x="499" y="0"/>
                  </a:lnTo>
                  <a:lnTo>
                    <a:pt x="202" y="1005"/>
                  </a:lnTo>
                  <a:lnTo>
                    <a:pt x="11" y="959"/>
                  </a:lnTo>
                  <a:lnTo>
                    <a:pt x="0" y="1005"/>
                  </a:lnTo>
                  <a:lnTo>
                    <a:pt x="235" y="1062"/>
                  </a:lnTo>
                  <a:lnTo>
                    <a:pt x="246" y="1023"/>
                  </a:lnTo>
                  <a:lnTo>
                    <a:pt x="355" y="1023"/>
                  </a:lnTo>
                  <a:cubicBezTo>
                    <a:pt x="368" y="1063"/>
                    <a:pt x="406" y="1092"/>
                    <a:pt x="451" y="1092"/>
                  </a:cubicBezTo>
                  <a:cubicBezTo>
                    <a:pt x="495" y="1092"/>
                    <a:pt x="533" y="1063"/>
                    <a:pt x="546" y="1023"/>
                  </a:cubicBezTo>
                  <a:lnTo>
                    <a:pt x="841" y="1023"/>
                  </a:lnTo>
                  <a:cubicBezTo>
                    <a:pt x="864" y="1064"/>
                    <a:pt x="909" y="1092"/>
                    <a:pt x="960" y="1092"/>
                  </a:cubicBezTo>
                  <a:cubicBezTo>
                    <a:pt x="1012" y="1092"/>
                    <a:pt x="1056" y="1064"/>
                    <a:pt x="1080" y="1023"/>
                  </a:cubicBezTo>
                  <a:lnTo>
                    <a:pt x="1250" y="1023"/>
                  </a:lnTo>
                  <a:lnTo>
                    <a:pt x="1250" y="633"/>
                  </a:lnTo>
                  <a:close/>
                  <a:moveTo>
                    <a:pt x="605" y="162"/>
                  </a:moveTo>
                  <a:lnTo>
                    <a:pt x="606" y="162"/>
                  </a:lnTo>
                  <a:lnTo>
                    <a:pt x="606" y="162"/>
                  </a:lnTo>
                  <a:lnTo>
                    <a:pt x="986" y="162"/>
                  </a:lnTo>
                  <a:lnTo>
                    <a:pt x="986" y="585"/>
                  </a:lnTo>
                  <a:lnTo>
                    <a:pt x="910" y="585"/>
                  </a:lnTo>
                  <a:cubicBezTo>
                    <a:pt x="919" y="578"/>
                    <a:pt x="924" y="570"/>
                    <a:pt x="924" y="564"/>
                  </a:cubicBezTo>
                  <a:lnTo>
                    <a:pt x="924" y="324"/>
                  </a:lnTo>
                  <a:cubicBezTo>
                    <a:pt x="921" y="313"/>
                    <a:pt x="911" y="299"/>
                    <a:pt x="906" y="298"/>
                  </a:cubicBezTo>
                  <a:cubicBezTo>
                    <a:pt x="885" y="323"/>
                    <a:pt x="845" y="334"/>
                    <a:pt x="798" y="312"/>
                  </a:cubicBezTo>
                  <a:cubicBezTo>
                    <a:pt x="798" y="312"/>
                    <a:pt x="747" y="382"/>
                    <a:pt x="702" y="420"/>
                  </a:cubicBezTo>
                  <a:cubicBezTo>
                    <a:pt x="693" y="424"/>
                    <a:pt x="629" y="439"/>
                    <a:pt x="629" y="439"/>
                  </a:cubicBezTo>
                  <a:lnTo>
                    <a:pt x="639" y="489"/>
                  </a:lnTo>
                  <a:lnTo>
                    <a:pt x="735" y="470"/>
                  </a:lnTo>
                  <a:lnTo>
                    <a:pt x="793" y="406"/>
                  </a:lnTo>
                  <a:lnTo>
                    <a:pt x="793" y="541"/>
                  </a:lnTo>
                  <a:lnTo>
                    <a:pt x="659" y="541"/>
                  </a:lnTo>
                  <a:lnTo>
                    <a:pt x="659" y="708"/>
                  </a:lnTo>
                  <a:lnTo>
                    <a:pt x="444" y="708"/>
                  </a:lnTo>
                  <a:lnTo>
                    <a:pt x="605" y="162"/>
                  </a:lnTo>
                  <a:close/>
                  <a:moveTo>
                    <a:pt x="771" y="593"/>
                  </a:moveTo>
                  <a:lnTo>
                    <a:pt x="771" y="633"/>
                  </a:lnTo>
                  <a:lnTo>
                    <a:pt x="771" y="708"/>
                  </a:lnTo>
                  <a:lnTo>
                    <a:pt x="711" y="708"/>
                  </a:lnTo>
                  <a:lnTo>
                    <a:pt x="711" y="593"/>
                  </a:lnTo>
                  <a:lnTo>
                    <a:pt x="771" y="593"/>
                  </a:lnTo>
                  <a:close/>
                  <a:moveTo>
                    <a:pt x="451" y="1048"/>
                  </a:moveTo>
                  <a:cubicBezTo>
                    <a:pt x="420" y="1048"/>
                    <a:pt x="395" y="1023"/>
                    <a:pt x="395" y="992"/>
                  </a:cubicBezTo>
                  <a:cubicBezTo>
                    <a:pt x="395" y="961"/>
                    <a:pt x="420" y="936"/>
                    <a:pt x="451" y="936"/>
                  </a:cubicBezTo>
                  <a:cubicBezTo>
                    <a:pt x="481" y="936"/>
                    <a:pt x="506" y="961"/>
                    <a:pt x="506" y="992"/>
                  </a:cubicBezTo>
                  <a:cubicBezTo>
                    <a:pt x="506" y="1023"/>
                    <a:pt x="481" y="1048"/>
                    <a:pt x="451" y="1048"/>
                  </a:cubicBezTo>
                  <a:close/>
                  <a:moveTo>
                    <a:pt x="960" y="1041"/>
                  </a:moveTo>
                  <a:cubicBezTo>
                    <a:pt x="912" y="1041"/>
                    <a:pt x="873" y="1002"/>
                    <a:pt x="873" y="954"/>
                  </a:cubicBezTo>
                  <a:cubicBezTo>
                    <a:pt x="873" y="906"/>
                    <a:pt x="912" y="866"/>
                    <a:pt x="960" y="866"/>
                  </a:cubicBezTo>
                  <a:cubicBezTo>
                    <a:pt x="1009" y="866"/>
                    <a:pt x="1048" y="906"/>
                    <a:pt x="1048" y="954"/>
                  </a:cubicBezTo>
                  <a:cubicBezTo>
                    <a:pt x="1048" y="1002"/>
                    <a:pt x="1009" y="1041"/>
                    <a:pt x="960" y="1041"/>
                  </a:cubicBezTo>
                  <a:close/>
                  <a:moveTo>
                    <a:pt x="1202" y="975"/>
                  </a:moveTo>
                  <a:lnTo>
                    <a:pt x="1097" y="975"/>
                  </a:lnTo>
                  <a:cubicBezTo>
                    <a:pt x="1098" y="968"/>
                    <a:pt x="1099" y="961"/>
                    <a:pt x="1099" y="954"/>
                  </a:cubicBezTo>
                  <a:cubicBezTo>
                    <a:pt x="1099" y="877"/>
                    <a:pt x="1037" y="815"/>
                    <a:pt x="960" y="815"/>
                  </a:cubicBezTo>
                  <a:cubicBezTo>
                    <a:pt x="884" y="815"/>
                    <a:pt x="822" y="877"/>
                    <a:pt x="822" y="954"/>
                  </a:cubicBezTo>
                  <a:cubicBezTo>
                    <a:pt x="822" y="961"/>
                    <a:pt x="823" y="968"/>
                    <a:pt x="824" y="975"/>
                  </a:cubicBezTo>
                  <a:lnTo>
                    <a:pt x="549" y="975"/>
                  </a:lnTo>
                  <a:cubicBezTo>
                    <a:pt x="541" y="928"/>
                    <a:pt x="500" y="892"/>
                    <a:pt x="451" y="892"/>
                  </a:cubicBezTo>
                  <a:cubicBezTo>
                    <a:pt x="401" y="892"/>
                    <a:pt x="360" y="928"/>
                    <a:pt x="352" y="975"/>
                  </a:cubicBezTo>
                  <a:lnTo>
                    <a:pt x="260" y="975"/>
                  </a:lnTo>
                  <a:lnTo>
                    <a:pt x="291" y="870"/>
                  </a:lnTo>
                  <a:lnTo>
                    <a:pt x="396" y="870"/>
                  </a:lnTo>
                  <a:lnTo>
                    <a:pt x="430" y="755"/>
                  </a:lnTo>
                  <a:lnTo>
                    <a:pt x="819" y="755"/>
                  </a:lnTo>
                  <a:lnTo>
                    <a:pt x="819" y="633"/>
                  </a:lnTo>
                  <a:lnTo>
                    <a:pt x="1202" y="633"/>
                  </a:lnTo>
                  <a:lnTo>
                    <a:pt x="1202" y="975"/>
                  </a:lnTo>
                  <a:close/>
                </a:path>
              </a:pathLst>
            </a:custGeom>
            <a:solidFill>
              <a:srgbClr val="0070C0"/>
            </a:solid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83" name="POWER_USER_ID_ICONS_Gears"/>
          <p:cNvGrpSpPr>
            <a:grpSpLocks noChangeAspect="1"/>
          </p:cNvGrpSpPr>
          <p:nvPr>
            <p:custDataLst>
              <p:tags r:id="rId3"/>
            </p:custDataLst>
          </p:nvPr>
        </p:nvGrpSpPr>
        <p:grpSpPr bwMode="auto">
          <a:xfrm>
            <a:off x="3011394" y="2232627"/>
            <a:ext cx="774133" cy="826088"/>
            <a:chOff x="8" y="8"/>
            <a:chExt cx="447" cy="477"/>
          </a:xfrm>
          <a:solidFill>
            <a:schemeClr val="bg1">
              <a:lumMod val="50000"/>
            </a:schemeClr>
          </a:solidFill>
        </p:grpSpPr>
        <p:sp>
          <p:nvSpPr>
            <p:cNvPr id="84" name="POWER_USER_ID_ICONS_Gears"/>
            <p:cNvSpPr>
              <a:spLocks noEditPoints="1"/>
            </p:cNvSpPr>
            <p:nvPr>
              <p:custDataLst>
                <p:tags r:id="rId18"/>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85" name="POWER_USER_ID_ICONS_Gears"/>
            <p:cNvSpPr>
              <a:spLocks noEditPoints="1"/>
            </p:cNvSpPr>
            <p:nvPr>
              <p:custDataLst>
                <p:tags r:id="rId19"/>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86" name="POWER_USER_ID_ICONS_Gears"/>
            <p:cNvSpPr>
              <a:spLocks noEditPoints="1"/>
            </p:cNvSpPr>
            <p:nvPr>
              <p:custDataLst>
                <p:tags r:id="rId20"/>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87" name="POWER_USER_ID_ICONS_Gears"/>
            <p:cNvSpPr>
              <a:spLocks noEditPoints="1"/>
            </p:cNvSpPr>
            <p:nvPr>
              <p:custDataLst>
                <p:tags r:id="rId21"/>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88" name="POWER_USER_ID_ICONS_Laptop"/>
          <p:cNvGrpSpPr>
            <a:grpSpLocks noChangeAspect="1"/>
          </p:cNvGrpSpPr>
          <p:nvPr>
            <p:custDataLst>
              <p:tags r:id="rId4"/>
            </p:custDataLst>
          </p:nvPr>
        </p:nvGrpSpPr>
        <p:grpSpPr bwMode="auto">
          <a:xfrm>
            <a:off x="4689830" y="2251162"/>
            <a:ext cx="1096492" cy="807552"/>
            <a:chOff x="24" y="83"/>
            <a:chExt cx="444" cy="327"/>
          </a:xfrm>
          <a:solidFill>
            <a:srgbClr val="C00000"/>
          </a:solidFill>
        </p:grpSpPr>
        <p:sp>
          <p:nvSpPr>
            <p:cNvPr id="89" name="POWER_USER_ID_ICONS_Laptop"/>
            <p:cNvSpPr>
              <a:spLocks noEditPoints="1"/>
            </p:cNvSpPr>
            <p:nvPr>
              <p:custDataLst>
                <p:tags r:id="rId11"/>
              </p:custDataLst>
            </p:nvPr>
          </p:nvSpPr>
          <p:spPr bwMode="auto">
            <a:xfrm>
              <a:off x="36" y="83"/>
              <a:ext cx="420" cy="291"/>
            </a:xfrm>
            <a:custGeom>
              <a:avLst/>
              <a:gdLst>
                <a:gd name="T0" fmla="*/ 931 w 996"/>
                <a:gd name="T1" fmla="*/ 0 h 689"/>
                <a:gd name="T2" fmla="*/ 64 w 996"/>
                <a:gd name="T3" fmla="*/ 0 h 689"/>
                <a:gd name="T4" fmla="*/ 0 w 996"/>
                <a:gd name="T5" fmla="*/ 64 h 689"/>
                <a:gd name="T6" fmla="*/ 0 w 996"/>
                <a:gd name="T7" fmla="*/ 627 h 689"/>
                <a:gd name="T8" fmla="*/ 44 w 996"/>
                <a:gd name="T9" fmla="*/ 687 h 689"/>
                <a:gd name="T10" fmla="*/ 81 w 996"/>
                <a:gd name="T11" fmla="*/ 656 h 689"/>
                <a:gd name="T12" fmla="*/ 131 w 996"/>
                <a:gd name="T13" fmla="*/ 656 h 689"/>
                <a:gd name="T14" fmla="*/ 170 w 996"/>
                <a:gd name="T15" fmla="*/ 689 h 689"/>
                <a:gd name="T16" fmla="*/ 171 w 996"/>
                <a:gd name="T17" fmla="*/ 689 h 689"/>
                <a:gd name="T18" fmla="*/ 210 w 996"/>
                <a:gd name="T19" fmla="*/ 656 h 689"/>
                <a:gd name="T20" fmla="*/ 260 w 996"/>
                <a:gd name="T21" fmla="*/ 656 h 689"/>
                <a:gd name="T22" fmla="*/ 299 w 996"/>
                <a:gd name="T23" fmla="*/ 689 h 689"/>
                <a:gd name="T24" fmla="*/ 311 w 996"/>
                <a:gd name="T25" fmla="*/ 689 h 689"/>
                <a:gd name="T26" fmla="*/ 353 w 996"/>
                <a:gd name="T27" fmla="*/ 656 h 689"/>
                <a:gd name="T28" fmla="*/ 645 w 996"/>
                <a:gd name="T29" fmla="*/ 656 h 689"/>
                <a:gd name="T30" fmla="*/ 686 w 996"/>
                <a:gd name="T31" fmla="*/ 689 h 689"/>
                <a:gd name="T32" fmla="*/ 699 w 996"/>
                <a:gd name="T33" fmla="*/ 689 h 689"/>
                <a:gd name="T34" fmla="*/ 738 w 996"/>
                <a:gd name="T35" fmla="*/ 656 h 689"/>
                <a:gd name="T36" fmla="*/ 788 w 996"/>
                <a:gd name="T37" fmla="*/ 656 h 689"/>
                <a:gd name="T38" fmla="*/ 826 w 996"/>
                <a:gd name="T39" fmla="*/ 689 h 689"/>
                <a:gd name="T40" fmla="*/ 823 w 996"/>
                <a:gd name="T41" fmla="*/ 689 h 689"/>
                <a:gd name="T42" fmla="*/ 861 w 996"/>
                <a:gd name="T43" fmla="*/ 656 h 689"/>
                <a:gd name="T44" fmla="*/ 911 w 996"/>
                <a:gd name="T45" fmla="*/ 656 h 689"/>
                <a:gd name="T46" fmla="*/ 949 w 996"/>
                <a:gd name="T47" fmla="*/ 688 h 689"/>
                <a:gd name="T48" fmla="*/ 996 w 996"/>
                <a:gd name="T49" fmla="*/ 626 h 689"/>
                <a:gd name="T50" fmla="*/ 996 w 996"/>
                <a:gd name="T51" fmla="*/ 64 h 689"/>
                <a:gd name="T52" fmla="*/ 931 w 996"/>
                <a:gd name="T53" fmla="*/ 0 h 689"/>
                <a:gd name="T54" fmla="*/ 945 w 996"/>
                <a:gd name="T55" fmla="*/ 613 h 689"/>
                <a:gd name="T56" fmla="*/ 924 w 996"/>
                <a:gd name="T57" fmla="*/ 634 h 689"/>
                <a:gd name="T58" fmla="*/ 71 w 996"/>
                <a:gd name="T59" fmla="*/ 634 h 689"/>
                <a:gd name="T60" fmla="*/ 50 w 996"/>
                <a:gd name="T61" fmla="*/ 613 h 689"/>
                <a:gd name="T62" fmla="*/ 50 w 996"/>
                <a:gd name="T63" fmla="*/ 78 h 689"/>
                <a:gd name="T64" fmla="*/ 71 w 996"/>
                <a:gd name="T65" fmla="*/ 57 h 689"/>
                <a:gd name="T66" fmla="*/ 924 w 996"/>
                <a:gd name="T67" fmla="*/ 57 h 689"/>
                <a:gd name="T68" fmla="*/ 945 w 996"/>
                <a:gd name="T69" fmla="*/ 78 h 689"/>
                <a:gd name="T70" fmla="*/ 945 w 996"/>
                <a:gd name="T71" fmla="*/ 613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6" h="689">
                  <a:moveTo>
                    <a:pt x="931" y="0"/>
                  </a:moveTo>
                  <a:lnTo>
                    <a:pt x="64" y="0"/>
                  </a:lnTo>
                  <a:cubicBezTo>
                    <a:pt x="29" y="0"/>
                    <a:pt x="0" y="29"/>
                    <a:pt x="0" y="64"/>
                  </a:cubicBezTo>
                  <a:lnTo>
                    <a:pt x="0" y="627"/>
                  </a:lnTo>
                  <a:cubicBezTo>
                    <a:pt x="0" y="655"/>
                    <a:pt x="19" y="679"/>
                    <a:pt x="44" y="687"/>
                  </a:cubicBezTo>
                  <a:cubicBezTo>
                    <a:pt x="48" y="669"/>
                    <a:pt x="63" y="656"/>
                    <a:pt x="81" y="656"/>
                  </a:cubicBezTo>
                  <a:lnTo>
                    <a:pt x="131" y="656"/>
                  </a:lnTo>
                  <a:cubicBezTo>
                    <a:pt x="150" y="656"/>
                    <a:pt x="166" y="670"/>
                    <a:pt x="170" y="689"/>
                  </a:cubicBezTo>
                  <a:lnTo>
                    <a:pt x="171" y="689"/>
                  </a:lnTo>
                  <a:cubicBezTo>
                    <a:pt x="174" y="670"/>
                    <a:pt x="190" y="656"/>
                    <a:pt x="210" y="656"/>
                  </a:cubicBezTo>
                  <a:lnTo>
                    <a:pt x="260" y="656"/>
                  </a:lnTo>
                  <a:cubicBezTo>
                    <a:pt x="279" y="656"/>
                    <a:pt x="295" y="670"/>
                    <a:pt x="299" y="689"/>
                  </a:cubicBezTo>
                  <a:lnTo>
                    <a:pt x="311" y="689"/>
                  </a:lnTo>
                  <a:cubicBezTo>
                    <a:pt x="315" y="670"/>
                    <a:pt x="333" y="656"/>
                    <a:pt x="353" y="656"/>
                  </a:cubicBezTo>
                  <a:lnTo>
                    <a:pt x="645" y="656"/>
                  </a:lnTo>
                  <a:cubicBezTo>
                    <a:pt x="665" y="656"/>
                    <a:pt x="683" y="670"/>
                    <a:pt x="686" y="689"/>
                  </a:cubicBezTo>
                  <a:lnTo>
                    <a:pt x="699" y="689"/>
                  </a:lnTo>
                  <a:cubicBezTo>
                    <a:pt x="701" y="670"/>
                    <a:pt x="718" y="656"/>
                    <a:pt x="738" y="656"/>
                  </a:cubicBezTo>
                  <a:lnTo>
                    <a:pt x="788" y="656"/>
                  </a:lnTo>
                  <a:cubicBezTo>
                    <a:pt x="806" y="656"/>
                    <a:pt x="823" y="670"/>
                    <a:pt x="826" y="689"/>
                  </a:cubicBezTo>
                  <a:lnTo>
                    <a:pt x="823" y="689"/>
                  </a:lnTo>
                  <a:cubicBezTo>
                    <a:pt x="825" y="670"/>
                    <a:pt x="841" y="656"/>
                    <a:pt x="861" y="656"/>
                  </a:cubicBezTo>
                  <a:lnTo>
                    <a:pt x="911" y="656"/>
                  </a:lnTo>
                  <a:cubicBezTo>
                    <a:pt x="930" y="656"/>
                    <a:pt x="945" y="670"/>
                    <a:pt x="949" y="688"/>
                  </a:cubicBezTo>
                  <a:cubicBezTo>
                    <a:pt x="976" y="680"/>
                    <a:pt x="996" y="656"/>
                    <a:pt x="996" y="626"/>
                  </a:cubicBezTo>
                  <a:lnTo>
                    <a:pt x="996" y="64"/>
                  </a:lnTo>
                  <a:cubicBezTo>
                    <a:pt x="995" y="29"/>
                    <a:pt x="966" y="0"/>
                    <a:pt x="931" y="0"/>
                  </a:cubicBezTo>
                  <a:close/>
                  <a:moveTo>
                    <a:pt x="945" y="613"/>
                  </a:moveTo>
                  <a:cubicBezTo>
                    <a:pt x="945" y="624"/>
                    <a:pt x="935" y="634"/>
                    <a:pt x="924" y="634"/>
                  </a:cubicBezTo>
                  <a:lnTo>
                    <a:pt x="71" y="634"/>
                  </a:lnTo>
                  <a:cubicBezTo>
                    <a:pt x="60" y="634"/>
                    <a:pt x="50" y="624"/>
                    <a:pt x="50" y="613"/>
                  </a:cubicBezTo>
                  <a:lnTo>
                    <a:pt x="50" y="78"/>
                  </a:lnTo>
                  <a:cubicBezTo>
                    <a:pt x="50" y="67"/>
                    <a:pt x="60" y="57"/>
                    <a:pt x="71" y="57"/>
                  </a:cubicBezTo>
                  <a:lnTo>
                    <a:pt x="924" y="57"/>
                  </a:lnTo>
                  <a:cubicBezTo>
                    <a:pt x="935" y="57"/>
                    <a:pt x="945" y="67"/>
                    <a:pt x="945" y="78"/>
                  </a:cubicBezTo>
                  <a:lnTo>
                    <a:pt x="945" y="613"/>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0" name="POWER_USER_ID_ICONS_Laptop"/>
            <p:cNvSpPr>
              <a:spLocks/>
            </p:cNvSpPr>
            <p:nvPr>
              <p:custDataLst>
                <p:tags r:id="rId12"/>
              </p:custDataLst>
            </p:nvPr>
          </p:nvSpPr>
          <p:spPr bwMode="auto">
            <a:xfrm>
              <a:off x="24" y="382"/>
              <a:ext cx="444" cy="28"/>
            </a:xfrm>
            <a:custGeom>
              <a:avLst/>
              <a:gdLst>
                <a:gd name="T0" fmla="*/ 1051 w 1052"/>
                <a:gd name="T1" fmla="*/ 26 h 65"/>
                <a:gd name="T2" fmla="*/ 1024 w 1052"/>
                <a:gd name="T3" fmla="*/ 0 h 65"/>
                <a:gd name="T4" fmla="*/ 27 w 1052"/>
                <a:gd name="T5" fmla="*/ 0 h 65"/>
                <a:gd name="T6" fmla="*/ 0 w 1052"/>
                <a:gd name="T7" fmla="*/ 26 h 65"/>
                <a:gd name="T8" fmla="*/ 0 w 1052"/>
                <a:gd name="T9" fmla="*/ 39 h 65"/>
                <a:gd name="T10" fmla="*/ 27 w 1052"/>
                <a:gd name="T11" fmla="*/ 65 h 65"/>
                <a:gd name="T12" fmla="*/ 1026 w 1052"/>
                <a:gd name="T13" fmla="*/ 65 h 65"/>
                <a:gd name="T14" fmla="*/ 1052 w 1052"/>
                <a:gd name="T15" fmla="*/ 39 h 65"/>
                <a:gd name="T16" fmla="*/ 1052 w 1052"/>
                <a:gd name="T17" fmla="*/ 26 h 65"/>
                <a:gd name="T18" fmla="*/ 1051 w 1052"/>
                <a:gd name="T19" fmla="*/ 2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5">
                  <a:moveTo>
                    <a:pt x="1051" y="26"/>
                  </a:moveTo>
                  <a:cubicBezTo>
                    <a:pt x="1051" y="12"/>
                    <a:pt x="1039" y="0"/>
                    <a:pt x="1024" y="0"/>
                  </a:cubicBezTo>
                  <a:lnTo>
                    <a:pt x="27" y="0"/>
                  </a:lnTo>
                  <a:cubicBezTo>
                    <a:pt x="13" y="0"/>
                    <a:pt x="0" y="11"/>
                    <a:pt x="0" y="26"/>
                  </a:cubicBezTo>
                  <a:lnTo>
                    <a:pt x="0" y="39"/>
                  </a:lnTo>
                  <a:cubicBezTo>
                    <a:pt x="0" y="52"/>
                    <a:pt x="12" y="65"/>
                    <a:pt x="27" y="65"/>
                  </a:cubicBezTo>
                  <a:lnTo>
                    <a:pt x="1026" y="65"/>
                  </a:lnTo>
                  <a:cubicBezTo>
                    <a:pt x="1039" y="65"/>
                    <a:pt x="1052" y="53"/>
                    <a:pt x="1052" y="39"/>
                  </a:cubicBezTo>
                  <a:lnTo>
                    <a:pt x="1052" y="26"/>
                  </a:lnTo>
                  <a:lnTo>
                    <a:pt x="1051" y="26"/>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1" name="POWER_USER_ID_ICONS_Laptop"/>
            <p:cNvSpPr>
              <a:spLocks/>
            </p:cNvSpPr>
            <p:nvPr>
              <p:custDataLst>
                <p:tags r:id="rId13"/>
              </p:custDataLst>
            </p:nvPr>
          </p:nvSpPr>
          <p:spPr bwMode="auto">
            <a:xfrm>
              <a:off x="173" y="368"/>
              <a:ext cx="145" cy="10"/>
            </a:xfrm>
            <a:custGeom>
              <a:avLst/>
              <a:gdLst>
                <a:gd name="T0" fmla="*/ 316 w 343"/>
                <a:gd name="T1" fmla="*/ 0 h 24"/>
                <a:gd name="T2" fmla="*/ 25 w 343"/>
                <a:gd name="T3" fmla="*/ 0 h 24"/>
                <a:gd name="T4" fmla="*/ 0 w 343"/>
                <a:gd name="T5" fmla="*/ 24 h 24"/>
                <a:gd name="T6" fmla="*/ 343 w 343"/>
                <a:gd name="T7" fmla="*/ 24 h 24"/>
                <a:gd name="T8" fmla="*/ 316 w 343"/>
                <a:gd name="T9" fmla="*/ 0 h 24"/>
              </a:gdLst>
              <a:ahLst/>
              <a:cxnLst>
                <a:cxn ang="0">
                  <a:pos x="T0" y="T1"/>
                </a:cxn>
                <a:cxn ang="0">
                  <a:pos x="T2" y="T3"/>
                </a:cxn>
                <a:cxn ang="0">
                  <a:pos x="T4" y="T5"/>
                </a:cxn>
                <a:cxn ang="0">
                  <a:pos x="T6" y="T7"/>
                </a:cxn>
                <a:cxn ang="0">
                  <a:pos x="T8" y="T9"/>
                </a:cxn>
              </a:cxnLst>
              <a:rect l="0" t="0" r="r" b="b"/>
              <a:pathLst>
                <a:path w="343" h="24">
                  <a:moveTo>
                    <a:pt x="316" y="0"/>
                  </a:moveTo>
                  <a:lnTo>
                    <a:pt x="25" y="0"/>
                  </a:lnTo>
                  <a:cubicBezTo>
                    <a:pt x="11" y="0"/>
                    <a:pt x="1" y="10"/>
                    <a:pt x="0" y="24"/>
                  </a:cubicBezTo>
                  <a:lnTo>
                    <a:pt x="343" y="24"/>
                  </a:lnTo>
                  <a:cubicBezTo>
                    <a:pt x="341" y="10"/>
                    <a:pt x="330" y="0"/>
                    <a:pt x="316"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2" name="POWER_USER_ID_ICONS_Laptop"/>
            <p:cNvSpPr>
              <a:spLocks/>
            </p:cNvSpPr>
            <p:nvPr>
              <p:custDataLst>
                <p:tags r:id="rId14"/>
              </p:custDataLst>
            </p:nvPr>
          </p:nvSpPr>
          <p:spPr bwMode="auto">
            <a:xfrm>
              <a:off x="336" y="368"/>
              <a:ext cx="40" cy="10"/>
            </a:xfrm>
            <a:custGeom>
              <a:avLst/>
              <a:gdLst>
                <a:gd name="T0" fmla="*/ 72 w 94"/>
                <a:gd name="T1" fmla="*/ 0 h 23"/>
                <a:gd name="T2" fmla="*/ 22 w 94"/>
                <a:gd name="T3" fmla="*/ 0 h 23"/>
                <a:gd name="T4" fmla="*/ 0 w 94"/>
                <a:gd name="T5" fmla="*/ 21 h 23"/>
                <a:gd name="T6" fmla="*/ 0 w 94"/>
                <a:gd name="T7" fmla="*/ 23 h 23"/>
                <a:gd name="T8" fmla="*/ 93 w 94"/>
                <a:gd name="T9" fmla="*/ 23 h 23"/>
                <a:gd name="T10" fmla="*/ 93 w 94"/>
                <a:gd name="T11" fmla="*/ 21 h 23"/>
                <a:gd name="T12" fmla="*/ 72 w 9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4" h="23">
                  <a:moveTo>
                    <a:pt x="72" y="0"/>
                  </a:moveTo>
                  <a:lnTo>
                    <a:pt x="22" y="0"/>
                  </a:lnTo>
                  <a:cubicBezTo>
                    <a:pt x="9" y="0"/>
                    <a:pt x="0" y="10"/>
                    <a:pt x="0" y="21"/>
                  </a:cubicBezTo>
                  <a:lnTo>
                    <a:pt x="0" y="23"/>
                  </a:lnTo>
                  <a:lnTo>
                    <a:pt x="93" y="23"/>
                  </a:lnTo>
                  <a:lnTo>
                    <a:pt x="93" y="21"/>
                  </a:lnTo>
                  <a:cubicBezTo>
                    <a:pt x="94" y="10"/>
                    <a:pt x="84" y="0"/>
                    <a:pt x="72"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3" name="POWER_USER_ID_ICONS_Laptop"/>
            <p:cNvSpPr>
              <a:spLocks/>
            </p:cNvSpPr>
            <p:nvPr>
              <p:custDataLst>
                <p:tags r:id="rId15"/>
              </p:custDataLst>
            </p:nvPr>
          </p:nvSpPr>
          <p:spPr bwMode="auto">
            <a:xfrm>
              <a:off x="390" y="368"/>
              <a:ext cx="39" cy="10"/>
            </a:xfrm>
            <a:custGeom>
              <a:avLst/>
              <a:gdLst>
                <a:gd name="T0" fmla="*/ 92 w 92"/>
                <a:gd name="T1" fmla="*/ 21 h 23"/>
                <a:gd name="T2" fmla="*/ 71 w 92"/>
                <a:gd name="T3" fmla="*/ 0 h 23"/>
                <a:gd name="T4" fmla="*/ 21 w 92"/>
                <a:gd name="T5" fmla="*/ 0 h 23"/>
                <a:gd name="T6" fmla="*/ 0 w 92"/>
                <a:gd name="T7" fmla="*/ 21 h 23"/>
                <a:gd name="T8" fmla="*/ 0 w 92"/>
                <a:gd name="T9" fmla="*/ 23 h 23"/>
                <a:gd name="T10" fmla="*/ 92 w 92"/>
                <a:gd name="T11" fmla="*/ 23 h 23"/>
                <a:gd name="T12" fmla="*/ 92 w 92"/>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92" h="23">
                  <a:moveTo>
                    <a:pt x="92" y="21"/>
                  </a:moveTo>
                  <a:cubicBezTo>
                    <a:pt x="92" y="9"/>
                    <a:pt x="82" y="0"/>
                    <a:pt x="71" y="0"/>
                  </a:cubicBezTo>
                  <a:lnTo>
                    <a:pt x="21" y="0"/>
                  </a:lnTo>
                  <a:cubicBezTo>
                    <a:pt x="9" y="0"/>
                    <a:pt x="0" y="10"/>
                    <a:pt x="0" y="21"/>
                  </a:cubicBezTo>
                  <a:lnTo>
                    <a:pt x="0" y="23"/>
                  </a:lnTo>
                  <a:lnTo>
                    <a:pt x="92" y="23"/>
                  </a:lnTo>
                  <a:lnTo>
                    <a:pt x="92" y="21"/>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4" name="POWER_USER_ID_ICONS_Laptop"/>
            <p:cNvSpPr>
              <a:spLocks/>
            </p:cNvSpPr>
            <p:nvPr>
              <p:custDataLst>
                <p:tags r:id="rId16"/>
              </p:custDataLst>
            </p:nvPr>
          </p:nvSpPr>
          <p:spPr bwMode="auto">
            <a:xfrm>
              <a:off x="61" y="368"/>
              <a:ext cx="39" cy="10"/>
            </a:xfrm>
            <a:custGeom>
              <a:avLst/>
              <a:gdLst>
                <a:gd name="T0" fmla="*/ 71 w 92"/>
                <a:gd name="T1" fmla="*/ 0 h 23"/>
                <a:gd name="T2" fmla="*/ 21 w 92"/>
                <a:gd name="T3" fmla="*/ 0 h 23"/>
                <a:gd name="T4" fmla="*/ 0 w 92"/>
                <a:gd name="T5" fmla="*/ 21 h 23"/>
                <a:gd name="T6" fmla="*/ 0 w 92"/>
                <a:gd name="T7" fmla="*/ 23 h 23"/>
                <a:gd name="T8" fmla="*/ 92 w 92"/>
                <a:gd name="T9" fmla="*/ 23 h 23"/>
                <a:gd name="T10" fmla="*/ 92 w 92"/>
                <a:gd name="T11" fmla="*/ 21 h 23"/>
                <a:gd name="T12" fmla="*/ 71 w 9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2" h="23">
                  <a:moveTo>
                    <a:pt x="71" y="0"/>
                  </a:moveTo>
                  <a:lnTo>
                    <a:pt x="21" y="0"/>
                  </a:lnTo>
                  <a:cubicBezTo>
                    <a:pt x="9" y="0"/>
                    <a:pt x="0" y="10"/>
                    <a:pt x="0" y="21"/>
                  </a:cubicBezTo>
                  <a:lnTo>
                    <a:pt x="0" y="23"/>
                  </a:lnTo>
                  <a:lnTo>
                    <a:pt x="92" y="23"/>
                  </a:lnTo>
                  <a:lnTo>
                    <a:pt x="92" y="21"/>
                  </a:lnTo>
                  <a:cubicBezTo>
                    <a:pt x="92" y="10"/>
                    <a:pt x="83" y="0"/>
                    <a:pt x="71"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5" name="POWER_USER_ID_ICONS_Laptop"/>
            <p:cNvSpPr>
              <a:spLocks/>
            </p:cNvSpPr>
            <p:nvPr>
              <p:custDataLst>
                <p:tags r:id="rId17"/>
              </p:custDataLst>
            </p:nvPr>
          </p:nvSpPr>
          <p:spPr bwMode="auto">
            <a:xfrm>
              <a:off x="114" y="368"/>
              <a:ext cx="40" cy="10"/>
            </a:xfrm>
            <a:custGeom>
              <a:avLst/>
              <a:gdLst>
                <a:gd name="T0" fmla="*/ 72 w 94"/>
                <a:gd name="T1" fmla="*/ 0 h 23"/>
                <a:gd name="T2" fmla="*/ 22 w 94"/>
                <a:gd name="T3" fmla="*/ 0 h 23"/>
                <a:gd name="T4" fmla="*/ 0 w 94"/>
                <a:gd name="T5" fmla="*/ 21 h 23"/>
                <a:gd name="T6" fmla="*/ 0 w 94"/>
                <a:gd name="T7" fmla="*/ 23 h 23"/>
                <a:gd name="T8" fmla="*/ 93 w 94"/>
                <a:gd name="T9" fmla="*/ 23 h 23"/>
                <a:gd name="T10" fmla="*/ 93 w 94"/>
                <a:gd name="T11" fmla="*/ 21 h 23"/>
                <a:gd name="T12" fmla="*/ 72 w 9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4" h="23">
                  <a:moveTo>
                    <a:pt x="72" y="0"/>
                  </a:moveTo>
                  <a:lnTo>
                    <a:pt x="22" y="0"/>
                  </a:lnTo>
                  <a:cubicBezTo>
                    <a:pt x="9" y="0"/>
                    <a:pt x="0" y="10"/>
                    <a:pt x="0" y="21"/>
                  </a:cubicBezTo>
                  <a:lnTo>
                    <a:pt x="0" y="23"/>
                  </a:lnTo>
                  <a:lnTo>
                    <a:pt x="93" y="23"/>
                  </a:lnTo>
                  <a:lnTo>
                    <a:pt x="93" y="21"/>
                  </a:lnTo>
                  <a:cubicBezTo>
                    <a:pt x="94" y="10"/>
                    <a:pt x="84" y="0"/>
                    <a:pt x="72"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96" name="POWER_USER_ID_ICONS_Main_Office"/>
          <p:cNvGrpSpPr>
            <a:grpSpLocks noChangeAspect="1"/>
          </p:cNvGrpSpPr>
          <p:nvPr>
            <p:custDataLst>
              <p:tags r:id="rId5"/>
            </p:custDataLst>
          </p:nvPr>
        </p:nvGrpSpPr>
        <p:grpSpPr bwMode="auto">
          <a:xfrm flipH="1">
            <a:off x="6633270" y="2328392"/>
            <a:ext cx="819924" cy="707035"/>
            <a:chOff x="8" y="8"/>
            <a:chExt cx="552" cy="476"/>
          </a:xfrm>
          <a:solidFill>
            <a:schemeClr val="accent3">
              <a:lumMod val="75000"/>
            </a:schemeClr>
          </a:solidFill>
        </p:grpSpPr>
        <p:sp>
          <p:nvSpPr>
            <p:cNvPr id="97" name="POWER_USER_ID_ICONS_Main_Office"/>
            <p:cNvSpPr>
              <a:spLocks noEditPoints="1"/>
            </p:cNvSpPr>
            <p:nvPr>
              <p:custDataLst>
                <p:tags r:id="rId8"/>
              </p:custDataLst>
            </p:nvPr>
          </p:nvSpPr>
          <p:spPr bwMode="auto">
            <a:xfrm>
              <a:off x="8" y="254"/>
              <a:ext cx="552" cy="230"/>
            </a:xfrm>
            <a:custGeom>
              <a:avLst/>
              <a:gdLst>
                <a:gd name="T0" fmla="*/ 1181 w 1250"/>
                <a:gd name="T1" fmla="*/ 0 h 520"/>
                <a:gd name="T2" fmla="*/ 69 w 1250"/>
                <a:gd name="T3" fmla="*/ 0 h 520"/>
                <a:gd name="T4" fmla="*/ 0 w 1250"/>
                <a:gd name="T5" fmla="*/ 0 h 520"/>
                <a:gd name="T6" fmla="*/ 0 w 1250"/>
                <a:gd name="T7" fmla="*/ 86 h 520"/>
                <a:gd name="T8" fmla="*/ 69 w 1250"/>
                <a:gd name="T9" fmla="*/ 86 h 520"/>
                <a:gd name="T10" fmla="*/ 69 w 1250"/>
                <a:gd name="T11" fmla="*/ 520 h 520"/>
                <a:gd name="T12" fmla="*/ 1181 w 1250"/>
                <a:gd name="T13" fmla="*/ 520 h 520"/>
                <a:gd name="T14" fmla="*/ 1181 w 1250"/>
                <a:gd name="T15" fmla="*/ 86 h 520"/>
                <a:gd name="T16" fmla="*/ 1250 w 1250"/>
                <a:gd name="T17" fmla="*/ 86 h 520"/>
                <a:gd name="T18" fmla="*/ 1250 w 1250"/>
                <a:gd name="T19" fmla="*/ 0 h 520"/>
                <a:gd name="T20" fmla="*/ 1181 w 1250"/>
                <a:gd name="T21" fmla="*/ 0 h 520"/>
                <a:gd name="T22" fmla="*/ 727 w 1250"/>
                <a:gd name="T23" fmla="*/ 418 h 520"/>
                <a:gd name="T24" fmla="*/ 625 w 1250"/>
                <a:gd name="T25" fmla="*/ 344 h 520"/>
                <a:gd name="T26" fmla="*/ 523 w 1250"/>
                <a:gd name="T27" fmla="*/ 418 h 520"/>
                <a:gd name="T28" fmla="*/ 562 w 1250"/>
                <a:gd name="T29" fmla="*/ 298 h 520"/>
                <a:gd name="T30" fmla="*/ 460 w 1250"/>
                <a:gd name="T31" fmla="*/ 224 h 520"/>
                <a:gd name="T32" fmla="*/ 586 w 1250"/>
                <a:gd name="T33" fmla="*/ 224 h 520"/>
                <a:gd name="T34" fmla="*/ 625 w 1250"/>
                <a:gd name="T35" fmla="*/ 104 h 520"/>
                <a:gd name="T36" fmla="*/ 664 w 1250"/>
                <a:gd name="T37" fmla="*/ 224 h 520"/>
                <a:gd name="T38" fmla="*/ 790 w 1250"/>
                <a:gd name="T39" fmla="*/ 224 h 520"/>
                <a:gd name="T40" fmla="*/ 688 w 1250"/>
                <a:gd name="T41" fmla="*/ 298 h 520"/>
                <a:gd name="T42" fmla="*/ 727 w 1250"/>
                <a:gd name="T43" fmla="*/ 418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0" h="520">
                  <a:moveTo>
                    <a:pt x="1181" y="0"/>
                  </a:moveTo>
                  <a:lnTo>
                    <a:pt x="69" y="0"/>
                  </a:lnTo>
                  <a:lnTo>
                    <a:pt x="0" y="0"/>
                  </a:lnTo>
                  <a:lnTo>
                    <a:pt x="0" y="86"/>
                  </a:lnTo>
                  <a:lnTo>
                    <a:pt x="69" y="86"/>
                  </a:lnTo>
                  <a:lnTo>
                    <a:pt x="69" y="520"/>
                  </a:lnTo>
                  <a:lnTo>
                    <a:pt x="1181" y="520"/>
                  </a:lnTo>
                  <a:lnTo>
                    <a:pt x="1181" y="86"/>
                  </a:lnTo>
                  <a:lnTo>
                    <a:pt x="1250" y="86"/>
                  </a:lnTo>
                  <a:lnTo>
                    <a:pt x="1250" y="0"/>
                  </a:lnTo>
                  <a:lnTo>
                    <a:pt x="1181" y="0"/>
                  </a:lnTo>
                  <a:close/>
                  <a:moveTo>
                    <a:pt x="727" y="418"/>
                  </a:moveTo>
                  <a:lnTo>
                    <a:pt x="625" y="344"/>
                  </a:lnTo>
                  <a:lnTo>
                    <a:pt x="523" y="418"/>
                  </a:lnTo>
                  <a:lnTo>
                    <a:pt x="562" y="298"/>
                  </a:lnTo>
                  <a:lnTo>
                    <a:pt x="460" y="224"/>
                  </a:lnTo>
                  <a:lnTo>
                    <a:pt x="586" y="224"/>
                  </a:lnTo>
                  <a:lnTo>
                    <a:pt x="625" y="104"/>
                  </a:lnTo>
                  <a:lnTo>
                    <a:pt x="664" y="224"/>
                  </a:lnTo>
                  <a:lnTo>
                    <a:pt x="790" y="224"/>
                  </a:lnTo>
                  <a:lnTo>
                    <a:pt x="688" y="298"/>
                  </a:lnTo>
                  <a:lnTo>
                    <a:pt x="727" y="418"/>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8" name="POWER_USER_ID_ICONS_Main_Office"/>
            <p:cNvSpPr>
              <a:spLocks noChangeArrowheads="1"/>
            </p:cNvSpPr>
            <p:nvPr>
              <p:custDataLst>
                <p:tags r:id="rId9"/>
              </p:custDataLst>
            </p:nvPr>
          </p:nvSpPr>
          <p:spPr bwMode="auto">
            <a:xfrm>
              <a:off x="238" y="8"/>
              <a:ext cx="92" cy="92"/>
            </a:xfrm>
            <a:prstGeom prst="ellipse">
              <a:avLst/>
            </a:pr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9" name="POWER_USER_ID_ICONS_Main_Office"/>
            <p:cNvSpPr>
              <a:spLocks/>
            </p:cNvSpPr>
            <p:nvPr>
              <p:custDataLst>
                <p:tags r:id="rId10"/>
              </p:custDataLst>
            </p:nvPr>
          </p:nvSpPr>
          <p:spPr bwMode="auto">
            <a:xfrm>
              <a:off x="169" y="115"/>
              <a:ext cx="230" cy="123"/>
            </a:xfrm>
            <a:custGeom>
              <a:avLst/>
              <a:gdLst>
                <a:gd name="T0" fmla="*/ 399 w 520"/>
                <a:gd name="T1" fmla="*/ 0 h 278"/>
                <a:gd name="T2" fmla="*/ 121 w 520"/>
                <a:gd name="T3" fmla="*/ 0 h 278"/>
                <a:gd name="T4" fmla="*/ 0 w 520"/>
                <a:gd name="T5" fmla="*/ 122 h 278"/>
                <a:gd name="T6" fmla="*/ 0 w 520"/>
                <a:gd name="T7" fmla="*/ 243 h 278"/>
                <a:gd name="T8" fmla="*/ 0 w 520"/>
                <a:gd name="T9" fmla="*/ 278 h 278"/>
                <a:gd name="T10" fmla="*/ 86 w 520"/>
                <a:gd name="T11" fmla="*/ 278 h 278"/>
                <a:gd name="T12" fmla="*/ 86 w 520"/>
                <a:gd name="T13" fmla="*/ 243 h 278"/>
                <a:gd name="T14" fmla="*/ 86 w 520"/>
                <a:gd name="T15" fmla="*/ 139 h 278"/>
                <a:gd name="T16" fmla="*/ 121 w 520"/>
                <a:gd name="T17" fmla="*/ 139 h 278"/>
                <a:gd name="T18" fmla="*/ 121 w 520"/>
                <a:gd name="T19" fmla="*/ 243 h 278"/>
                <a:gd name="T20" fmla="*/ 121 w 520"/>
                <a:gd name="T21" fmla="*/ 278 h 278"/>
                <a:gd name="T22" fmla="*/ 399 w 520"/>
                <a:gd name="T23" fmla="*/ 278 h 278"/>
                <a:gd name="T24" fmla="*/ 399 w 520"/>
                <a:gd name="T25" fmla="*/ 243 h 278"/>
                <a:gd name="T26" fmla="*/ 399 w 520"/>
                <a:gd name="T27" fmla="*/ 139 h 278"/>
                <a:gd name="T28" fmla="*/ 434 w 520"/>
                <a:gd name="T29" fmla="*/ 139 h 278"/>
                <a:gd name="T30" fmla="*/ 434 w 520"/>
                <a:gd name="T31" fmla="*/ 243 h 278"/>
                <a:gd name="T32" fmla="*/ 434 w 520"/>
                <a:gd name="T33" fmla="*/ 278 h 278"/>
                <a:gd name="T34" fmla="*/ 520 w 520"/>
                <a:gd name="T35" fmla="*/ 278 h 278"/>
                <a:gd name="T36" fmla="*/ 520 w 520"/>
                <a:gd name="T37" fmla="*/ 243 h 278"/>
                <a:gd name="T38" fmla="*/ 520 w 520"/>
                <a:gd name="T39" fmla="*/ 122 h 278"/>
                <a:gd name="T40" fmla="*/ 399 w 520"/>
                <a:gd name="T4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0" h="278">
                  <a:moveTo>
                    <a:pt x="399" y="0"/>
                  </a:moveTo>
                  <a:lnTo>
                    <a:pt x="121" y="0"/>
                  </a:lnTo>
                  <a:cubicBezTo>
                    <a:pt x="34" y="0"/>
                    <a:pt x="0" y="70"/>
                    <a:pt x="0" y="122"/>
                  </a:cubicBezTo>
                  <a:lnTo>
                    <a:pt x="0" y="243"/>
                  </a:lnTo>
                  <a:lnTo>
                    <a:pt x="0" y="278"/>
                  </a:lnTo>
                  <a:lnTo>
                    <a:pt x="86" y="278"/>
                  </a:lnTo>
                  <a:lnTo>
                    <a:pt x="86" y="243"/>
                  </a:lnTo>
                  <a:lnTo>
                    <a:pt x="86" y="139"/>
                  </a:lnTo>
                  <a:lnTo>
                    <a:pt x="121" y="139"/>
                  </a:lnTo>
                  <a:lnTo>
                    <a:pt x="121" y="243"/>
                  </a:lnTo>
                  <a:lnTo>
                    <a:pt x="121" y="278"/>
                  </a:lnTo>
                  <a:lnTo>
                    <a:pt x="399" y="278"/>
                  </a:lnTo>
                  <a:lnTo>
                    <a:pt x="399" y="243"/>
                  </a:lnTo>
                  <a:lnTo>
                    <a:pt x="399" y="139"/>
                  </a:lnTo>
                  <a:lnTo>
                    <a:pt x="434" y="139"/>
                  </a:lnTo>
                  <a:lnTo>
                    <a:pt x="434" y="243"/>
                  </a:lnTo>
                  <a:lnTo>
                    <a:pt x="434" y="278"/>
                  </a:lnTo>
                  <a:lnTo>
                    <a:pt x="520" y="278"/>
                  </a:lnTo>
                  <a:lnTo>
                    <a:pt x="520" y="243"/>
                  </a:lnTo>
                  <a:lnTo>
                    <a:pt x="520" y="122"/>
                  </a:lnTo>
                  <a:cubicBezTo>
                    <a:pt x="520" y="70"/>
                    <a:pt x="486" y="0"/>
                    <a:pt x="399"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sp>
        <p:nvSpPr>
          <p:cNvPr id="100" name="Brain"/>
          <p:cNvSpPr>
            <a:spLocks noChangeAspect="1"/>
          </p:cNvSpPr>
          <p:nvPr>
            <p:custDataLst>
              <p:tags r:id="rId6"/>
            </p:custDataLst>
          </p:nvPr>
        </p:nvSpPr>
        <p:spPr bwMode="auto">
          <a:xfrm>
            <a:off x="8415074" y="2326303"/>
            <a:ext cx="716707" cy="632942"/>
          </a:xfrm>
          <a:custGeom>
            <a:avLst/>
            <a:gdLst>
              <a:gd name="T0" fmla="*/ 1195 w 1250"/>
              <a:gd name="T1" fmla="*/ 671 h 1068"/>
              <a:gd name="T2" fmla="*/ 1074 w 1250"/>
              <a:gd name="T3" fmla="*/ 841 h 1068"/>
              <a:gd name="T4" fmla="*/ 853 w 1250"/>
              <a:gd name="T5" fmla="*/ 1068 h 1068"/>
              <a:gd name="T6" fmla="*/ 922 w 1250"/>
              <a:gd name="T7" fmla="*/ 697 h 1068"/>
              <a:gd name="T8" fmla="*/ 1052 w 1250"/>
              <a:gd name="T9" fmla="*/ 735 h 1068"/>
              <a:gd name="T10" fmla="*/ 1081 w 1250"/>
              <a:gd name="T11" fmla="*/ 743 h 1068"/>
              <a:gd name="T12" fmla="*/ 1089 w 1250"/>
              <a:gd name="T13" fmla="*/ 714 h 1068"/>
              <a:gd name="T14" fmla="*/ 1026 w 1250"/>
              <a:gd name="T15" fmla="*/ 522 h 1068"/>
              <a:gd name="T16" fmla="*/ 1018 w 1250"/>
              <a:gd name="T17" fmla="*/ 466 h 1068"/>
              <a:gd name="T18" fmla="*/ 1129 w 1250"/>
              <a:gd name="T19" fmla="*/ 374 h 1068"/>
              <a:gd name="T20" fmla="*/ 1002 w 1250"/>
              <a:gd name="T21" fmla="*/ 426 h 1068"/>
              <a:gd name="T22" fmla="*/ 892 w 1250"/>
              <a:gd name="T23" fmla="*/ 228 h 1068"/>
              <a:gd name="T24" fmla="*/ 862 w 1250"/>
              <a:gd name="T25" fmla="*/ 198 h 1068"/>
              <a:gd name="T26" fmla="*/ 665 w 1250"/>
              <a:gd name="T27" fmla="*/ 160 h 1068"/>
              <a:gd name="T28" fmla="*/ 622 w 1250"/>
              <a:gd name="T29" fmla="*/ 160 h 1068"/>
              <a:gd name="T30" fmla="*/ 522 w 1250"/>
              <a:gd name="T31" fmla="*/ 239 h 1068"/>
              <a:gd name="T32" fmla="*/ 467 w 1250"/>
              <a:gd name="T33" fmla="*/ 229 h 1068"/>
              <a:gd name="T34" fmla="*/ 379 w 1250"/>
              <a:gd name="T35" fmla="*/ 192 h 1068"/>
              <a:gd name="T36" fmla="*/ 437 w 1250"/>
              <a:gd name="T37" fmla="*/ 262 h 1068"/>
              <a:gd name="T38" fmla="*/ 251 w 1250"/>
              <a:gd name="T39" fmla="*/ 304 h 1068"/>
              <a:gd name="T40" fmla="*/ 238 w 1250"/>
              <a:gd name="T41" fmla="*/ 344 h 1068"/>
              <a:gd name="T42" fmla="*/ 278 w 1250"/>
              <a:gd name="T43" fmla="*/ 408 h 1068"/>
              <a:gd name="T44" fmla="*/ 276 w 1250"/>
              <a:gd name="T45" fmla="*/ 408 h 1068"/>
              <a:gd name="T46" fmla="*/ 135 w 1250"/>
              <a:gd name="T47" fmla="*/ 495 h 1068"/>
              <a:gd name="T48" fmla="*/ 164 w 1250"/>
              <a:gd name="T49" fmla="*/ 496 h 1068"/>
              <a:gd name="T50" fmla="*/ 278 w 1250"/>
              <a:gd name="T51" fmla="*/ 450 h 1068"/>
              <a:gd name="T52" fmla="*/ 278 w 1250"/>
              <a:gd name="T53" fmla="*/ 450 h 1068"/>
              <a:gd name="T54" fmla="*/ 522 w 1250"/>
              <a:gd name="T55" fmla="*/ 281 h 1068"/>
              <a:gd name="T56" fmla="*/ 698 w 1250"/>
              <a:gd name="T57" fmla="*/ 318 h 1068"/>
              <a:gd name="T58" fmla="*/ 621 w 1250"/>
              <a:gd name="T59" fmla="*/ 420 h 1068"/>
              <a:gd name="T60" fmla="*/ 518 w 1250"/>
              <a:gd name="T61" fmla="*/ 473 h 1068"/>
              <a:gd name="T62" fmla="*/ 546 w 1250"/>
              <a:gd name="T63" fmla="*/ 481 h 1068"/>
              <a:gd name="T64" fmla="*/ 654 w 1250"/>
              <a:gd name="T65" fmla="*/ 466 h 1068"/>
              <a:gd name="T66" fmla="*/ 724 w 1250"/>
              <a:gd name="T67" fmla="*/ 591 h 1068"/>
              <a:gd name="T68" fmla="*/ 740 w 1250"/>
              <a:gd name="T69" fmla="*/ 555 h 1068"/>
              <a:gd name="T70" fmla="*/ 695 w 1250"/>
              <a:gd name="T71" fmla="*/ 449 h 1068"/>
              <a:gd name="T72" fmla="*/ 695 w 1250"/>
              <a:gd name="T73" fmla="*/ 445 h 1068"/>
              <a:gd name="T74" fmla="*/ 824 w 1250"/>
              <a:gd name="T75" fmla="*/ 362 h 1068"/>
              <a:gd name="T76" fmla="*/ 825 w 1250"/>
              <a:gd name="T77" fmla="*/ 362 h 1068"/>
              <a:gd name="T78" fmla="*/ 932 w 1250"/>
              <a:gd name="T79" fmla="*/ 514 h 1068"/>
              <a:gd name="T80" fmla="*/ 845 w 1250"/>
              <a:gd name="T81" fmla="*/ 557 h 1068"/>
              <a:gd name="T82" fmla="*/ 932 w 1250"/>
              <a:gd name="T83" fmla="*/ 557 h 1068"/>
              <a:gd name="T84" fmla="*/ 948 w 1250"/>
              <a:gd name="T85" fmla="*/ 623 h 1068"/>
              <a:gd name="T86" fmla="*/ 900 w 1250"/>
              <a:gd name="T87" fmla="*/ 661 h 1068"/>
              <a:gd name="T88" fmla="*/ 810 w 1250"/>
              <a:gd name="T89" fmla="*/ 1068 h 1068"/>
              <a:gd name="T90" fmla="*/ 738 w 1250"/>
              <a:gd name="T91" fmla="*/ 852 h 1068"/>
              <a:gd name="T92" fmla="*/ 542 w 1250"/>
              <a:gd name="T93" fmla="*/ 615 h 1068"/>
              <a:gd name="T94" fmla="*/ 317 w 1250"/>
              <a:gd name="T95" fmla="*/ 615 h 1068"/>
              <a:gd name="T96" fmla="*/ 0 w 1250"/>
              <a:gd name="T97" fmla="*/ 443 h 1068"/>
              <a:gd name="T98" fmla="*/ 321 w 1250"/>
              <a:gd name="T99" fmla="*/ 97 h 1068"/>
              <a:gd name="T100" fmla="*/ 501 w 1250"/>
              <a:gd name="T101" fmla="*/ 10 h 1068"/>
              <a:gd name="T102" fmla="*/ 707 w 1250"/>
              <a:gd name="T103" fmla="*/ 0 h 1068"/>
              <a:gd name="T104" fmla="*/ 890 w 1250"/>
              <a:gd name="T105" fmla="*/ 48 h 1068"/>
              <a:gd name="T106" fmla="*/ 1216 w 1250"/>
              <a:gd name="T107" fmla="*/ 359 h 1068"/>
              <a:gd name="T108" fmla="*/ 1250 w 1250"/>
              <a:gd name="T109" fmla="*/ 533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0" h="1068">
                <a:moveTo>
                  <a:pt x="1250" y="533"/>
                </a:moveTo>
                <a:cubicBezTo>
                  <a:pt x="1250" y="587"/>
                  <a:pt x="1229" y="635"/>
                  <a:pt x="1195" y="671"/>
                </a:cubicBezTo>
                <a:cubicBezTo>
                  <a:pt x="1189" y="747"/>
                  <a:pt x="1141" y="811"/>
                  <a:pt x="1074" y="840"/>
                </a:cubicBezTo>
                <a:lnTo>
                  <a:pt x="1074" y="841"/>
                </a:lnTo>
                <a:cubicBezTo>
                  <a:pt x="992" y="888"/>
                  <a:pt x="943" y="970"/>
                  <a:pt x="928" y="1068"/>
                </a:cubicBezTo>
                <a:lnTo>
                  <a:pt x="853" y="1068"/>
                </a:lnTo>
                <a:lnTo>
                  <a:pt x="853" y="841"/>
                </a:lnTo>
                <a:cubicBezTo>
                  <a:pt x="853" y="770"/>
                  <a:pt x="875" y="725"/>
                  <a:pt x="922" y="697"/>
                </a:cubicBezTo>
                <a:cubicBezTo>
                  <a:pt x="939" y="687"/>
                  <a:pt x="954" y="676"/>
                  <a:pt x="968" y="664"/>
                </a:cubicBezTo>
                <a:cubicBezTo>
                  <a:pt x="1002" y="676"/>
                  <a:pt x="1033" y="700"/>
                  <a:pt x="1052" y="735"/>
                </a:cubicBezTo>
                <a:cubicBezTo>
                  <a:pt x="1056" y="742"/>
                  <a:pt x="1063" y="746"/>
                  <a:pt x="1071" y="746"/>
                </a:cubicBezTo>
                <a:cubicBezTo>
                  <a:pt x="1074" y="746"/>
                  <a:pt x="1078" y="745"/>
                  <a:pt x="1081" y="743"/>
                </a:cubicBezTo>
                <a:cubicBezTo>
                  <a:pt x="1091" y="737"/>
                  <a:pt x="1095" y="724"/>
                  <a:pt x="1089" y="714"/>
                </a:cubicBezTo>
                <a:lnTo>
                  <a:pt x="1089" y="714"/>
                </a:lnTo>
                <a:cubicBezTo>
                  <a:pt x="1067" y="675"/>
                  <a:pt x="1034" y="647"/>
                  <a:pt x="997" y="630"/>
                </a:cubicBezTo>
                <a:cubicBezTo>
                  <a:pt x="1016" y="600"/>
                  <a:pt x="1027" y="565"/>
                  <a:pt x="1026" y="522"/>
                </a:cubicBezTo>
                <a:cubicBezTo>
                  <a:pt x="1026" y="522"/>
                  <a:pt x="1026" y="522"/>
                  <a:pt x="1026" y="522"/>
                </a:cubicBezTo>
                <a:cubicBezTo>
                  <a:pt x="1026" y="502"/>
                  <a:pt x="1024" y="484"/>
                  <a:pt x="1018" y="466"/>
                </a:cubicBezTo>
                <a:cubicBezTo>
                  <a:pt x="1063" y="458"/>
                  <a:pt x="1102" y="435"/>
                  <a:pt x="1130" y="404"/>
                </a:cubicBezTo>
                <a:cubicBezTo>
                  <a:pt x="1138" y="395"/>
                  <a:pt x="1138" y="382"/>
                  <a:pt x="1129" y="374"/>
                </a:cubicBezTo>
                <a:cubicBezTo>
                  <a:pt x="1120" y="366"/>
                  <a:pt x="1107" y="367"/>
                  <a:pt x="1099" y="375"/>
                </a:cubicBezTo>
                <a:cubicBezTo>
                  <a:pt x="1074" y="402"/>
                  <a:pt x="1040" y="421"/>
                  <a:pt x="1002" y="426"/>
                </a:cubicBezTo>
                <a:cubicBezTo>
                  <a:pt x="971" y="369"/>
                  <a:pt x="914" y="328"/>
                  <a:pt x="847" y="321"/>
                </a:cubicBezTo>
                <a:cubicBezTo>
                  <a:pt x="851" y="285"/>
                  <a:pt x="868" y="252"/>
                  <a:pt x="892" y="228"/>
                </a:cubicBezTo>
                <a:cubicBezTo>
                  <a:pt x="900" y="220"/>
                  <a:pt x="900" y="206"/>
                  <a:pt x="892" y="198"/>
                </a:cubicBezTo>
                <a:cubicBezTo>
                  <a:pt x="884" y="190"/>
                  <a:pt x="870" y="190"/>
                  <a:pt x="862" y="198"/>
                </a:cubicBezTo>
                <a:cubicBezTo>
                  <a:pt x="831" y="229"/>
                  <a:pt x="810" y="272"/>
                  <a:pt x="804" y="318"/>
                </a:cubicBezTo>
                <a:cubicBezTo>
                  <a:pt x="725" y="308"/>
                  <a:pt x="665" y="241"/>
                  <a:pt x="665" y="160"/>
                </a:cubicBezTo>
                <a:cubicBezTo>
                  <a:pt x="665" y="148"/>
                  <a:pt x="655" y="139"/>
                  <a:pt x="644" y="139"/>
                </a:cubicBezTo>
                <a:cubicBezTo>
                  <a:pt x="632" y="139"/>
                  <a:pt x="622" y="148"/>
                  <a:pt x="622" y="160"/>
                </a:cubicBezTo>
                <a:cubicBezTo>
                  <a:pt x="622" y="174"/>
                  <a:pt x="624" y="187"/>
                  <a:pt x="626" y="200"/>
                </a:cubicBezTo>
                <a:cubicBezTo>
                  <a:pt x="596" y="226"/>
                  <a:pt x="559" y="239"/>
                  <a:pt x="522" y="239"/>
                </a:cubicBezTo>
                <a:cubicBezTo>
                  <a:pt x="503" y="239"/>
                  <a:pt x="485" y="235"/>
                  <a:pt x="468" y="229"/>
                </a:cubicBezTo>
                <a:cubicBezTo>
                  <a:pt x="468" y="229"/>
                  <a:pt x="467" y="229"/>
                  <a:pt x="467" y="229"/>
                </a:cubicBezTo>
                <a:cubicBezTo>
                  <a:pt x="446" y="221"/>
                  <a:pt x="426" y="209"/>
                  <a:pt x="409" y="192"/>
                </a:cubicBezTo>
                <a:cubicBezTo>
                  <a:pt x="401" y="184"/>
                  <a:pt x="387" y="184"/>
                  <a:pt x="379" y="192"/>
                </a:cubicBezTo>
                <a:cubicBezTo>
                  <a:pt x="371" y="200"/>
                  <a:pt x="371" y="213"/>
                  <a:pt x="379" y="222"/>
                </a:cubicBezTo>
                <a:cubicBezTo>
                  <a:pt x="396" y="239"/>
                  <a:pt x="416" y="253"/>
                  <a:pt x="437" y="262"/>
                </a:cubicBezTo>
                <a:cubicBezTo>
                  <a:pt x="433" y="315"/>
                  <a:pt x="402" y="360"/>
                  <a:pt x="359" y="386"/>
                </a:cubicBezTo>
                <a:cubicBezTo>
                  <a:pt x="335" y="348"/>
                  <a:pt x="297" y="319"/>
                  <a:pt x="251" y="304"/>
                </a:cubicBezTo>
                <a:cubicBezTo>
                  <a:pt x="240" y="300"/>
                  <a:pt x="228" y="307"/>
                  <a:pt x="225" y="318"/>
                </a:cubicBezTo>
                <a:cubicBezTo>
                  <a:pt x="221" y="329"/>
                  <a:pt x="227" y="341"/>
                  <a:pt x="238" y="344"/>
                </a:cubicBezTo>
                <a:cubicBezTo>
                  <a:pt x="272" y="355"/>
                  <a:pt x="300" y="376"/>
                  <a:pt x="319" y="403"/>
                </a:cubicBezTo>
                <a:cubicBezTo>
                  <a:pt x="306" y="406"/>
                  <a:pt x="293" y="408"/>
                  <a:pt x="278" y="408"/>
                </a:cubicBezTo>
                <a:lnTo>
                  <a:pt x="278" y="408"/>
                </a:lnTo>
                <a:lnTo>
                  <a:pt x="276" y="408"/>
                </a:lnTo>
                <a:cubicBezTo>
                  <a:pt x="221" y="408"/>
                  <a:pt x="171" y="430"/>
                  <a:pt x="135" y="465"/>
                </a:cubicBezTo>
                <a:cubicBezTo>
                  <a:pt x="126" y="473"/>
                  <a:pt x="126" y="487"/>
                  <a:pt x="135" y="495"/>
                </a:cubicBezTo>
                <a:cubicBezTo>
                  <a:pt x="139" y="499"/>
                  <a:pt x="144" y="502"/>
                  <a:pt x="150" y="502"/>
                </a:cubicBezTo>
                <a:cubicBezTo>
                  <a:pt x="155" y="502"/>
                  <a:pt x="160" y="500"/>
                  <a:pt x="164" y="496"/>
                </a:cubicBezTo>
                <a:cubicBezTo>
                  <a:pt x="193" y="467"/>
                  <a:pt x="232" y="450"/>
                  <a:pt x="276" y="450"/>
                </a:cubicBezTo>
                <a:lnTo>
                  <a:pt x="278" y="450"/>
                </a:lnTo>
                <a:lnTo>
                  <a:pt x="278" y="450"/>
                </a:lnTo>
                <a:lnTo>
                  <a:pt x="278" y="450"/>
                </a:lnTo>
                <a:cubicBezTo>
                  <a:pt x="380" y="450"/>
                  <a:pt x="465" y="375"/>
                  <a:pt x="478" y="276"/>
                </a:cubicBezTo>
                <a:cubicBezTo>
                  <a:pt x="493" y="279"/>
                  <a:pt x="507" y="281"/>
                  <a:pt x="522" y="281"/>
                </a:cubicBezTo>
                <a:cubicBezTo>
                  <a:pt x="563" y="281"/>
                  <a:pt x="605" y="268"/>
                  <a:pt x="640" y="243"/>
                </a:cubicBezTo>
                <a:cubicBezTo>
                  <a:pt x="653" y="272"/>
                  <a:pt x="673" y="298"/>
                  <a:pt x="698" y="318"/>
                </a:cubicBezTo>
                <a:cubicBezTo>
                  <a:pt x="673" y="348"/>
                  <a:pt x="658" y="385"/>
                  <a:pt x="654" y="423"/>
                </a:cubicBezTo>
                <a:cubicBezTo>
                  <a:pt x="644" y="421"/>
                  <a:pt x="632" y="420"/>
                  <a:pt x="621" y="420"/>
                </a:cubicBezTo>
                <a:cubicBezTo>
                  <a:pt x="589" y="420"/>
                  <a:pt x="557" y="428"/>
                  <a:pt x="527" y="444"/>
                </a:cubicBezTo>
                <a:cubicBezTo>
                  <a:pt x="516" y="449"/>
                  <a:pt x="512" y="462"/>
                  <a:pt x="518" y="473"/>
                </a:cubicBezTo>
                <a:cubicBezTo>
                  <a:pt x="522" y="480"/>
                  <a:pt x="529" y="484"/>
                  <a:pt x="537" y="484"/>
                </a:cubicBezTo>
                <a:cubicBezTo>
                  <a:pt x="540" y="484"/>
                  <a:pt x="543" y="483"/>
                  <a:pt x="546" y="481"/>
                </a:cubicBezTo>
                <a:cubicBezTo>
                  <a:pt x="571" y="469"/>
                  <a:pt x="596" y="463"/>
                  <a:pt x="621" y="463"/>
                </a:cubicBezTo>
                <a:cubicBezTo>
                  <a:pt x="632" y="463"/>
                  <a:pt x="644" y="464"/>
                  <a:pt x="654" y="466"/>
                </a:cubicBezTo>
                <a:cubicBezTo>
                  <a:pt x="659" y="509"/>
                  <a:pt x="677" y="551"/>
                  <a:pt x="709" y="584"/>
                </a:cubicBezTo>
                <a:cubicBezTo>
                  <a:pt x="713" y="589"/>
                  <a:pt x="719" y="591"/>
                  <a:pt x="724" y="591"/>
                </a:cubicBezTo>
                <a:cubicBezTo>
                  <a:pt x="730" y="591"/>
                  <a:pt x="735" y="589"/>
                  <a:pt x="739" y="585"/>
                </a:cubicBezTo>
                <a:cubicBezTo>
                  <a:pt x="748" y="577"/>
                  <a:pt x="748" y="563"/>
                  <a:pt x="740" y="555"/>
                </a:cubicBezTo>
                <a:lnTo>
                  <a:pt x="740" y="555"/>
                </a:lnTo>
                <a:cubicBezTo>
                  <a:pt x="711" y="525"/>
                  <a:pt x="696" y="487"/>
                  <a:pt x="695" y="449"/>
                </a:cubicBezTo>
                <a:cubicBezTo>
                  <a:pt x="695" y="448"/>
                  <a:pt x="695" y="448"/>
                  <a:pt x="695" y="447"/>
                </a:cubicBezTo>
                <a:lnTo>
                  <a:pt x="695" y="445"/>
                </a:lnTo>
                <a:cubicBezTo>
                  <a:pt x="695" y="407"/>
                  <a:pt x="708" y="370"/>
                  <a:pt x="734" y="341"/>
                </a:cubicBezTo>
                <a:cubicBezTo>
                  <a:pt x="761" y="354"/>
                  <a:pt x="791" y="362"/>
                  <a:pt x="824" y="362"/>
                </a:cubicBezTo>
                <a:cubicBezTo>
                  <a:pt x="824" y="362"/>
                  <a:pt x="824" y="362"/>
                  <a:pt x="824" y="362"/>
                </a:cubicBezTo>
                <a:lnTo>
                  <a:pt x="825" y="362"/>
                </a:lnTo>
                <a:cubicBezTo>
                  <a:pt x="912" y="362"/>
                  <a:pt x="984" y="433"/>
                  <a:pt x="984" y="521"/>
                </a:cubicBezTo>
                <a:cubicBezTo>
                  <a:pt x="967" y="517"/>
                  <a:pt x="950" y="514"/>
                  <a:pt x="932" y="514"/>
                </a:cubicBezTo>
                <a:cubicBezTo>
                  <a:pt x="907" y="514"/>
                  <a:pt x="882" y="519"/>
                  <a:pt x="857" y="529"/>
                </a:cubicBezTo>
                <a:cubicBezTo>
                  <a:pt x="846" y="534"/>
                  <a:pt x="841" y="546"/>
                  <a:pt x="845" y="557"/>
                </a:cubicBezTo>
                <a:cubicBezTo>
                  <a:pt x="850" y="568"/>
                  <a:pt x="862" y="573"/>
                  <a:pt x="873" y="568"/>
                </a:cubicBezTo>
                <a:cubicBezTo>
                  <a:pt x="893" y="561"/>
                  <a:pt x="913" y="557"/>
                  <a:pt x="932" y="557"/>
                </a:cubicBezTo>
                <a:cubicBezTo>
                  <a:pt x="948" y="557"/>
                  <a:pt x="964" y="559"/>
                  <a:pt x="979" y="564"/>
                </a:cubicBezTo>
                <a:cubicBezTo>
                  <a:pt x="974" y="587"/>
                  <a:pt x="964" y="606"/>
                  <a:pt x="948" y="623"/>
                </a:cubicBezTo>
                <a:cubicBezTo>
                  <a:pt x="947" y="624"/>
                  <a:pt x="946" y="626"/>
                  <a:pt x="945" y="627"/>
                </a:cubicBezTo>
                <a:cubicBezTo>
                  <a:pt x="933" y="639"/>
                  <a:pt x="918" y="650"/>
                  <a:pt x="900" y="661"/>
                </a:cubicBezTo>
                <a:cubicBezTo>
                  <a:pt x="839" y="696"/>
                  <a:pt x="810" y="761"/>
                  <a:pt x="810" y="841"/>
                </a:cubicBezTo>
                <a:lnTo>
                  <a:pt x="810" y="1068"/>
                </a:lnTo>
                <a:lnTo>
                  <a:pt x="738" y="1068"/>
                </a:lnTo>
                <a:lnTo>
                  <a:pt x="738" y="852"/>
                </a:lnTo>
                <a:cubicBezTo>
                  <a:pt x="738" y="773"/>
                  <a:pt x="688" y="698"/>
                  <a:pt x="626" y="671"/>
                </a:cubicBezTo>
                <a:cubicBezTo>
                  <a:pt x="596" y="660"/>
                  <a:pt x="565" y="640"/>
                  <a:pt x="542" y="615"/>
                </a:cubicBezTo>
                <a:cubicBezTo>
                  <a:pt x="510" y="637"/>
                  <a:pt x="471" y="650"/>
                  <a:pt x="430" y="650"/>
                </a:cubicBezTo>
                <a:cubicBezTo>
                  <a:pt x="388" y="650"/>
                  <a:pt x="349" y="637"/>
                  <a:pt x="317" y="615"/>
                </a:cubicBezTo>
                <a:cubicBezTo>
                  <a:pt x="285" y="636"/>
                  <a:pt x="246" y="648"/>
                  <a:pt x="205" y="648"/>
                </a:cubicBezTo>
                <a:cubicBezTo>
                  <a:pt x="92" y="648"/>
                  <a:pt x="0" y="557"/>
                  <a:pt x="0" y="443"/>
                </a:cubicBezTo>
                <a:cubicBezTo>
                  <a:pt x="0" y="359"/>
                  <a:pt x="51" y="286"/>
                  <a:pt x="124" y="255"/>
                </a:cubicBezTo>
                <a:cubicBezTo>
                  <a:pt x="144" y="164"/>
                  <a:pt x="224" y="97"/>
                  <a:pt x="321" y="97"/>
                </a:cubicBezTo>
                <a:cubicBezTo>
                  <a:pt x="326" y="97"/>
                  <a:pt x="330" y="97"/>
                  <a:pt x="335" y="98"/>
                </a:cubicBezTo>
                <a:cubicBezTo>
                  <a:pt x="371" y="45"/>
                  <a:pt x="432" y="10"/>
                  <a:pt x="501" y="10"/>
                </a:cubicBezTo>
                <a:cubicBezTo>
                  <a:pt x="536" y="10"/>
                  <a:pt x="568" y="18"/>
                  <a:pt x="596" y="33"/>
                </a:cubicBezTo>
                <a:cubicBezTo>
                  <a:pt x="628" y="12"/>
                  <a:pt x="666" y="0"/>
                  <a:pt x="707" y="0"/>
                </a:cubicBezTo>
                <a:cubicBezTo>
                  <a:pt x="759" y="0"/>
                  <a:pt x="807" y="21"/>
                  <a:pt x="843" y="54"/>
                </a:cubicBezTo>
                <a:cubicBezTo>
                  <a:pt x="858" y="50"/>
                  <a:pt x="874" y="48"/>
                  <a:pt x="890" y="48"/>
                </a:cubicBezTo>
                <a:cubicBezTo>
                  <a:pt x="971" y="48"/>
                  <a:pt x="1042" y="97"/>
                  <a:pt x="1073" y="167"/>
                </a:cubicBezTo>
                <a:cubicBezTo>
                  <a:pt x="1156" y="192"/>
                  <a:pt x="1216" y="269"/>
                  <a:pt x="1216" y="359"/>
                </a:cubicBezTo>
                <a:cubicBezTo>
                  <a:pt x="1216" y="377"/>
                  <a:pt x="1213" y="395"/>
                  <a:pt x="1209" y="412"/>
                </a:cubicBezTo>
                <a:cubicBezTo>
                  <a:pt x="1235" y="445"/>
                  <a:pt x="1250" y="488"/>
                  <a:pt x="1250" y="533"/>
                </a:cubicBezTo>
                <a:close/>
              </a:path>
            </a:pathLst>
          </a:custGeom>
          <a:solidFill>
            <a:schemeClr val="accent4">
              <a:lumMod val="75000"/>
            </a:schemeClr>
          </a:solid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101" name="Business_People3"/>
          <p:cNvSpPr>
            <a:spLocks noChangeAspect="1"/>
          </p:cNvSpPr>
          <p:nvPr>
            <p:custDataLst>
              <p:tags r:id="rId7"/>
            </p:custDataLst>
          </p:nvPr>
        </p:nvSpPr>
        <p:spPr bwMode="auto">
          <a:xfrm>
            <a:off x="10214407" y="2227498"/>
            <a:ext cx="730443" cy="954048"/>
          </a:xfrm>
          <a:custGeom>
            <a:avLst/>
            <a:gdLst>
              <a:gd name="connsiteX0" fmla="*/ 865613 w 2208433"/>
              <a:gd name="connsiteY0" fmla="*/ 1682726 h 2884488"/>
              <a:gd name="connsiteX1" fmla="*/ 866321 w 2208433"/>
              <a:gd name="connsiteY1" fmla="*/ 1704565 h 2884488"/>
              <a:gd name="connsiteX2" fmla="*/ 789393 w 2208433"/>
              <a:gd name="connsiteY2" fmla="*/ 1963819 h 2884488"/>
              <a:gd name="connsiteX3" fmla="*/ 876381 w 2208433"/>
              <a:gd name="connsiteY3" fmla="*/ 1971514 h 2884488"/>
              <a:gd name="connsiteX4" fmla="*/ 926215 w 2208433"/>
              <a:gd name="connsiteY4" fmla="*/ 1963293 h 2884488"/>
              <a:gd name="connsiteX5" fmla="*/ 919070 w 2208433"/>
              <a:gd name="connsiteY5" fmla="*/ 1737369 h 2884488"/>
              <a:gd name="connsiteX6" fmla="*/ 905769 w 2208433"/>
              <a:gd name="connsiteY6" fmla="*/ 1736436 h 2884488"/>
              <a:gd name="connsiteX7" fmla="*/ 892172 w 2208433"/>
              <a:gd name="connsiteY7" fmla="*/ 1728167 h 2884488"/>
              <a:gd name="connsiteX8" fmla="*/ 880348 w 2208433"/>
              <a:gd name="connsiteY8" fmla="*/ 1696274 h 2884488"/>
              <a:gd name="connsiteX9" fmla="*/ 867342 w 2208433"/>
              <a:gd name="connsiteY9" fmla="*/ 1683280 h 2884488"/>
              <a:gd name="connsiteX10" fmla="*/ 1058756 w 2208433"/>
              <a:gd name="connsiteY10" fmla="*/ 1643194 h 2884488"/>
              <a:gd name="connsiteX11" fmla="*/ 1059247 w 2208433"/>
              <a:gd name="connsiteY11" fmla="*/ 1654350 h 2884488"/>
              <a:gd name="connsiteX12" fmla="*/ 1061428 w 2208433"/>
              <a:gd name="connsiteY12" fmla="*/ 1661003 h 2884488"/>
              <a:gd name="connsiteX13" fmla="*/ 1062361 w 2208433"/>
              <a:gd name="connsiteY13" fmla="*/ 1682247 h 2884488"/>
              <a:gd name="connsiteX14" fmla="*/ 1061988 w 2208433"/>
              <a:gd name="connsiteY14" fmla="*/ 1716610 h 2884488"/>
              <a:gd name="connsiteX15" fmla="*/ 1071681 w 2208433"/>
              <a:gd name="connsiteY15" fmla="*/ 1936797 h 2884488"/>
              <a:gd name="connsiteX16" fmla="*/ 1074500 w 2208433"/>
              <a:gd name="connsiteY16" fmla="*/ 1936157 h 2884488"/>
              <a:gd name="connsiteX17" fmla="*/ 1119001 w 2208433"/>
              <a:gd name="connsiteY17" fmla="*/ 1915875 h 2884488"/>
              <a:gd name="connsiteX18" fmla="*/ 1106008 w 2208433"/>
              <a:gd name="connsiteY18" fmla="*/ 1829854 h 2884488"/>
              <a:gd name="connsiteX19" fmla="*/ 1160857 w 2208433"/>
              <a:gd name="connsiteY19" fmla="*/ 1837531 h 2884488"/>
              <a:gd name="connsiteX20" fmla="*/ 1207548 w 2208433"/>
              <a:gd name="connsiteY20" fmla="*/ 1812208 h 2884488"/>
              <a:gd name="connsiteX21" fmla="*/ 1345848 w 2208433"/>
              <a:gd name="connsiteY21" fmla="*/ 1859910 h 2884488"/>
              <a:gd name="connsiteX22" fmla="*/ 1479421 w 2208433"/>
              <a:gd name="connsiteY22" fmla="*/ 1882289 h 2884488"/>
              <a:gd name="connsiteX23" fmla="*/ 1547389 w 2208433"/>
              <a:gd name="connsiteY23" fmla="*/ 1892300 h 2884488"/>
              <a:gd name="connsiteX24" fmla="*/ 1706375 w 2208433"/>
              <a:gd name="connsiteY24" fmla="*/ 1823398 h 2884488"/>
              <a:gd name="connsiteX25" fmla="*/ 1200196 w 2208433"/>
              <a:gd name="connsiteY25" fmla="*/ 1766926 h 2884488"/>
              <a:gd name="connsiteX26" fmla="*/ 1203138 w 2208433"/>
              <a:gd name="connsiteY26" fmla="*/ 1774826 h 2884488"/>
              <a:gd name="connsiteX27" fmla="*/ 1153478 w 2208433"/>
              <a:gd name="connsiteY27" fmla="*/ 1768920 h 2884488"/>
              <a:gd name="connsiteX28" fmla="*/ 1150427 w 2208433"/>
              <a:gd name="connsiteY28" fmla="*/ 1761374 h 2884488"/>
              <a:gd name="connsiteX29" fmla="*/ 1094725 w 2208433"/>
              <a:gd name="connsiteY29" fmla="*/ 1755159 h 2884488"/>
              <a:gd name="connsiteX30" fmla="*/ 1080538 w 2208433"/>
              <a:gd name="connsiteY30" fmla="*/ 1661239 h 2884488"/>
              <a:gd name="connsiteX31" fmla="*/ 1062435 w 2208433"/>
              <a:gd name="connsiteY31" fmla="*/ 1646071 h 2884488"/>
              <a:gd name="connsiteX32" fmla="*/ 1516881 w 2208433"/>
              <a:gd name="connsiteY32" fmla="*/ 1057046 h 2884488"/>
              <a:gd name="connsiteX33" fmla="*/ 1481659 w 2208433"/>
              <a:gd name="connsiteY33" fmla="*/ 1080602 h 2884488"/>
              <a:gd name="connsiteX34" fmla="*/ 1481773 w 2208433"/>
              <a:gd name="connsiteY34" fmla="*/ 1089589 h 2884488"/>
              <a:gd name="connsiteX35" fmla="*/ 1480754 w 2208433"/>
              <a:gd name="connsiteY35" fmla="*/ 1080499 h 2884488"/>
              <a:gd name="connsiteX36" fmla="*/ 860404 w 2208433"/>
              <a:gd name="connsiteY36" fmla="*/ 495300 h 2884488"/>
              <a:gd name="connsiteX37" fmla="*/ 836142 w 2208433"/>
              <a:gd name="connsiteY37" fmla="*/ 529631 h 2884488"/>
              <a:gd name="connsiteX38" fmla="*/ 816614 w 2208433"/>
              <a:gd name="connsiteY38" fmla="*/ 529039 h 2884488"/>
              <a:gd name="connsiteX39" fmla="*/ 855392 w 2208433"/>
              <a:gd name="connsiteY39" fmla="*/ 1367817 h 2884488"/>
              <a:gd name="connsiteX40" fmla="*/ 860030 w 2208433"/>
              <a:gd name="connsiteY40" fmla="*/ 1510704 h 2884488"/>
              <a:gd name="connsiteX41" fmla="*/ 871480 w 2208433"/>
              <a:gd name="connsiteY41" fmla="*/ 1500188 h 2884488"/>
              <a:gd name="connsiteX42" fmla="*/ 904596 w 2208433"/>
              <a:gd name="connsiteY42" fmla="*/ 1509850 h 2884488"/>
              <a:gd name="connsiteX43" fmla="*/ 911955 w 2208433"/>
              <a:gd name="connsiteY43" fmla="*/ 1512368 h 2884488"/>
              <a:gd name="connsiteX44" fmla="*/ 911627 w 2208433"/>
              <a:gd name="connsiteY44" fmla="*/ 1502004 h 2884488"/>
              <a:gd name="connsiteX45" fmla="*/ 917573 w 2208433"/>
              <a:gd name="connsiteY45" fmla="*/ 943459 h 2884488"/>
              <a:gd name="connsiteX46" fmla="*/ 906275 w 2208433"/>
              <a:gd name="connsiteY46" fmla="*/ 807964 h 2884488"/>
              <a:gd name="connsiteX47" fmla="*/ 967520 w 2208433"/>
              <a:gd name="connsiteY47" fmla="*/ 763588 h 2884488"/>
              <a:gd name="connsiteX48" fmla="*/ 1027576 w 2208433"/>
              <a:gd name="connsiteY48" fmla="*/ 764771 h 2884488"/>
              <a:gd name="connsiteX49" fmla="*/ 1055523 w 2208433"/>
              <a:gd name="connsiteY49" fmla="*/ 785480 h 2884488"/>
              <a:gd name="connsiteX50" fmla="*/ 1000818 w 2208433"/>
              <a:gd name="connsiteY50" fmla="*/ 852340 h 2884488"/>
              <a:gd name="connsiteX51" fmla="*/ 1013900 w 2208433"/>
              <a:gd name="connsiteY51" fmla="*/ 915058 h 2884488"/>
              <a:gd name="connsiteX52" fmla="*/ 1034117 w 2208433"/>
              <a:gd name="connsiteY52" fmla="*/ 1019785 h 2884488"/>
              <a:gd name="connsiteX53" fmla="*/ 1053739 w 2208433"/>
              <a:gd name="connsiteY53" fmla="*/ 1529222 h 2884488"/>
              <a:gd name="connsiteX54" fmla="*/ 1054178 w 2208433"/>
              <a:gd name="connsiteY54" fmla="*/ 1539189 h 2884488"/>
              <a:gd name="connsiteX55" fmla="*/ 1063559 w 2208433"/>
              <a:gd name="connsiteY55" fmla="*/ 1548835 h 2884488"/>
              <a:gd name="connsiteX56" fmla="*/ 1061601 w 2208433"/>
              <a:gd name="connsiteY56" fmla="*/ 1535871 h 2884488"/>
              <a:gd name="connsiteX57" fmla="*/ 1101249 w 2208433"/>
              <a:gd name="connsiteY57" fmla="*/ 1133967 h 2884488"/>
              <a:gd name="connsiteX58" fmla="*/ 1106574 w 2208433"/>
              <a:gd name="connsiteY58" fmla="*/ 762842 h 2884488"/>
              <a:gd name="connsiteX59" fmla="*/ 1107758 w 2208433"/>
              <a:gd name="connsiteY59" fmla="*/ 723776 h 2884488"/>
              <a:gd name="connsiteX60" fmla="*/ 1057459 w 2208433"/>
              <a:gd name="connsiteY60" fmla="*/ 723184 h 2884488"/>
              <a:gd name="connsiteX61" fmla="*/ 1036747 w 2208433"/>
              <a:gd name="connsiteY61" fmla="*/ 735022 h 2884488"/>
              <a:gd name="connsiteX62" fmla="*/ 996508 w 2208433"/>
              <a:gd name="connsiteY62" fmla="*/ 736206 h 2884488"/>
              <a:gd name="connsiteX63" fmla="*/ 865138 w 2208433"/>
              <a:gd name="connsiteY63" fmla="*/ 549164 h 2884488"/>
              <a:gd name="connsiteX64" fmla="*/ 862771 w 2208433"/>
              <a:gd name="connsiteY64" fmla="*/ 495892 h 2884488"/>
              <a:gd name="connsiteX65" fmla="*/ 1211378 w 2208433"/>
              <a:gd name="connsiteY65" fmla="*/ 0 h 2884488"/>
              <a:gd name="connsiteX66" fmla="*/ 1411638 w 2208433"/>
              <a:gd name="connsiteY66" fmla="*/ 238006 h 2884488"/>
              <a:gd name="connsiteX67" fmla="*/ 1366742 w 2208433"/>
              <a:gd name="connsiteY67" fmla="*/ 364706 h 2884488"/>
              <a:gd name="connsiteX68" fmla="*/ 1324209 w 2208433"/>
              <a:gd name="connsiteY68" fmla="*/ 457658 h 2884488"/>
              <a:gd name="connsiteX69" fmla="*/ 1325981 w 2208433"/>
              <a:gd name="connsiteY69" fmla="*/ 481932 h 2884488"/>
              <a:gd name="connsiteX70" fmla="*/ 1297626 w 2208433"/>
              <a:gd name="connsiteY70" fmla="*/ 509759 h 2884488"/>
              <a:gd name="connsiteX71" fmla="*/ 1258637 w 2208433"/>
              <a:gd name="connsiteY71" fmla="*/ 594423 h 2884488"/>
              <a:gd name="connsiteX72" fmla="*/ 1137536 w 2208433"/>
              <a:gd name="connsiteY72" fmla="*/ 721714 h 2884488"/>
              <a:gd name="connsiteX73" fmla="*/ 1131629 w 2208433"/>
              <a:gd name="connsiteY73" fmla="*/ 724674 h 2884488"/>
              <a:gd name="connsiteX74" fmla="*/ 1131629 w 2208433"/>
              <a:gd name="connsiteY74" fmla="*/ 728227 h 2884488"/>
              <a:gd name="connsiteX75" fmla="*/ 1377375 w 2208433"/>
              <a:gd name="connsiteY75" fmla="*/ 930709 h 2884488"/>
              <a:gd name="connsiteX76" fmla="*/ 1348429 w 2208433"/>
              <a:gd name="connsiteY76" fmla="*/ 1343371 h 2884488"/>
              <a:gd name="connsiteX77" fmla="*/ 1450627 w 2208433"/>
              <a:gd name="connsiteY77" fmla="*/ 1183517 h 2884488"/>
              <a:gd name="connsiteX78" fmla="*/ 1481345 w 2208433"/>
              <a:gd name="connsiteY78" fmla="*/ 1134968 h 2884488"/>
              <a:gd name="connsiteX79" fmla="*/ 1482280 w 2208433"/>
              <a:gd name="connsiteY79" fmla="*/ 1123842 h 2884488"/>
              <a:gd name="connsiteX80" fmla="*/ 1483207 w 2208433"/>
              <a:gd name="connsiteY80" fmla="*/ 1143551 h 2884488"/>
              <a:gd name="connsiteX81" fmla="*/ 1488736 w 2208433"/>
              <a:gd name="connsiteY81" fmla="*/ 1168287 h 2884488"/>
              <a:gd name="connsiteX82" fmla="*/ 1540044 w 2208433"/>
              <a:gd name="connsiteY82" fmla="*/ 1137479 h 2884488"/>
              <a:gd name="connsiteX83" fmla="*/ 1564813 w 2208433"/>
              <a:gd name="connsiteY83" fmla="*/ 1178951 h 2884488"/>
              <a:gd name="connsiteX84" fmla="*/ 1325375 w 2208433"/>
              <a:gd name="connsiteY84" fmla="*/ 1455632 h 2884488"/>
              <a:gd name="connsiteX85" fmla="*/ 1440966 w 2208433"/>
              <a:gd name="connsiteY85" fmla="*/ 1763713 h 2884488"/>
              <a:gd name="connsiteX86" fmla="*/ 1830200 w 2208433"/>
              <a:gd name="connsiteY86" fmla="*/ 1031427 h 2884488"/>
              <a:gd name="connsiteX87" fmla="*/ 1788918 w 2208433"/>
              <a:gd name="connsiteY87" fmla="*/ 1023725 h 2884488"/>
              <a:gd name="connsiteX88" fmla="*/ 1697507 w 2208433"/>
              <a:gd name="connsiteY88" fmla="*/ 1104301 h 2884488"/>
              <a:gd name="connsiteX89" fmla="*/ 1672737 w 2208433"/>
              <a:gd name="connsiteY89" fmla="*/ 1185468 h 2884488"/>
              <a:gd name="connsiteX90" fmla="*/ 1646199 w 2208433"/>
              <a:gd name="connsiteY90" fmla="*/ 1190208 h 2884488"/>
              <a:gd name="connsiteX91" fmla="*/ 1645609 w 2208433"/>
              <a:gd name="connsiteY91" fmla="*/ 1212722 h 2884488"/>
              <a:gd name="connsiteX92" fmla="*/ 1645019 w 2208433"/>
              <a:gd name="connsiteY92" fmla="*/ 1221016 h 2884488"/>
              <a:gd name="connsiteX93" fmla="*/ 1591352 w 2208433"/>
              <a:gd name="connsiteY93" fmla="*/ 1297444 h 2884488"/>
              <a:gd name="connsiteX94" fmla="*/ 1610814 w 2208433"/>
              <a:gd name="connsiteY94" fmla="*/ 1217461 h 2884488"/>
              <a:gd name="connsiteX95" fmla="*/ 1614352 w 2208433"/>
              <a:gd name="connsiteY95" fmla="*/ 1057496 h 2884488"/>
              <a:gd name="connsiteX96" fmla="*/ 1590172 w 2208433"/>
              <a:gd name="connsiteY96" fmla="*/ 1020763 h 2884488"/>
              <a:gd name="connsiteX97" fmla="*/ 1534598 w 2208433"/>
              <a:gd name="connsiteY97" fmla="*/ 1045544 h 2884488"/>
              <a:gd name="connsiteX98" fmla="*/ 1537982 w 2208433"/>
              <a:gd name="connsiteY98" fmla="*/ 1043348 h 2884488"/>
              <a:gd name="connsiteX99" fmla="*/ 1591222 w 2208433"/>
              <a:gd name="connsiteY99" fmla="*/ 1017741 h 2884488"/>
              <a:gd name="connsiteX100" fmla="*/ 1591813 w 2208433"/>
              <a:gd name="connsiteY100" fmla="*/ 996427 h 2884488"/>
              <a:gd name="connsiteX101" fmla="*/ 1533330 w 2208433"/>
              <a:gd name="connsiteY101" fmla="*/ 820587 h 2884488"/>
              <a:gd name="connsiteX102" fmla="*/ 1526241 w 2208433"/>
              <a:gd name="connsiteY102" fmla="*/ 732371 h 2884488"/>
              <a:gd name="connsiteX103" fmla="*/ 1524469 w 2208433"/>
              <a:gd name="connsiteY103" fmla="*/ 716978 h 2884488"/>
              <a:gd name="connsiteX104" fmla="*/ 1762536 w 2208433"/>
              <a:gd name="connsiteY104" fmla="*/ 412662 h 2884488"/>
              <a:gd name="connsiteX105" fmla="*/ 2034865 w 2208433"/>
              <a:gd name="connsiteY105" fmla="*/ 657180 h 2884488"/>
              <a:gd name="connsiteX106" fmla="*/ 2067947 w 2208433"/>
              <a:gd name="connsiteY106" fmla="*/ 722306 h 2884488"/>
              <a:gd name="connsiteX107" fmla="*/ 2072673 w 2208433"/>
              <a:gd name="connsiteY107" fmla="*/ 772631 h 2884488"/>
              <a:gd name="connsiteX108" fmla="*/ 2057313 w 2208433"/>
              <a:gd name="connsiteY108" fmla="*/ 722306 h 2884488"/>
              <a:gd name="connsiteX109" fmla="*/ 2053178 w 2208433"/>
              <a:gd name="connsiteY109" fmla="*/ 768486 h 2884488"/>
              <a:gd name="connsiteX110" fmla="*/ 2031912 w 2208433"/>
              <a:gd name="connsiteY110" fmla="*/ 989323 h 2884488"/>
              <a:gd name="connsiteX111" fmla="*/ 2018325 w 2208433"/>
              <a:gd name="connsiteY111" fmla="*/ 1002348 h 2884488"/>
              <a:gd name="connsiteX112" fmla="*/ 2021278 w 2208433"/>
              <a:gd name="connsiteY112" fmla="*/ 1042016 h 2884488"/>
              <a:gd name="connsiteX113" fmla="*/ 2098074 w 2208433"/>
              <a:gd name="connsiteY113" fmla="*/ 1080499 h 2884488"/>
              <a:gd name="connsiteX114" fmla="*/ 2202044 w 2208433"/>
              <a:gd name="connsiteY114" fmla="*/ 1191805 h 2884488"/>
              <a:gd name="connsiteX115" fmla="*/ 2203816 w 2208433"/>
              <a:gd name="connsiteY115" fmla="*/ 1435140 h 2884488"/>
              <a:gd name="connsiteX116" fmla="*/ 2194955 w 2208433"/>
              <a:gd name="connsiteY116" fmla="*/ 1661896 h 2884488"/>
              <a:gd name="connsiteX117" fmla="*/ 2178414 w 2208433"/>
              <a:gd name="connsiteY117" fmla="*/ 1764914 h 2884488"/>
              <a:gd name="connsiteX118" fmla="*/ 2196727 w 2208433"/>
              <a:gd name="connsiteY118" fmla="*/ 1927729 h 2884488"/>
              <a:gd name="connsiteX119" fmla="*/ 2190229 w 2208433"/>
              <a:gd name="connsiteY119" fmla="*/ 1962660 h 2884488"/>
              <a:gd name="connsiteX120" fmla="*/ 2113433 w 2208433"/>
              <a:gd name="connsiteY120" fmla="*/ 2049692 h 2884488"/>
              <a:gd name="connsiteX121" fmla="*/ 2089804 w 2208433"/>
              <a:gd name="connsiteY121" fmla="*/ 2055612 h 2884488"/>
              <a:gd name="connsiteX122" fmla="*/ 1926170 w 2208433"/>
              <a:gd name="connsiteY122" fmla="*/ 2044363 h 2884488"/>
              <a:gd name="connsiteX123" fmla="*/ 1962796 w 2208433"/>
              <a:gd name="connsiteY123" fmla="*/ 2303091 h 2884488"/>
              <a:gd name="connsiteX124" fmla="*/ 1934440 w 2208433"/>
              <a:gd name="connsiteY124" fmla="*/ 2454657 h 2884488"/>
              <a:gd name="connsiteX125" fmla="*/ 1917900 w 2208433"/>
              <a:gd name="connsiteY125" fmla="*/ 2684374 h 2884488"/>
              <a:gd name="connsiteX126" fmla="*/ 1865324 w 2208433"/>
              <a:gd name="connsiteY126" fmla="*/ 2883896 h 2884488"/>
              <a:gd name="connsiteX127" fmla="*/ 1167073 w 2208433"/>
              <a:gd name="connsiteY127" fmla="*/ 2883896 h 2884488"/>
              <a:gd name="connsiteX128" fmla="*/ 1240915 w 2208433"/>
              <a:gd name="connsiteY128" fmla="*/ 2271712 h 2884488"/>
              <a:gd name="connsiteX129" fmla="*/ 1218467 w 2208433"/>
              <a:gd name="connsiteY129" fmla="*/ 2255135 h 2884488"/>
              <a:gd name="connsiteX130" fmla="*/ 1246822 w 2208433"/>
              <a:gd name="connsiteY130" fmla="*/ 2143236 h 2884488"/>
              <a:gd name="connsiteX131" fmla="*/ 1207243 w 2208433"/>
              <a:gd name="connsiteY131" fmla="*/ 2156854 h 2884488"/>
              <a:gd name="connsiteX132" fmla="*/ 1190702 w 2208433"/>
              <a:gd name="connsiteY132" fmla="*/ 2107121 h 2884488"/>
              <a:gd name="connsiteX133" fmla="*/ 1175343 w 2208433"/>
              <a:gd name="connsiteY133" fmla="*/ 2107121 h 2884488"/>
              <a:gd name="connsiteX134" fmla="*/ 1164119 w 2208433"/>
              <a:gd name="connsiteY134" fmla="*/ 2600894 h 2884488"/>
              <a:gd name="connsiteX135" fmla="*/ 1140490 w 2208433"/>
              <a:gd name="connsiteY135" fmla="*/ 2639378 h 2884488"/>
              <a:gd name="connsiteX136" fmla="*/ 1108590 w 2208433"/>
              <a:gd name="connsiteY136" fmla="*/ 2884488 h 2884488"/>
              <a:gd name="connsiteX137" fmla="*/ 220122 w 2208433"/>
              <a:gd name="connsiteY137" fmla="*/ 2882712 h 2884488"/>
              <a:gd name="connsiteX138" fmla="*/ 260292 w 2208433"/>
              <a:gd name="connsiteY138" fmla="*/ 2571884 h 2884488"/>
              <a:gd name="connsiteX139" fmla="*/ 83662 w 2208433"/>
              <a:gd name="connsiteY139" fmla="*/ 2416765 h 2884488"/>
              <a:gd name="connsiteX140" fmla="*/ 331180 w 2208433"/>
              <a:gd name="connsiteY140" fmla="*/ 1677882 h 2884488"/>
              <a:gd name="connsiteX141" fmla="*/ 317003 w 2208433"/>
              <a:gd name="connsiteY141" fmla="*/ 1655976 h 2884488"/>
              <a:gd name="connsiteX142" fmla="*/ 959 w 2208433"/>
              <a:gd name="connsiteY142" fmla="*/ 1463558 h 2884488"/>
              <a:gd name="connsiteX143" fmla="*/ 39947 w 2208433"/>
              <a:gd name="connsiteY143" fmla="*/ 1331530 h 2884488"/>
              <a:gd name="connsiteX144" fmla="*/ 386710 w 2208433"/>
              <a:gd name="connsiteY144" fmla="*/ 654220 h 2884488"/>
              <a:gd name="connsiteX145" fmla="*/ 720476 w 2208433"/>
              <a:gd name="connsiteY145" fmla="*/ 592646 h 2884488"/>
              <a:gd name="connsiteX146" fmla="*/ 809677 w 2208433"/>
              <a:gd name="connsiteY146" fmla="*/ 525152 h 2884488"/>
              <a:gd name="connsiteX147" fmla="*/ 835670 w 2208433"/>
              <a:gd name="connsiteY147" fmla="*/ 526336 h 2884488"/>
              <a:gd name="connsiteX148" fmla="*/ 860481 w 2208433"/>
              <a:gd name="connsiteY148" fmla="*/ 491997 h 2884488"/>
              <a:gd name="connsiteX149" fmla="*/ 895334 w 2208433"/>
              <a:gd name="connsiteY149" fmla="*/ 487261 h 2884488"/>
              <a:gd name="connsiteX150" fmla="*/ 901832 w 2208433"/>
              <a:gd name="connsiteY150" fmla="*/ 424503 h 2884488"/>
              <a:gd name="connsiteX151" fmla="*/ 905967 w 2208433"/>
              <a:gd name="connsiteY151" fmla="*/ 257544 h 2884488"/>
              <a:gd name="connsiteX152" fmla="*/ 1211378 w 2208433"/>
              <a:gd name="connsiteY152" fmla="*/ 0 h 288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08433" h="2884488">
                <a:moveTo>
                  <a:pt x="865613" y="1682726"/>
                </a:moveTo>
                <a:lnTo>
                  <a:pt x="866321" y="1704565"/>
                </a:lnTo>
                <a:cubicBezTo>
                  <a:pt x="866321" y="1716403"/>
                  <a:pt x="788801" y="1952573"/>
                  <a:pt x="789393" y="1963819"/>
                </a:cubicBezTo>
                <a:cubicBezTo>
                  <a:pt x="814247" y="1968555"/>
                  <a:pt x="847385" y="1978025"/>
                  <a:pt x="876381" y="1971514"/>
                </a:cubicBezTo>
                <a:lnTo>
                  <a:pt x="926215" y="1963293"/>
                </a:lnTo>
                <a:lnTo>
                  <a:pt x="919070" y="1737369"/>
                </a:lnTo>
                <a:lnTo>
                  <a:pt x="905769" y="1736436"/>
                </a:lnTo>
                <a:cubicBezTo>
                  <a:pt x="898083" y="1737026"/>
                  <a:pt x="893354" y="1735845"/>
                  <a:pt x="892172" y="1728167"/>
                </a:cubicBezTo>
                <a:lnTo>
                  <a:pt x="880348" y="1696274"/>
                </a:lnTo>
                <a:cubicBezTo>
                  <a:pt x="877983" y="1686824"/>
                  <a:pt x="876209" y="1686233"/>
                  <a:pt x="867342" y="1683280"/>
                </a:cubicBezTo>
                <a:close/>
                <a:moveTo>
                  <a:pt x="1058756" y="1643194"/>
                </a:moveTo>
                <a:lnTo>
                  <a:pt x="1059247" y="1654350"/>
                </a:lnTo>
                <a:lnTo>
                  <a:pt x="1061428" y="1661003"/>
                </a:lnTo>
                <a:cubicBezTo>
                  <a:pt x="1062195" y="1667002"/>
                  <a:pt x="1062398" y="1674347"/>
                  <a:pt x="1062361" y="1682247"/>
                </a:cubicBezTo>
                <a:lnTo>
                  <a:pt x="1061988" y="1716610"/>
                </a:lnTo>
                <a:lnTo>
                  <a:pt x="1071681" y="1936797"/>
                </a:lnTo>
                <a:lnTo>
                  <a:pt x="1074500" y="1936157"/>
                </a:lnTo>
                <a:cubicBezTo>
                  <a:pt x="1089746" y="1931339"/>
                  <a:pt x="1104651" y="1924902"/>
                  <a:pt x="1119001" y="1915875"/>
                </a:cubicBezTo>
                <a:lnTo>
                  <a:pt x="1106008" y="1829854"/>
                </a:lnTo>
                <a:lnTo>
                  <a:pt x="1160857" y="1837531"/>
                </a:lnTo>
                <a:cubicBezTo>
                  <a:pt x="1211094" y="1856377"/>
                  <a:pt x="1179179" y="1821631"/>
                  <a:pt x="1207548" y="1812208"/>
                </a:cubicBezTo>
                <a:cubicBezTo>
                  <a:pt x="1241237" y="1801019"/>
                  <a:pt x="1300930" y="1799841"/>
                  <a:pt x="1345848" y="1859910"/>
                </a:cubicBezTo>
                <a:cubicBezTo>
                  <a:pt x="1365352" y="1885233"/>
                  <a:pt x="1441004" y="1864032"/>
                  <a:pt x="1479421" y="1882289"/>
                </a:cubicBezTo>
                <a:lnTo>
                  <a:pt x="1547389" y="1892300"/>
                </a:lnTo>
                <a:lnTo>
                  <a:pt x="1706375" y="1823398"/>
                </a:lnTo>
                <a:lnTo>
                  <a:pt x="1200196" y="1766926"/>
                </a:lnTo>
                <a:lnTo>
                  <a:pt x="1203138" y="1774826"/>
                </a:lnTo>
                <a:cubicBezTo>
                  <a:pt x="1188358" y="1774826"/>
                  <a:pt x="1175352" y="1770101"/>
                  <a:pt x="1153478" y="1768920"/>
                </a:cubicBezTo>
                <a:lnTo>
                  <a:pt x="1150427" y="1761374"/>
                </a:lnTo>
                <a:lnTo>
                  <a:pt x="1094725" y="1755159"/>
                </a:lnTo>
                <a:lnTo>
                  <a:pt x="1080538" y="1661239"/>
                </a:lnTo>
                <a:lnTo>
                  <a:pt x="1062435" y="1646071"/>
                </a:lnTo>
                <a:close/>
                <a:moveTo>
                  <a:pt x="1516881" y="1057046"/>
                </a:moveTo>
                <a:lnTo>
                  <a:pt x="1481659" y="1080602"/>
                </a:lnTo>
                <a:lnTo>
                  <a:pt x="1481773" y="1089589"/>
                </a:lnTo>
                <a:lnTo>
                  <a:pt x="1480754" y="1080499"/>
                </a:lnTo>
                <a:close/>
                <a:moveTo>
                  <a:pt x="860404" y="495300"/>
                </a:moveTo>
                <a:lnTo>
                  <a:pt x="836142" y="529631"/>
                </a:lnTo>
                <a:lnTo>
                  <a:pt x="816614" y="529039"/>
                </a:lnTo>
                <a:cubicBezTo>
                  <a:pt x="841024" y="728808"/>
                  <a:pt x="846461" y="1036118"/>
                  <a:pt x="855392" y="1367817"/>
                </a:cubicBezTo>
                <a:lnTo>
                  <a:pt x="860030" y="1510704"/>
                </a:lnTo>
                <a:lnTo>
                  <a:pt x="871480" y="1500188"/>
                </a:lnTo>
                <a:cubicBezTo>
                  <a:pt x="888181" y="1504322"/>
                  <a:pt x="897456" y="1507312"/>
                  <a:pt x="904596" y="1509850"/>
                </a:cubicBezTo>
                <a:lnTo>
                  <a:pt x="911955" y="1512368"/>
                </a:lnTo>
                <a:lnTo>
                  <a:pt x="911627" y="1502004"/>
                </a:lnTo>
                <a:lnTo>
                  <a:pt x="917573" y="943459"/>
                </a:lnTo>
                <a:cubicBezTo>
                  <a:pt x="924708" y="877191"/>
                  <a:pt x="938384" y="825714"/>
                  <a:pt x="906275" y="807964"/>
                </a:cubicBezTo>
                <a:cubicBezTo>
                  <a:pt x="924708" y="796722"/>
                  <a:pt x="945520" y="781930"/>
                  <a:pt x="967520" y="763588"/>
                </a:cubicBezTo>
                <a:cubicBezTo>
                  <a:pt x="978818" y="774238"/>
                  <a:pt x="993683" y="776605"/>
                  <a:pt x="1027576" y="764771"/>
                </a:cubicBezTo>
                <a:lnTo>
                  <a:pt x="1055523" y="785480"/>
                </a:lnTo>
                <a:cubicBezTo>
                  <a:pt x="1032333" y="795539"/>
                  <a:pt x="1016873" y="824531"/>
                  <a:pt x="1000818" y="852340"/>
                </a:cubicBezTo>
                <a:cubicBezTo>
                  <a:pt x="1004386" y="864174"/>
                  <a:pt x="1004386" y="890208"/>
                  <a:pt x="1013900" y="915058"/>
                </a:cubicBezTo>
                <a:cubicBezTo>
                  <a:pt x="1024008" y="942867"/>
                  <a:pt x="1025792" y="981326"/>
                  <a:pt x="1034117" y="1019785"/>
                </a:cubicBezTo>
                <a:lnTo>
                  <a:pt x="1053739" y="1529222"/>
                </a:lnTo>
                <a:lnTo>
                  <a:pt x="1054178" y="1539189"/>
                </a:lnTo>
                <a:lnTo>
                  <a:pt x="1063559" y="1548835"/>
                </a:lnTo>
                <a:lnTo>
                  <a:pt x="1061601" y="1535871"/>
                </a:lnTo>
                <a:lnTo>
                  <a:pt x="1101249" y="1133967"/>
                </a:lnTo>
                <a:lnTo>
                  <a:pt x="1106574" y="762842"/>
                </a:lnTo>
                <a:lnTo>
                  <a:pt x="1107758" y="723776"/>
                </a:lnTo>
                <a:cubicBezTo>
                  <a:pt x="1094147" y="723184"/>
                  <a:pt x="1083496" y="722000"/>
                  <a:pt x="1057459" y="723184"/>
                </a:cubicBezTo>
                <a:lnTo>
                  <a:pt x="1036747" y="735022"/>
                </a:lnTo>
                <a:cubicBezTo>
                  <a:pt x="1029054" y="739757"/>
                  <a:pt x="1018994" y="742717"/>
                  <a:pt x="996508" y="736206"/>
                </a:cubicBezTo>
                <a:cubicBezTo>
                  <a:pt x="958635" y="671688"/>
                  <a:pt x="911887" y="610722"/>
                  <a:pt x="865138" y="549164"/>
                </a:cubicBezTo>
                <a:cubicBezTo>
                  <a:pt x="858037" y="534958"/>
                  <a:pt x="856853" y="517793"/>
                  <a:pt x="862771" y="495892"/>
                </a:cubicBezTo>
                <a:close/>
                <a:moveTo>
                  <a:pt x="1211378" y="0"/>
                </a:moveTo>
                <a:cubicBezTo>
                  <a:pt x="1301170" y="5921"/>
                  <a:pt x="1420499" y="103017"/>
                  <a:pt x="1411638" y="238006"/>
                </a:cubicBezTo>
                <a:cubicBezTo>
                  <a:pt x="1399823" y="279450"/>
                  <a:pt x="1395097" y="320301"/>
                  <a:pt x="1366742" y="364706"/>
                </a:cubicBezTo>
                <a:lnTo>
                  <a:pt x="1324209" y="457658"/>
                </a:lnTo>
                <a:cubicBezTo>
                  <a:pt x="1325981" y="473051"/>
                  <a:pt x="1326572" y="480156"/>
                  <a:pt x="1325981" y="481932"/>
                </a:cubicBezTo>
                <a:lnTo>
                  <a:pt x="1297626" y="509759"/>
                </a:lnTo>
                <a:cubicBezTo>
                  <a:pt x="1293491" y="575477"/>
                  <a:pt x="1288174" y="569556"/>
                  <a:pt x="1258637" y="594423"/>
                </a:cubicBezTo>
                <a:cubicBezTo>
                  <a:pt x="1209015" y="635866"/>
                  <a:pt x="1170617" y="671390"/>
                  <a:pt x="1137536" y="721714"/>
                </a:cubicBezTo>
                <a:lnTo>
                  <a:pt x="1131629" y="724674"/>
                </a:lnTo>
                <a:lnTo>
                  <a:pt x="1131629" y="728227"/>
                </a:lnTo>
                <a:cubicBezTo>
                  <a:pt x="1222012" y="792169"/>
                  <a:pt x="1299398" y="861439"/>
                  <a:pt x="1377375" y="930709"/>
                </a:cubicBezTo>
                <a:lnTo>
                  <a:pt x="1348429" y="1343371"/>
                </a:lnTo>
                <a:lnTo>
                  <a:pt x="1450627" y="1183517"/>
                </a:lnTo>
                <a:cubicBezTo>
                  <a:pt x="1455353" y="1153914"/>
                  <a:pt x="1469530" y="1147401"/>
                  <a:pt x="1481345" y="1134968"/>
                </a:cubicBezTo>
                <a:lnTo>
                  <a:pt x="1482280" y="1123842"/>
                </a:lnTo>
                <a:lnTo>
                  <a:pt x="1483207" y="1143551"/>
                </a:lnTo>
                <a:cubicBezTo>
                  <a:pt x="1484165" y="1153771"/>
                  <a:pt x="1485787" y="1157622"/>
                  <a:pt x="1488736" y="1168287"/>
                </a:cubicBezTo>
                <a:cubicBezTo>
                  <a:pt x="1506428" y="1151698"/>
                  <a:pt x="1521762" y="1143403"/>
                  <a:pt x="1540044" y="1137479"/>
                </a:cubicBezTo>
                <a:cubicBezTo>
                  <a:pt x="1553608" y="1151105"/>
                  <a:pt x="1561275" y="1165324"/>
                  <a:pt x="1564813" y="1178951"/>
                </a:cubicBezTo>
                <a:cubicBezTo>
                  <a:pt x="1442735" y="1253009"/>
                  <a:pt x="1453351" y="1318773"/>
                  <a:pt x="1325375" y="1455632"/>
                </a:cubicBezTo>
                <a:cubicBezTo>
                  <a:pt x="1373145" y="1649960"/>
                  <a:pt x="1403222" y="1628631"/>
                  <a:pt x="1440966" y="1763713"/>
                </a:cubicBezTo>
                <a:cubicBezTo>
                  <a:pt x="1536505" y="1469258"/>
                  <a:pt x="1512326" y="1486440"/>
                  <a:pt x="1830200" y="1031427"/>
                </a:cubicBezTo>
                <a:cubicBezTo>
                  <a:pt x="1817816" y="1029650"/>
                  <a:pt x="1810149" y="1030243"/>
                  <a:pt x="1788918" y="1023725"/>
                </a:cubicBezTo>
                <a:lnTo>
                  <a:pt x="1697507" y="1104301"/>
                </a:lnTo>
                <a:lnTo>
                  <a:pt x="1672737" y="1185468"/>
                </a:lnTo>
                <a:cubicBezTo>
                  <a:pt x="1658583" y="1182506"/>
                  <a:pt x="1652686" y="1188430"/>
                  <a:pt x="1646199" y="1190208"/>
                </a:cubicBezTo>
                <a:lnTo>
                  <a:pt x="1645609" y="1212722"/>
                </a:lnTo>
                <a:cubicBezTo>
                  <a:pt x="1646788" y="1215684"/>
                  <a:pt x="1645609" y="1218646"/>
                  <a:pt x="1645019" y="1221016"/>
                </a:cubicBezTo>
                <a:lnTo>
                  <a:pt x="1591352" y="1297444"/>
                </a:lnTo>
                <a:lnTo>
                  <a:pt x="1610814" y="1217461"/>
                </a:lnTo>
                <a:lnTo>
                  <a:pt x="1614352" y="1057496"/>
                </a:lnTo>
                <a:cubicBezTo>
                  <a:pt x="1613173" y="1055126"/>
                  <a:pt x="1604326" y="1042092"/>
                  <a:pt x="1590172" y="1020763"/>
                </a:cubicBezTo>
                <a:lnTo>
                  <a:pt x="1534598" y="1045544"/>
                </a:lnTo>
                <a:lnTo>
                  <a:pt x="1537982" y="1043348"/>
                </a:lnTo>
                <a:cubicBezTo>
                  <a:pt x="1556369" y="1033135"/>
                  <a:pt x="1574091" y="1024846"/>
                  <a:pt x="1591222" y="1017741"/>
                </a:cubicBezTo>
                <a:lnTo>
                  <a:pt x="1591813" y="996427"/>
                </a:lnTo>
                <a:cubicBezTo>
                  <a:pt x="1554596" y="935446"/>
                  <a:pt x="1526832" y="876240"/>
                  <a:pt x="1533330" y="820587"/>
                </a:cubicBezTo>
                <a:cubicBezTo>
                  <a:pt x="1535102" y="799273"/>
                  <a:pt x="1544554" y="756645"/>
                  <a:pt x="1526241" y="732371"/>
                </a:cubicBezTo>
                <a:lnTo>
                  <a:pt x="1524469" y="716978"/>
                </a:lnTo>
                <a:cubicBezTo>
                  <a:pt x="1503793" y="574885"/>
                  <a:pt x="1543963" y="458842"/>
                  <a:pt x="1762536" y="412662"/>
                </a:cubicBezTo>
                <a:cubicBezTo>
                  <a:pt x="2040773" y="442265"/>
                  <a:pt x="2028958" y="548834"/>
                  <a:pt x="2034865" y="657180"/>
                </a:cubicBezTo>
                <a:cubicBezTo>
                  <a:pt x="2046680" y="678494"/>
                  <a:pt x="2058495" y="698624"/>
                  <a:pt x="2067947" y="722306"/>
                </a:cubicBezTo>
                <a:lnTo>
                  <a:pt x="2072673" y="772631"/>
                </a:lnTo>
                <a:lnTo>
                  <a:pt x="2057313" y="722306"/>
                </a:lnTo>
                <a:lnTo>
                  <a:pt x="2053178" y="768486"/>
                </a:lnTo>
                <a:cubicBezTo>
                  <a:pt x="2072673" y="845454"/>
                  <a:pt x="2072082" y="920052"/>
                  <a:pt x="2031912" y="989323"/>
                </a:cubicBezTo>
                <a:lnTo>
                  <a:pt x="2018325" y="1002348"/>
                </a:lnTo>
                <a:lnTo>
                  <a:pt x="2021278" y="1042016"/>
                </a:lnTo>
                <a:cubicBezTo>
                  <a:pt x="2066765" y="1062145"/>
                  <a:pt x="2081534" y="1062145"/>
                  <a:pt x="2098074" y="1080499"/>
                </a:cubicBezTo>
                <a:cubicBezTo>
                  <a:pt x="2127020" y="1112470"/>
                  <a:pt x="2173688" y="1126679"/>
                  <a:pt x="2202044" y="1191805"/>
                </a:cubicBezTo>
                <a:cubicBezTo>
                  <a:pt x="2223901" y="1260484"/>
                  <a:pt x="2180777" y="1378302"/>
                  <a:pt x="2203816" y="1435140"/>
                </a:cubicBezTo>
                <a:cubicBezTo>
                  <a:pt x="2170144" y="1582561"/>
                  <a:pt x="2201453" y="1573088"/>
                  <a:pt x="2194955" y="1661896"/>
                </a:cubicBezTo>
                <a:cubicBezTo>
                  <a:pt x="2180777" y="1712813"/>
                  <a:pt x="2173688" y="1720510"/>
                  <a:pt x="2178414" y="1764914"/>
                </a:cubicBezTo>
                <a:cubicBezTo>
                  <a:pt x="2163646" y="1864971"/>
                  <a:pt x="2193774" y="1850170"/>
                  <a:pt x="2196727" y="1927729"/>
                </a:cubicBezTo>
                <a:cubicBezTo>
                  <a:pt x="2198499" y="1942530"/>
                  <a:pt x="2197318" y="1951411"/>
                  <a:pt x="2190229" y="1962660"/>
                </a:cubicBezTo>
                <a:cubicBezTo>
                  <a:pt x="2143561" y="2036667"/>
                  <a:pt x="2129974" y="2039627"/>
                  <a:pt x="2113433" y="2049692"/>
                </a:cubicBezTo>
                <a:cubicBezTo>
                  <a:pt x="2105163" y="2056796"/>
                  <a:pt x="2099256" y="2056204"/>
                  <a:pt x="2089804" y="2055612"/>
                </a:cubicBezTo>
                <a:cubicBezTo>
                  <a:pt x="1987016" y="2043771"/>
                  <a:pt x="1960433" y="2044955"/>
                  <a:pt x="1926170" y="2044363"/>
                </a:cubicBezTo>
                <a:lnTo>
                  <a:pt x="1962796" y="2303091"/>
                </a:lnTo>
                <a:lnTo>
                  <a:pt x="1934440" y="2454657"/>
                </a:lnTo>
                <a:lnTo>
                  <a:pt x="1917900" y="2684374"/>
                </a:lnTo>
                <a:lnTo>
                  <a:pt x="1865324" y="2883896"/>
                </a:lnTo>
                <a:lnTo>
                  <a:pt x="1167073" y="2883896"/>
                </a:lnTo>
                <a:cubicBezTo>
                  <a:pt x="1165892" y="2801601"/>
                  <a:pt x="1217876" y="2466498"/>
                  <a:pt x="1240915" y="2271712"/>
                </a:cubicBezTo>
                <a:cubicBezTo>
                  <a:pt x="1242097" y="2260463"/>
                  <a:pt x="1217286" y="2265199"/>
                  <a:pt x="1218467" y="2255135"/>
                </a:cubicBezTo>
                <a:cubicBezTo>
                  <a:pt x="1224374" y="2200666"/>
                  <a:pt x="1239143" y="2221979"/>
                  <a:pt x="1246822" y="2143236"/>
                </a:cubicBezTo>
                <a:cubicBezTo>
                  <a:pt x="1248004" y="2131395"/>
                  <a:pt x="1209015" y="2157446"/>
                  <a:pt x="1207243" y="2156854"/>
                </a:cubicBezTo>
                <a:cubicBezTo>
                  <a:pt x="1196019" y="2149157"/>
                  <a:pt x="1192475" y="2127251"/>
                  <a:pt x="1190702" y="2107121"/>
                </a:cubicBezTo>
                <a:cubicBezTo>
                  <a:pt x="1190112" y="2100016"/>
                  <a:pt x="1174753" y="2101792"/>
                  <a:pt x="1175343" y="2107121"/>
                </a:cubicBezTo>
                <a:cubicBezTo>
                  <a:pt x="1185977" y="2170471"/>
                  <a:pt x="1184204" y="2415581"/>
                  <a:pt x="1164119" y="2600894"/>
                </a:cubicBezTo>
                <a:cubicBezTo>
                  <a:pt x="1162938" y="2621024"/>
                  <a:pt x="1141081" y="2619840"/>
                  <a:pt x="1140490" y="2639378"/>
                </a:cubicBezTo>
                <a:cubicBezTo>
                  <a:pt x="1136945" y="2756012"/>
                  <a:pt x="1120996" y="2797456"/>
                  <a:pt x="1108590" y="2884488"/>
                </a:cubicBezTo>
                <a:lnTo>
                  <a:pt x="220122" y="2882712"/>
                </a:lnTo>
                <a:cubicBezTo>
                  <a:pt x="231346" y="2775550"/>
                  <a:pt x="246705" y="2654179"/>
                  <a:pt x="260292" y="2571884"/>
                </a:cubicBezTo>
                <a:cubicBezTo>
                  <a:pt x="185859" y="2547609"/>
                  <a:pt x="142145" y="2469458"/>
                  <a:pt x="83662" y="2416765"/>
                </a:cubicBezTo>
                <a:cubicBezTo>
                  <a:pt x="191176" y="1980421"/>
                  <a:pt x="200037" y="1868523"/>
                  <a:pt x="331180" y="1677882"/>
                </a:cubicBezTo>
                <a:lnTo>
                  <a:pt x="317003" y="1655976"/>
                </a:lnTo>
                <a:cubicBezTo>
                  <a:pt x="-3177" y="1612164"/>
                  <a:pt x="21044" y="1489016"/>
                  <a:pt x="959" y="1463558"/>
                </a:cubicBezTo>
                <a:cubicBezTo>
                  <a:pt x="-4949" y="1395472"/>
                  <a:pt x="17499" y="1364093"/>
                  <a:pt x="39947" y="1331530"/>
                </a:cubicBezTo>
                <a:cubicBezTo>
                  <a:pt x="119697" y="1081091"/>
                  <a:pt x="249068" y="863215"/>
                  <a:pt x="386710" y="654220"/>
                </a:cubicBezTo>
                <a:cubicBezTo>
                  <a:pt x="419200" y="618697"/>
                  <a:pt x="589923" y="608040"/>
                  <a:pt x="720476" y="592646"/>
                </a:cubicBezTo>
                <a:cubicBezTo>
                  <a:pt x="757692" y="574885"/>
                  <a:pt x="785457" y="550611"/>
                  <a:pt x="809677" y="525152"/>
                </a:cubicBezTo>
                <a:lnTo>
                  <a:pt x="835670" y="526336"/>
                </a:lnTo>
                <a:lnTo>
                  <a:pt x="860481" y="491997"/>
                </a:lnTo>
                <a:cubicBezTo>
                  <a:pt x="871705" y="487853"/>
                  <a:pt x="883519" y="486077"/>
                  <a:pt x="895334" y="487261"/>
                </a:cubicBezTo>
                <a:cubicBezTo>
                  <a:pt x="903014" y="448777"/>
                  <a:pt x="901241" y="441081"/>
                  <a:pt x="901832" y="424503"/>
                </a:cubicBezTo>
                <a:cubicBezTo>
                  <a:pt x="867569" y="369442"/>
                  <a:pt x="878203" y="309644"/>
                  <a:pt x="905967" y="257544"/>
                </a:cubicBezTo>
                <a:cubicBezTo>
                  <a:pt x="937867" y="97689"/>
                  <a:pt x="973311" y="15986"/>
                  <a:pt x="1211378" y="0"/>
                </a:cubicBezTo>
                <a:close/>
              </a:path>
            </a:pathLst>
          </a:custGeom>
          <a:solidFill>
            <a:srgbClr val="00BAD5"/>
          </a:solidFill>
          <a:ln w="6350" cap="flat">
            <a:noFill/>
            <a:prstDash val="solid"/>
            <a:miter lim="800000"/>
            <a:headEnd/>
            <a:tailEnd/>
          </a:ln>
        </p:spPr>
        <p:txBody>
          <a:bodyPr vert="horz" wrap="square" lIns="91775" tIns="45887" rIns="91775" bIns="45887" numCol="1" anchor="t" anchorCtr="0" compatLnSpc="1">
            <a:prstTxWarp prst="textNoShape">
              <a:avLst/>
            </a:prstTxWarp>
            <a:noAutofit/>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Tree>
    <p:custDataLst>
      <p:tags r:id="rId1"/>
    </p:custDataLst>
    <p:extLst>
      <p:ext uri="{BB962C8B-B14F-4D97-AF65-F5344CB8AC3E}">
        <p14:creationId xmlns:p14="http://schemas.microsoft.com/office/powerpoint/2010/main" val="1566482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left)">
                                      <p:cBhvr>
                                        <p:cTn id="19" dur="500"/>
                                        <p:tgtEl>
                                          <p:spTgt spid="11"/>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wipe(left)">
                                      <p:cBhvr>
                                        <p:cTn id="23" dur="500"/>
                                        <p:tgtEl>
                                          <p:spTgt spid="12"/>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animBg="1"/>
      <p:bldP spid="11" grpId="0" animBg="1"/>
      <p:bldP spid="12" grpId="0" animBg="1"/>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ShapeNameChangedByPowerUser1"/>
          <p:cNvGrpSpPr/>
          <p:nvPr/>
        </p:nvGrpSpPr>
        <p:grpSpPr>
          <a:xfrm>
            <a:off x="1019283" y="2599646"/>
            <a:ext cx="1680786" cy="2585155"/>
            <a:chOff x="1018988" y="1637071"/>
            <a:chExt cx="1680883" cy="2585305"/>
          </a:xfrm>
        </p:grpSpPr>
        <p:sp>
          <p:nvSpPr>
            <p:cNvPr id="8" name="Freeform 7"/>
            <p:cNvSpPr/>
            <p:nvPr/>
          </p:nvSpPr>
          <p:spPr>
            <a:xfrm>
              <a:off x="101898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3" name="Freeform 12"/>
            <p:cNvSpPr/>
            <p:nvPr/>
          </p:nvSpPr>
          <p:spPr>
            <a:xfrm>
              <a:off x="140222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29" name="ShapeNameChangedByPowerUser2"/>
          <p:cNvGrpSpPr/>
          <p:nvPr/>
        </p:nvGrpSpPr>
        <p:grpSpPr>
          <a:xfrm>
            <a:off x="3431997" y="2542688"/>
            <a:ext cx="1680786" cy="2585155"/>
            <a:chOff x="3843368" y="1637071"/>
            <a:chExt cx="1680883" cy="2585305"/>
          </a:xfrm>
        </p:grpSpPr>
        <p:sp>
          <p:nvSpPr>
            <p:cNvPr id="14" name="Freeform 13"/>
            <p:cNvSpPr/>
            <p:nvPr/>
          </p:nvSpPr>
          <p:spPr>
            <a:xfrm>
              <a:off x="384336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5" name="Freeform 14"/>
            <p:cNvSpPr/>
            <p:nvPr/>
          </p:nvSpPr>
          <p:spPr>
            <a:xfrm>
              <a:off x="422660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28" name="ShapeNameChangedByPowerUser3"/>
          <p:cNvGrpSpPr/>
          <p:nvPr/>
        </p:nvGrpSpPr>
        <p:grpSpPr>
          <a:xfrm>
            <a:off x="5542963" y="2594736"/>
            <a:ext cx="1680786" cy="2585155"/>
            <a:chOff x="6667748" y="1637071"/>
            <a:chExt cx="1680883" cy="2585305"/>
          </a:xfrm>
        </p:grpSpPr>
        <p:sp>
          <p:nvSpPr>
            <p:cNvPr id="16" name="Freeform 15"/>
            <p:cNvSpPr/>
            <p:nvPr/>
          </p:nvSpPr>
          <p:spPr>
            <a:xfrm>
              <a:off x="666774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7" name="Freeform 16"/>
            <p:cNvSpPr/>
            <p:nvPr/>
          </p:nvSpPr>
          <p:spPr>
            <a:xfrm>
              <a:off x="705098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27" name="ShapeNameChangedByPowerUser4"/>
          <p:cNvGrpSpPr/>
          <p:nvPr/>
        </p:nvGrpSpPr>
        <p:grpSpPr>
          <a:xfrm>
            <a:off x="7713776" y="2594738"/>
            <a:ext cx="1680785" cy="2585154"/>
            <a:chOff x="9492129" y="1637071"/>
            <a:chExt cx="1680883" cy="2585305"/>
          </a:xfrm>
        </p:grpSpPr>
        <p:sp>
          <p:nvSpPr>
            <p:cNvPr id="18" name="Freeform 17"/>
            <p:cNvSpPr/>
            <p:nvPr/>
          </p:nvSpPr>
          <p:spPr>
            <a:xfrm>
              <a:off x="9492129"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9" name="Freeform 18"/>
            <p:cNvSpPr/>
            <p:nvPr/>
          </p:nvSpPr>
          <p:spPr>
            <a:xfrm>
              <a:off x="9875369"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40" name="POWER_USER_ID_ICONS_Gauge"/>
          <p:cNvGrpSpPr>
            <a:grpSpLocks noChangeAspect="1"/>
          </p:cNvGrpSpPr>
          <p:nvPr>
            <p:custDataLst>
              <p:tags r:id="rId2"/>
            </p:custDataLst>
          </p:nvPr>
        </p:nvGrpSpPr>
        <p:grpSpPr bwMode="auto">
          <a:xfrm>
            <a:off x="3962749" y="2734406"/>
            <a:ext cx="641313" cy="642901"/>
            <a:chOff x="40" y="40"/>
            <a:chExt cx="404" cy="405"/>
          </a:xfrm>
          <a:solidFill>
            <a:schemeClr val="bg1"/>
          </a:solidFill>
        </p:grpSpPr>
        <p:sp>
          <p:nvSpPr>
            <p:cNvPr id="41" name="POWER_USER_ID_ICONS_Gauge"/>
            <p:cNvSpPr>
              <a:spLocks/>
            </p:cNvSpPr>
            <p:nvPr>
              <p:custDataLst>
                <p:tags r:id="rId8"/>
              </p:custDataLst>
            </p:nvPr>
          </p:nvSpPr>
          <p:spPr bwMode="auto">
            <a:xfrm>
              <a:off x="91" y="91"/>
              <a:ext cx="303" cy="264"/>
            </a:xfrm>
            <a:custGeom>
              <a:avLst/>
              <a:gdLst>
                <a:gd name="T0" fmla="*/ 337 w 419"/>
                <a:gd name="T1" fmla="*/ 317 h 364"/>
                <a:gd name="T2" fmla="*/ 376 w 419"/>
                <a:gd name="T3" fmla="*/ 209 h 364"/>
                <a:gd name="T4" fmla="*/ 209 w 419"/>
                <a:gd name="T5" fmla="*/ 43 h 364"/>
                <a:gd name="T6" fmla="*/ 43 w 419"/>
                <a:gd name="T7" fmla="*/ 209 h 364"/>
                <a:gd name="T8" fmla="*/ 82 w 419"/>
                <a:gd name="T9" fmla="*/ 317 h 364"/>
                <a:gd name="T10" fmla="*/ 90 w 419"/>
                <a:gd name="T11" fmla="*/ 326 h 364"/>
                <a:gd name="T12" fmla="*/ 57 w 419"/>
                <a:gd name="T13" fmla="*/ 353 h 364"/>
                <a:gd name="T14" fmla="*/ 66 w 419"/>
                <a:gd name="T15" fmla="*/ 364 h 364"/>
                <a:gd name="T16" fmla="*/ 99 w 419"/>
                <a:gd name="T17" fmla="*/ 337 h 364"/>
                <a:gd name="T18" fmla="*/ 90 w 419"/>
                <a:gd name="T19" fmla="*/ 326 h 364"/>
                <a:gd name="T20" fmla="*/ 71 w 419"/>
                <a:gd name="T21" fmla="*/ 342 h 364"/>
                <a:gd name="T22" fmla="*/ 63 w 419"/>
                <a:gd name="T23" fmla="*/ 332 h 364"/>
                <a:gd name="T24" fmla="*/ 20 w 419"/>
                <a:gd name="T25" fmla="*/ 230 h 364"/>
                <a:gd name="T26" fmla="*/ 1 w 419"/>
                <a:gd name="T27" fmla="*/ 231 h 364"/>
                <a:gd name="T28" fmla="*/ 0 w 419"/>
                <a:gd name="T29" fmla="*/ 217 h 364"/>
                <a:gd name="T30" fmla="*/ 19 w 419"/>
                <a:gd name="T31" fmla="*/ 216 h 364"/>
                <a:gd name="T32" fmla="*/ 18 w 419"/>
                <a:gd name="T33" fmla="*/ 209 h 364"/>
                <a:gd name="T34" fmla="*/ 67 w 419"/>
                <a:gd name="T35" fmla="*/ 82 h 364"/>
                <a:gd name="T36" fmla="*/ 54 w 419"/>
                <a:gd name="T37" fmla="*/ 69 h 364"/>
                <a:gd name="T38" fmla="*/ 64 w 419"/>
                <a:gd name="T39" fmla="*/ 59 h 364"/>
                <a:gd name="T40" fmla="*/ 77 w 419"/>
                <a:gd name="T41" fmla="*/ 72 h 364"/>
                <a:gd name="T42" fmla="*/ 202 w 419"/>
                <a:gd name="T43" fmla="*/ 19 h 364"/>
                <a:gd name="T44" fmla="*/ 202 w 419"/>
                <a:gd name="T45" fmla="*/ 0 h 364"/>
                <a:gd name="T46" fmla="*/ 217 w 419"/>
                <a:gd name="T47" fmla="*/ 0 h 364"/>
                <a:gd name="T48" fmla="*/ 217 w 419"/>
                <a:gd name="T49" fmla="*/ 19 h 364"/>
                <a:gd name="T50" fmla="*/ 342 w 419"/>
                <a:gd name="T51" fmla="*/ 72 h 364"/>
                <a:gd name="T52" fmla="*/ 355 w 419"/>
                <a:gd name="T53" fmla="*/ 59 h 364"/>
                <a:gd name="T54" fmla="*/ 365 w 419"/>
                <a:gd name="T55" fmla="*/ 69 h 364"/>
                <a:gd name="T56" fmla="*/ 352 w 419"/>
                <a:gd name="T57" fmla="*/ 82 h 364"/>
                <a:gd name="T58" fmla="*/ 400 w 419"/>
                <a:gd name="T59" fmla="*/ 209 h 364"/>
                <a:gd name="T60" fmla="*/ 400 w 419"/>
                <a:gd name="T61" fmla="*/ 216 h 364"/>
                <a:gd name="T62" fmla="*/ 419 w 419"/>
                <a:gd name="T63" fmla="*/ 217 h 364"/>
                <a:gd name="T64" fmla="*/ 418 w 419"/>
                <a:gd name="T65" fmla="*/ 231 h 364"/>
                <a:gd name="T66" fmla="*/ 399 w 419"/>
                <a:gd name="T67" fmla="*/ 230 h 364"/>
                <a:gd name="T68" fmla="*/ 356 w 419"/>
                <a:gd name="T69" fmla="*/ 332 h 364"/>
                <a:gd name="T70" fmla="*/ 348 w 419"/>
                <a:gd name="T71" fmla="*/ 342 h 364"/>
                <a:gd name="T72" fmla="*/ 362 w 419"/>
                <a:gd name="T73" fmla="*/ 353 h 364"/>
                <a:gd name="T74" fmla="*/ 353 w 419"/>
                <a:gd name="T75" fmla="*/ 364 h 364"/>
                <a:gd name="T76" fmla="*/ 320 w 419"/>
                <a:gd name="T77" fmla="*/ 337 h 364"/>
                <a:gd name="T78" fmla="*/ 329 w 419"/>
                <a:gd name="T79" fmla="*/ 326 h 364"/>
                <a:gd name="T80" fmla="*/ 337 w 419"/>
                <a:gd name="T81" fmla="*/ 31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9" h="364">
                  <a:moveTo>
                    <a:pt x="337" y="317"/>
                  </a:moveTo>
                  <a:cubicBezTo>
                    <a:pt x="362" y="287"/>
                    <a:pt x="376" y="249"/>
                    <a:pt x="376" y="209"/>
                  </a:cubicBezTo>
                  <a:cubicBezTo>
                    <a:pt x="376" y="117"/>
                    <a:pt x="301" y="43"/>
                    <a:pt x="209" y="43"/>
                  </a:cubicBezTo>
                  <a:cubicBezTo>
                    <a:pt x="117" y="43"/>
                    <a:pt x="43" y="117"/>
                    <a:pt x="43" y="209"/>
                  </a:cubicBezTo>
                  <a:cubicBezTo>
                    <a:pt x="43" y="249"/>
                    <a:pt x="57" y="287"/>
                    <a:pt x="82" y="317"/>
                  </a:cubicBezTo>
                  <a:lnTo>
                    <a:pt x="90" y="326"/>
                  </a:lnTo>
                  <a:lnTo>
                    <a:pt x="57" y="353"/>
                  </a:lnTo>
                  <a:lnTo>
                    <a:pt x="66" y="364"/>
                  </a:lnTo>
                  <a:lnTo>
                    <a:pt x="99" y="337"/>
                  </a:lnTo>
                  <a:lnTo>
                    <a:pt x="90" y="326"/>
                  </a:lnTo>
                  <a:lnTo>
                    <a:pt x="71" y="342"/>
                  </a:lnTo>
                  <a:lnTo>
                    <a:pt x="63" y="332"/>
                  </a:lnTo>
                  <a:cubicBezTo>
                    <a:pt x="39" y="303"/>
                    <a:pt x="24" y="267"/>
                    <a:pt x="20" y="230"/>
                  </a:cubicBezTo>
                  <a:lnTo>
                    <a:pt x="1" y="231"/>
                  </a:lnTo>
                  <a:lnTo>
                    <a:pt x="0" y="217"/>
                  </a:lnTo>
                  <a:lnTo>
                    <a:pt x="19" y="216"/>
                  </a:lnTo>
                  <a:cubicBezTo>
                    <a:pt x="18" y="214"/>
                    <a:pt x="18" y="211"/>
                    <a:pt x="18" y="209"/>
                  </a:cubicBezTo>
                  <a:cubicBezTo>
                    <a:pt x="18" y="160"/>
                    <a:pt x="37" y="116"/>
                    <a:pt x="67" y="82"/>
                  </a:cubicBezTo>
                  <a:lnTo>
                    <a:pt x="54" y="69"/>
                  </a:lnTo>
                  <a:lnTo>
                    <a:pt x="64" y="59"/>
                  </a:lnTo>
                  <a:lnTo>
                    <a:pt x="77" y="72"/>
                  </a:lnTo>
                  <a:cubicBezTo>
                    <a:pt x="110" y="40"/>
                    <a:pt x="154" y="20"/>
                    <a:pt x="202" y="19"/>
                  </a:cubicBezTo>
                  <a:lnTo>
                    <a:pt x="202" y="0"/>
                  </a:lnTo>
                  <a:lnTo>
                    <a:pt x="217" y="0"/>
                  </a:lnTo>
                  <a:lnTo>
                    <a:pt x="217" y="19"/>
                  </a:lnTo>
                  <a:cubicBezTo>
                    <a:pt x="265" y="20"/>
                    <a:pt x="309" y="40"/>
                    <a:pt x="342" y="72"/>
                  </a:cubicBezTo>
                  <a:lnTo>
                    <a:pt x="355" y="59"/>
                  </a:lnTo>
                  <a:lnTo>
                    <a:pt x="365" y="69"/>
                  </a:lnTo>
                  <a:lnTo>
                    <a:pt x="352" y="82"/>
                  </a:lnTo>
                  <a:cubicBezTo>
                    <a:pt x="382" y="116"/>
                    <a:pt x="400" y="160"/>
                    <a:pt x="400" y="209"/>
                  </a:cubicBezTo>
                  <a:cubicBezTo>
                    <a:pt x="400" y="211"/>
                    <a:pt x="400" y="214"/>
                    <a:pt x="400" y="216"/>
                  </a:cubicBezTo>
                  <a:lnTo>
                    <a:pt x="419" y="217"/>
                  </a:lnTo>
                  <a:lnTo>
                    <a:pt x="418" y="231"/>
                  </a:lnTo>
                  <a:lnTo>
                    <a:pt x="399" y="230"/>
                  </a:lnTo>
                  <a:cubicBezTo>
                    <a:pt x="395" y="267"/>
                    <a:pt x="380" y="303"/>
                    <a:pt x="356" y="332"/>
                  </a:cubicBezTo>
                  <a:lnTo>
                    <a:pt x="348" y="342"/>
                  </a:lnTo>
                  <a:lnTo>
                    <a:pt x="362" y="353"/>
                  </a:lnTo>
                  <a:lnTo>
                    <a:pt x="353" y="364"/>
                  </a:lnTo>
                  <a:lnTo>
                    <a:pt x="320" y="337"/>
                  </a:lnTo>
                  <a:lnTo>
                    <a:pt x="329" y="326"/>
                  </a:lnTo>
                  <a:lnTo>
                    <a:pt x="337" y="317"/>
                  </a:ln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42" name="POWER_USER_ID_ICONS_Gauge"/>
            <p:cNvSpPr>
              <a:spLocks/>
            </p:cNvSpPr>
            <p:nvPr>
              <p:custDataLst>
                <p:tags r:id="rId9"/>
              </p:custDataLst>
            </p:nvPr>
          </p:nvSpPr>
          <p:spPr bwMode="auto">
            <a:xfrm>
              <a:off x="202" y="172"/>
              <a:ext cx="114" cy="110"/>
            </a:xfrm>
            <a:custGeom>
              <a:avLst/>
              <a:gdLst>
                <a:gd name="T0" fmla="*/ 0 w 157"/>
                <a:gd name="T1" fmla="*/ 131 h 151"/>
                <a:gd name="T2" fmla="*/ 20 w 157"/>
                <a:gd name="T3" fmla="*/ 151 h 151"/>
                <a:gd name="T4" fmla="*/ 45 w 157"/>
                <a:gd name="T5" fmla="*/ 124 h 151"/>
                <a:gd name="T6" fmla="*/ 57 w 157"/>
                <a:gd name="T7" fmla="*/ 126 h 151"/>
                <a:gd name="T8" fmla="*/ 84 w 157"/>
                <a:gd name="T9" fmla="*/ 96 h 151"/>
                <a:gd name="T10" fmla="*/ 81 w 157"/>
                <a:gd name="T11" fmla="*/ 84 h 151"/>
                <a:gd name="T12" fmla="*/ 157 w 157"/>
                <a:gd name="T13" fmla="*/ 0 h 151"/>
                <a:gd name="T14" fmla="*/ 70 w 157"/>
                <a:gd name="T15" fmla="*/ 73 h 151"/>
                <a:gd name="T16" fmla="*/ 54 w 157"/>
                <a:gd name="T17" fmla="*/ 69 h 151"/>
                <a:gd name="T18" fmla="*/ 27 w 157"/>
                <a:gd name="T19" fmla="*/ 99 h 151"/>
                <a:gd name="T20" fmla="*/ 28 w 157"/>
                <a:gd name="T21" fmla="*/ 107 h 151"/>
                <a:gd name="T22" fmla="*/ 0 w 157"/>
                <a:gd name="T23" fmla="*/ 13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1">
                  <a:moveTo>
                    <a:pt x="0" y="131"/>
                  </a:moveTo>
                  <a:lnTo>
                    <a:pt x="20" y="151"/>
                  </a:lnTo>
                  <a:lnTo>
                    <a:pt x="45" y="124"/>
                  </a:lnTo>
                  <a:cubicBezTo>
                    <a:pt x="49" y="125"/>
                    <a:pt x="53" y="126"/>
                    <a:pt x="57" y="126"/>
                  </a:cubicBezTo>
                  <a:cubicBezTo>
                    <a:pt x="73" y="125"/>
                    <a:pt x="85" y="111"/>
                    <a:pt x="84" y="96"/>
                  </a:cubicBezTo>
                  <a:cubicBezTo>
                    <a:pt x="84" y="91"/>
                    <a:pt x="82" y="88"/>
                    <a:pt x="81" y="84"/>
                  </a:cubicBezTo>
                  <a:lnTo>
                    <a:pt x="157" y="0"/>
                  </a:lnTo>
                  <a:lnTo>
                    <a:pt x="70" y="73"/>
                  </a:lnTo>
                  <a:cubicBezTo>
                    <a:pt x="65" y="70"/>
                    <a:pt x="59" y="69"/>
                    <a:pt x="54" y="69"/>
                  </a:cubicBezTo>
                  <a:cubicBezTo>
                    <a:pt x="38" y="70"/>
                    <a:pt x="26" y="84"/>
                    <a:pt x="27" y="99"/>
                  </a:cubicBezTo>
                  <a:cubicBezTo>
                    <a:pt x="27" y="102"/>
                    <a:pt x="28" y="105"/>
                    <a:pt x="28" y="107"/>
                  </a:cubicBezTo>
                  <a:lnTo>
                    <a:pt x="0" y="131"/>
                  </a:ln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43" name="POWER_USER_ID_ICONS_Gauge"/>
            <p:cNvSpPr>
              <a:spLocks noEditPoints="1"/>
            </p:cNvSpPr>
            <p:nvPr>
              <p:custDataLst>
                <p:tags r:id="rId10"/>
              </p:custDataLst>
            </p:nvPr>
          </p:nvSpPr>
          <p:spPr bwMode="auto">
            <a:xfrm>
              <a:off x="40" y="40"/>
              <a:ext cx="404" cy="405"/>
            </a:xfrm>
            <a:custGeom>
              <a:avLst/>
              <a:gdLst>
                <a:gd name="T0" fmla="*/ 279 w 558"/>
                <a:gd name="T1" fmla="*/ 0 h 558"/>
                <a:gd name="T2" fmla="*/ 0 w 558"/>
                <a:gd name="T3" fmla="*/ 279 h 558"/>
                <a:gd name="T4" fmla="*/ 279 w 558"/>
                <a:gd name="T5" fmla="*/ 558 h 558"/>
                <a:gd name="T6" fmla="*/ 558 w 558"/>
                <a:gd name="T7" fmla="*/ 279 h 558"/>
                <a:gd name="T8" fmla="*/ 279 w 558"/>
                <a:gd name="T9" fmla="*/ 0 h 558"/>
                <a:gd name="T10" fmla="*/ 279 w 558"/>
                <a:gd name="T11" fmla="*/ 43 h 558"/>
                <a:gd name="T12" fmla="*/ 515 w 558"/>
                <a:gd name="T13" fmla="*/ 279 h 558"/>
                <a:gd name="T14" fmla="*/ 279 w 558"/>
                <a:gd name="T15" fmla="*/ 516 h 558"/>
                <a:gd name="T16" fmla="*/ 43 w 558"/>
                <a:gd name="T17" fmla="*/ 279 h 558"/>
                <a:gd name="T18" fmla="*/ 279 w 558"/>
                <a:gd name="T19" fmla="*/ 4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8" h="558">
                  <a:moveTo>
                    <a:pt x="279" y="0"/>
                  </a:moveTo>
                  <a:cubicBezTo>
                    <a:pt x="125" y="0"/>
                    <a:pt x="0" y="125"/>
                    <a:pt x="0" y="279"/>
                  </a:cubicBezTo>
                  <a:cubicBezTo>
                    <a:pt x="0" y="433"/>
                    <a:pt x="125" y="558"/>
                    <a:pt x="279" y="558"/>
                  </a:cubicBezTo>
                  <a:cubicBezTo>
                    <a:pt x="433" y="558"/>
                    <a:pt x="558" y="433"/>
                    <a:pt x="558" y="279"/>
                  </a:cubicBezTo>
                  <a:cubicBezTo>
                    <a:pt x="558" y="125"/>
                    <a:pt x="433" y="0"/>
                    <a:pt x="279" y="0"/>
                  </a:cubicBezTo>
                  <a:close/>
                  <a:moveTo>
                    <a:pt x="279" y="43"/>
                  </a:moveTo>
                  <a:cubicBezTo>
                    <a:pt x="410" y="43"/>
                    <a:pt x="515" y="149"/>
                    <a:pt x="515" y="279"/>
                  </a:cubicBezTo>
                  <a:cubicBezTo>
                    <a:pt x="515" y="410"/>
                    <a:pt x="410" y="516"/>
                    <a:pt x="279" y="516"/>
                  </a:cubicBezTo>
                  <a:cubicBezTo>
                    <a:pt x="149" y="516"/>
                    <a:pt x="43" y="410"/>
                    <a:pt x="43" y="279"/>
                  </a:cubicBezTo>
                  <a:cubicBezTo>
                    <a:pt x="43" y="149"/>
                    <a:pt x="149" y="43"/>
                    <a:pt x="279" y="43"/>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44" name="POWER_USER_ID_ICONS_Running"/>
          <p:cNvGrpSpPr>
            <a:grpSpLocks noChangeAspect="1"/>
          </p:cNvGrpSpPr>
          <p:nvPr>
            <p:custDataLst>
              <p:tags r:id="rId3"/>
            </p:custDataLst>
          </p:nvPr>
        </p:nvGrpSpPr>
        <p:grpSpPr bwMode="auto">
          <a:xfrm flipH="1">
            <a:off x="6121433" y="2744723"/>
            <a:ext cx="523845" cy="747670"/>
            <a:chOff x="8" y="8"/>
            <a:chExt cx="330" cy="471"/>
          </a:xfrm>
          <a:solidFill>
            <a:schemeClr val="bg1"/>
          </a:solidFill>
        </p:grpSpPr>
        <p:sp>
          <p:nvSpPr>
            <p:cNvPr id="45" name="POWER_USER_ID_ICONS_Running"/>
            <p:cNvSpPr>
              <a:spLocks noChangeArrowheads="1"/>
            </p:cNvSpPr>
            <p:nvPr>
              <p:custDataLst>
                <p:tags r:id="rId6"/>
              </p:custDataLst>
            </p:nvPr>
          </p:nvSpPr>
          <p:spPr bwMode="auto">
            <a:xfrm>
              <a:off x="26" y="8"/>
              <a:ext cx="109" cy="116"/>
            </a:xfrm>
            <a:prstGeom prst="ellipse">
              <a:avLst/>
            </a:pr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46" name="POWER_USER_ID_ICONS_Running"/>
            <p:cNvSpPr>
              <a:spLocks/>
            </p:cNvSpPr>
            <p:nvPr>
              <p:custDataLst>
                <p:tags r:id="rId7"/>
              </p:custDataLst>
            </p:nvPr>
          </p:nvSpPr>
          <p:spPr bwMode="auto">
            <a:xfrm>
              <a:off x="8" y="99"/>
              <a:ext cx="330" cy="380"/>
            </a:xfrm>
            <a:custGeom>
              <a:avLst/>
              <a:gdLst>
                <a:gd name="T0" fmla="*/ 650 w 879"/>
                <a:gd name="T1" fmla="*/ 681 h 1007"/>
                <a:gd name="T2" fmla="*/ 637 w 879"/>
                <a:gd name="T3" fmla="*/ 422 h 1007"/>
                <a:gd name="T4" fmla="*/ 478 w 879"/>
                <a:gd name="T5" fmla="*/ 150 h 1007"/>
                <a:gd name="T6" fmla="*/ 541 w 879"/>
                <a:gd name="T7" fmla="*/ 123 h 1007"/>
                <a:gd name="T8" fmla="*/ 662 w 879"/>
                <a:gd name="T9" fmla="*/ 300 h 1007"/>
                <a:gd name="T10" fmla="*/ 752 w 879"/>
                <a:gd name="T11" fmla="*/ 232 h 1007"/>
                <a:gd name="T12" fmla="*/ 643 w 879"/>
                <a:gd name="T13" fmla="*/ 14 h 1007"/>
                <a:gd name="T14" fmla="*/ 357 w 879"/>
                <a:gd name="T15" fmla="*/ 0 h 1007"/>
                <a:gd name="T16" fmla="*/ 191 w 879"/>
                <a:gd name="T17" fmla="*/ 109 h 1007"/>
                <a:gd name="T18" fmla="*/ 178 w 879"/>
                <a:gd name="T19" fmla="*/ 327 h 1007"/>
                <a:gd name="T20" fmla="*/ 0 w 879"/>
                <a:gd name="T21" fmla="*/ 334 h 1007"/>
                <a:gd name="T22" fmla="*/ 13 w 879"/>
                <a:gd name="T23" fmla="*/ 476 h 1007"/>
                <a:gd name="T24" fmla="*/ 312 w 879"/>
                <a:gd name="T25" fmla="*/ 449 h 1007"/>
                <a:gd name="T26" fmla="*/ 344 w 879"/>
                <a:gd name="T27" fmla="*/ 340 h 1007"/>
                <a:gd name="T28" fmla="*/ 401 w 879"/>
                <a:gd name="T29" fmla="*/ 463 h 1007"/>
                <a:gd name="T30" fmla="*/ 389 w 879"/>
                <a:gd name="T31" fmla="*/ 510 h 1007"/>
                <a:gd name="T32" fmla="*/ 217 w 879"/>
                <a:gd name="T33" fmla="*/ 619 h 1007"/>
                <a:gd name="T34" fmla="*/ 229 w 879"/>
                <a:gd name="T35" fmla="*/ 1007 h 1007"/>
                <a:gd name="T36" fmla="*/ 357 w 879"/>
                <a:gd name="T37" fmla="*/ 1007 h 1007"/>
                <a:gd name="T38" fmla="*/ 382 w 879"/>
                <a:gd name="T39" fmla="*/ 708 h 1007"/>
                <a:gd name="T40" fmla="*/ 529 w 879"/>
                <a:gd name="T41" fmla="*/ 606 h 1007"/>
                <a:gd name="T42" fmla="*/ 516 w 879"/>
                <a:gd name="T43" fmla="*/ 817 h 1007"/>
                <a:gd name="T44" fmla="*/ 860 w 879"/>
                <a:gd name="T45" fmla="*/ 817 h 1007"/>
                <a:gd name="T46" fmla="*/ 879 w 879"/>
                <a:gd name="T47" fmla="*/ 674 h 1007"/>
                <a:gd name="T48" fmla="*/ 650 w 879"/>
                <a:gd name="T49" fmla="*/ 681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9" h="1007">
                  <a:moveTo>
                    <a:pt x="650" y="681"/>
                  </a:moveTo>
                  <a:cubicBezTo>
                    <a:pt x="662" y="646"/>
                    <a:pt x="637" y="422"/>
                    <a:pt x="637" y="422"/>
                  </a:cubicBezTo>
                  <a:lnTo>
                    <a:pt x="478" y="150"/>
                  </a:lnTo>
                  <a:lnTo>
                    <a:pt x="541" y="123"/>
                  </a:lnTo>
                  <a:lnTo>
                    <a:pt x="662" y="300"/>
                  </a:lnTo>
                  <a:lnTo>
                    <a:pt x="752" y="232"/>
                  </a:lnTo>
                  <a:lnTo>
                    <a:pt x="643" y="14"/>
                  </a:lnTo>
                  <a:lnTo>
                    <a:pt x="357" y="0"/>
                  </a:lnTo>
                  <a:cubicBezTo>
                    <a:pt x="338" y="34"/>
                    <a:pt x="217" y="102"/>
                    <a:pt x="191" y="109"/>
                  </a:cubicBezTo>
                  <a:cubicBezTo>
                    <a:pt x="166" y="116"/>
                    <a:pt x="178" y="327"/>
                    <a:pt x="178" y="327"/>
                  </a:cubicBezTo>
                  <a:lnTo>
                    <a:pt x="0" y="334"/>
                  </a:lnTo>
                  <a:lnTo>
                    <a:pt x="13" y="476"/>
                  </a:lnTo>
                  <a:lnTo>
                    <a:pt x="312" y="449"/>
                  </a:lnTo>
                  <a:lnTo>
                    <a:pt x="344" y="340"/>
                  </a:lnTo>
                  <a:cubicBezTo>
                    <a:pt x="344" y="340"/>
                    <a:pt x="389" y="442"/>
                    <a:pt x="401" y="463"/>
                  </a:cubicBezTo>
                  <a:cubicBezTo>
                    <a:pt x="414" y="483"/>
                    <a:pt x="389" y="510"/>
                    <a:pt x="389" y="510"/>
                  </a:cubicBezTo>
                  <a:lnTo>
                    <a:pt x="217" y="619"/>
                  </a:lnTo>
                  <a:lnTo>
                    <a:pt x="229" y="1007"/>
                  </a:lnTo>
                  <a:lnTo>
                    <a:pt x="357" y="1007"/>
                  </a:lnTo>
                  <a:lnTo>
                    <a:pt x="382" y="708"/>
                  </a:lnTo>
                  <a:lnTo>
                    <a:pt x="529" y="606"/>
                  </a:lnTo>
                  <a:lnTo>
                    <a:pt x="516" y="817"/>
                  </a:lnTo>
                  <a:lnTo>
                    <a:pt x="860" y="817"/>
                  </a:lnTo>
                  <a:lnTo>
                    <a:pt x="879" y="674"/>
                  </a:lnTo>
                  <a:cubicBezTo>
                    <a:pt x="841" y="612"/>
                    <a:pt x="637" y="715"/>
                    <a:pt x="650" y="681"/>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sp>
        <p:nvSpPr>
          <p:cNvPr id="47" name="POWER_USER_ID_ICONS_Stopwatch5"/>
          <p:cNvSpPr>
            <a:spLocks noChangeAspect="1" noEditPoints="1"/>
          </p:cNvSpPr>
          <p:nvPr>
            <p:custDataLst>
              <p:tags r:id="rId4"/>
            </p:custDataLst>
          </p:nvPr>
        </p:nvSpPr>
        <p:spPr bwMode="auto">
          <a:xfrm>
            <a:off x="8225386" y="2781207"/>
            <a:ext cx="719097" cy="533369"/>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bg1"/>
          </a:solidFill>
          <a:ln>
            <a:noFill/>
          </a:ln>
          <a:extLst/>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48" name="POWER_USER_ID_ICONS_Magnifying_Glass2"/>
          <p:cNvSpPr>
            <a:spLocks noChangeAspect="1" noEditPoints="1"/>
          </p:cNvSpPr>
          <p:nvPr>
            <p:custDataLst>
              <p:tags r:id="rId5"/>
            </p:custDataLst>
          </p:nvPr>
        </p:nvSpPr>
        <p:spPr bwMode="auto">
          <a:xfrm>
            <a:off x="1592198" y="2893516"/>
            <a:ext cx="534957" cy="534957"/>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chemeClr val="bg1"/>
          </a:solid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34" name="Metin kutusu 33"/>
          <p:cNvSpPr txBox="1"/>
          <p:nvPr/>
        </p:nvSpPr>
        <p:spPr>
          <a:xfrm>
            <a:off x="310927" y="46833"/>
            <a:ext cx="4480832" cy="593093"/>
          </a:xfrm>
          <a:prstGeom prst="rect">
            <a:avLst/>
          </a:prstGeom>
          <a:solidFill>
            <a:schemeClr val="bg1"/>
          </a:solidFill>
        </p:spPr>
        <p:txBody>
          <a:bodyPr wrap="square" rtlCol="0">
            <a:spAutoFit/>
          </a:body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Yatırım Projesi Süresi</a:t>
            </a:r>
          </a:p>
        </p:txBody>
      </p:sp>
      <p:pic>
        <p:nvPicPr>
          <p:cNvPr id="50" name="Picture 3"/>
          <p:cNvPicPr>
            <a:picLocks noChangeAspect="1" noChangeArrowheads="1"/>
          </p:cNvPicPr>
          <p:nvPr/>
        </p:nvPicPr>
        <p:blipFill>
          <a:blip r:embed="rId12" cstate="print"/>
          <a:srcRect/>
          <a:stretch>
            <a:fillRect/>
          </a:stretch>
        </p:blipFill>
        <p:spPr bwMode="auto">
          <a:xfrm>
            <a:off x="11299547" y="130154"/>
            <a:ext cx="722715" cy="509772"/>
          </a:xfrm>
          <a:prstGeom prst="rect">
            <a:avLst/>
          </a:prstGeom>
          <a:noFill/>
          <a:ln w="9525">
            <a:noFill/>
            <a:miter lim="800000"/>
            <a:headEnd/>
            <a:tailEnd/>
          </a:ln>
        </p:spPr>
      </p:pic>
      <p:sp>
        <p:nvSpPr>
          <p:cNvPr id="4" name="Dikdörtgen 3"/>
          <p:cNvSpPr/>
          <p:nvPr/>
        </p:nvSpPr>
        <p:spPr>
          <a:xfrm>
            <a:off x="555920" y="897648"/>
            <a:ext cx="2371120" cy="1760745"/>
          </a:xfrm>
          <a:prstGeom prst="rect">
            <a:avLst/>
          </a:prstGeom>
        </p:spPr>
        <p:txBody>
          <a:bodyPr wrap="square">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İşletme, yatırım proje süresini 4 ay ve katları şeklinde olmak üzere en az 8 ay en fazla 36 ay olacak şekilde belirler</a:t>
            </a:r>
          </a:p>
        </p:txBody>
      </p:sp>
      <p:sp>
        <p:nvSpPr>
          <p:cNvPr id="5" name="Dikdörtgen 4"/>
          <p:cNvSpPr/>
          <p:nvPr/>
        </p:nvSpPr>
        <p:spPr>
          <a:xfrm>
            <a:off x="3284839" y="5510615"/>
            <a:ext cx="1870140" cy="926709"/>
          </a:xfrm>
          <a:prstGeom prst="rect">
            <a:avLst/>
          </a:prstGeom>
        </p:spPr>
        <p:txBody>
          <a:bodyPr wrap="square">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r>
              <a:rPr kumimoji="0" lang="nn-NO"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Faaliyet-zaman planı 4’er aylık dönemleri kapsar</a:t>
            </a:r>
          </a:p>
        </p:txBody>
      </p:sp>
      <p:sp>
        <p:nvSpPr>
          <p:cNvPr id="6" name="Dikdörtgen 5"/>
          <p:cNvSpPr/>
          <p:nvPr/>
        </p:nvSpPr>
        <p:spPr>
          <a:xfrm>
            <a:off x="5035908" y="597276"/>
            <a:ext cx="3503293" cy="1760745"/>
          </a:xfrm>
          <a:prstGeom prst="rect">
            <a:avLst/>
          </a:prstGeom>
        </p:spPr>
        <p:txBody>
          <a:bodyPr wrap="square">
            <a:spAutoFit/>
          </a:bodyPr>
          <a:lstStyle/>
          <a:p>
            <a:pPr marL="0" marR="0" lvl="0" indent="0" algn="l" defTabSz="917783" rtl="0" eaLnBrk="1" fontAlgn="base" latinLnBrk="0" hangingPunct="1">
              <a:lnSpc>
                <a:spcPct val="100000"/>
              </a:lnSpc>
              <a:spcBef>
                <a:spcPct val="0"/>
              </a:spcBef>
              <a:spcAft>
                <a:spcPct val="0"/>
              </a:spcAft>
              <a:buClrTx/>
              <a:buSzTx/>
              <a:buFontTx/>
              <a:buNone/>
              <a:tabLst/>
              <a:defRPr/>
            </a:pP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İşletmenin talep etmesi halinde, kurul kararı ile bir defaya mahsus olmak üzere 4 ay ek süre verilebilir. Verilen ek süre dâhil olmak üzere yatırım projesi süresi toplam 36 ayı geçemez</a:t>
            </a:r>
          </a:p>
        </p:txBody>
      </p:sp>
      <p:sp>
        <p:nvSpPr>
          <p:cNvPr id="7" name="Dikdörtgen 6"/>
          <p:cNvSpPr/>
          <p:nvPr/>
        </p:nvSpPr>
        <p:spPr>
          <a:xfrm>
            <a:off x="8092158" y="5371610"/>
            <a:ext cx="3174415" cy="1204721"/>
          </a:xfrm>
          <a:prstGeom prst="rect">
            <a:avLst/>
          </a:prstGeom>
        </p:spPr>
        <p:txBody>
          <a:bodyPr wrap="square">
            <a:spAutoFit/>
          </a:bodyPr>
          <a:lstStyle/>
          <a:p>
            <a:pPr marL="0" marR="0" lvl="0" indent="0" algn="l" defTabSz="917783" rtl="0" eaLnBrk="1" fontAlgn="base" latinLnBrk="0" hangingPunct="1">
              <a:lnSpc>
                <a:spcPct val="100000"/>
              </a:lnSpc>
              <a:spcBef>
                <a:spcPct val="0"/>
              </a:spcBef>
              <a:spcAft>
                <a:spcPct val="0"/>
              </a:spcAft>
              <a:buClrTx/>
              <a:buSzTx/>
              <a:buFontTx/>
              <a:buNone/>
              <a:tabLst/>
              <a:defRPr/>
            </a:pP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Yatırım projesinin başlangıç tarihi desteklemeye ilişkin ilk kurul kararının evrak kaydına alındığı tarihtir.</a:t>
            </a:r>
          </a:p>
        </p:txBody>
      </p:sp>
    </p:spTree>
    <p:custDataLst>
      <p:tags r:id="rId1"/>
    </p:custDataLst>
    <p:extLst>
      <p:ext uri="{BB962C8B-B14F-4D97-AF65-F5344CB8AC3E}">
        <p14:creationId xmlns:p14="http://schemas.microsoft.com/office/powerpoint/2010/main" val="988175907"/>
      </p:ext>
    </p:extLst>
  </p:cSld>
  <p:clrMapOvr>
    <a:masterClrMapping/>
  </p:clrMapOvr>
  <mc:AlternateContent xmlns:mc="http://schemas.openxmlformats.org/markup-compatibility/2006" xmlns:p14="http://schemas.microsoft.com/office/powerpoint/2010/main">
    <mc:Choice Requires="p14">
      <p:transition spd="slow" p14:dur="2000" advTm="59987"/>
    </mc:Choice>
    <mc:Fallback xmlns="">
      <p:transition spd="slow" advTm="59987"/>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173293" y="1050821"/>
            <a:ext cx="10690173" cy="5286479"/>
            <a:chOff x="726606" y="1684343"/>
            <a:chExt cx="7690789" cy="4305585"/>
          </a:xfrm>
        </p:grpSpPr>
        <p:grpSp>
          <p:nvGrpSpPr>
            <p:cNvPr id="68" name="Group 67"/>
            <p:cNvGrpSpPr>
              <a:grpSpLocks noChangeAspect="1"/>
            </p:cNvGrpSpPr>
            <p:nvPr/>
          </p:nvGrpSpPr>
          <p:grpSpPr>
            <a:xfrm>
              <a:off x="6947321" y="2270743"/>
              <a:ext cx="1470074" cy="1483078"/>
              <a:chOff x="9268877" y="1596791"/>
              <a:chExt cx="1005840" cy="1014737"/>
            </a:xfrm>
          </p:grpSpPr>
          <p:sp>
            <p:nvSpPr>
              <p:cNvPr id="67"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grpSp>
        <p:cxnSp>
          <p:nvCxnSpPr>
            <p:cNvPr id="6"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1" name="Oval 30"/>
            <p:cNvSpPr>
              <a:spLocks noChangeAspect="1"/>
            </p:cNvSpPr>
            <p:nvPr/>
          </p:nvSpPr>
          <p:spPr>
            <a:xfrm>
              <a:off x="4203139"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2" name="Oval 31"/>
            <p:cNvSpPr>
              <a:spLocks noChangeAspect="1"/>
            </p:cNvSpPr>
            <p:nvPr/>
          </p:nvSpPr>
          <p:spPr>
            <a:xfrm>
              <a:off x="641940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1689312" y="2321280"/>
              <a:ext cx="768576" cy="327954"/>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Başvuru</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93" name="TextBox 92"/>
            <p:cNvSpPr txBox="1"/>
            <p:nvPr/>
          </p:nvSpPr>
          <p:spPr>
            <a:xfrm>
              <a:off x="3245985" y="2316657"/>
              <a:ext cx="1829193" cy="32675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lang="tr-TR" sz="2007" b="1" kern="0" noProof="0" dirty="0" smtClean="0">
                  <a:solidFill>
                    <a:srgbClr val="1F497D"/>
                  </a:solidFill>
                  <a:latin typeface="Calibri" pitchFamily="34" charset="0"/>
                  <a:ea typeface="ヒラギノ角ゴ Pro W3" pitchFamily="1" charset="-128"/>
                </a:rPr>
                <a:t>Başvurunun Kontrolü</a:t>
              </a:r>
              <a:r>
                <a:rPr kumimoji="0" lang="en-US"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 </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95" name="TextBox 94"/>
            <p:cNvSpPr txBox="1"/>
            <p:nvPr/>
          </p:nvSpPr>
          <p:spPr>
            <a:xfrm>
              <a:off x="967683" y="2576801"/>
              <a:ext cx="2273429" cy="490815"/>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KOBİ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Bilgi</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Sistemi</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üzerinden</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Uygulama</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Birimlerine</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96" name="TextBox 95"/>
            <p:cNvSpPr txBox="1"/>
            <p:nvPr/>
          </p:nvSpPr>
          <p:spPr>
            <a:xfrm>
              <a:off x="3284861" y="2585481"/>
              <a:ext cx="1735063" cy="477734"/>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lang="tr-TR" sz="1606" kern="0" noProof="0" dirty="0" smtClean="0">
                  <a:solidFill>
                    <a:prstClr val="white">
                      <a:lumMod val="50000"/>
                    </a:prstClr>
                  </a:solidFill>
                  <a:latin typeface="Calibri" pitchFamily="34" charset="0"/>
                  <a:ea typeface="ヒラギノ角ゴ Pro W3" pitchFamily="1" charset="-128"/>
                </a:rPr>
                <a:t>Değerlendirme için sevk, </a:t>
              </a: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Düzeltme İstenmesi, Ret</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94" name="TextBox 93"/>
            <p:cNvSpPr txBox="1"/>
            <p:nvPr/>
          </p:nvSpPr>
          <p:spPr>
            <a:xfrm>
              <a:off x="5656738" y="2324855"/>
              <a:ext cx="1748710" cy="327954"/>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err="1">
                  <a:ln>
                    <a:noFill/>
                  </a:ln>
                  <a:solidFill>
                    <a:srgbClr val="1F497D"/>
                  </a:solidFill>
                  <a:effectLst/>
                  <a:uLnTx/>
                  <a:uFillTx/>
                  <a:latin typeface="Calibri" pitchFamily="34" charset="0"/>
                  <a:ea typeface="ヒラギノ角ゴ Pro W3" pitchFamily="1" charset="-128"/>
                  <a:cs typeface="+mn-cs"/>
                </a:rPr>
                <a:t>Yerinde</a:t>
              </a:r>
              <a:r>
                <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 </a:t>
              </a:r>
              <a:r>
                <a:rPr kumimoji="0" lang="en-US" sz="2007" b="1" i="0" u="none" strike="noStrike" kern="0" cap="none" spc="0" normalizeH="0" baseline="0" noProof="0" dirty="0" err="1">
                  <a:ln>
                    <a:noFill/>
                  </a:ln>
                  <a:solidFill>
                    <a:srgbClr val="1F497D"/>
                  </a:solidFill>
                  <a:effectLst/>
                  <a:uLnTx/>
                  <a:uFillTx/>
                  <a:latin typeface="Calibri" pitchFamily="34" charset="0"/>
                  <a:ea typeface="ヒラギノ角ゴ Pro W3" pitchFamily="1" charset="-128"/>
                  <a:cs typeface="+mn-cs"/>
                </a:rPr>
                <a:t>İncelemeler</a:t>
              </a:r>
              <a:r>
                <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 </a:t>
              </a:r>
            </a:p>
          </p:txBody>
        </p:sp>
        <p:sp>
          <p:nvSpPr>
            <p:cNvPr id="97" name="TextBox 96"/>
            <p:cNvSpPr txBox="1"/>
            <p:nvPr/>
          </p:nvSpPr>
          <p:spPr>
            <a:xfrm>
              <a:off x="4987556" y="2527011"/>
              <a:ext cx="3205337" cy="679001"/>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Orta </a:t>
              </a:r>
              <a:r>
                <a:rPr kumimoji="0" lang="tr-TR"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yüksek veya yüksek </a:t>
              </a: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teknoloji alanında ya da Cari İşlemler</a:t>
              </a:r>
              <a:r>
                <a:rPr kumimoji="0" lang="tr-TR" sz="1606" b="0" i="0" u="none" strike="noStrike" kern="0" cap="none" spc="0" normalizeH="0" noProof="0" dirty="0" smtClean="0">
                  <a:ln>
                    <a:noFill/>
                  </a:ln>
                  <a:solidFill>
                    <a:prstClr val="white">
                      <a:lumMod val="50000"/>
                    </a:prstClr>
                  </a:solidFill>
                  <a:effectLst/>
                  <a:uLnTx/>
                  <a:uFillTx/>
                  <a:latin typeface="Calibri" pitchFamily="34" charset="0"/>
                  <a:ea typeface="ヒラギノ角ゴ Pro W3" pitchFamily="1" charset="-128"/>
                  <a:cs typeface="+mn-cs"/>
                </a:rPr>
                <a:t> Hesabına katkı sunan ürün listesinde</a:t>
              </a: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 </a:t>
              </a:r>
              <a:r>
                <a:rPr kumimoji="0" lang="tr-TR"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ise t</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eknik</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inceleme</a:t>
              </a:r>
              <a:r>
                <a:rPr kumimoji="0" lang="tr-TR" sz="1606" b="0" i="0" u="none" strike="noStrike" kern="0" cap="none" spc="0" normalizeH="0" noProof="0" dirty="0" smtClean="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smtClean="0">
                  <a:ln>
                    <a:noFill/>
                  </a:ln>
                  <a:solidFill>
                    <a:prstClr val="white">
                      <a:lumMod val="50000"/>
                    </a:prstClr>
                  </a:solidFill>
                  <a:effectLst/>
                  <a:uLnTx/>
                  <a:uFillTx/>
                  <a:latin typeface="Calibri" pitchFamily="34" charset="0"/>
                  <a:ea typeface="ヒラギノ角ゴ Pro W3" pitchFamily="1" charset="-128"/>
                  <a:cs typeface="+mn-cs"/>
                </a:rPr>
                <a:t>ve</a:t>
              </a:r>
              <a:r>
                <a:rPr kumimoji="0" lang="en-US"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mali</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lang="tr-TR" sz="1606" kern="0" dirty="0" smtClean="0">
                  <a:solidFill>
                    <a:prstClr val="white">
                      <a:lumMod val="50000"/>
                    </a:prstClr>
                  </a:solidFill>
                  <a:latin typeface="Calibri" pitchFamily="34" charset="0"/>
                  <a:ea typeface="ヒラギノ角ゴ Pro W3" pitchFamily="1" charset="-128"/>
                </a:rPr>
                <a:t>analiz</a:t>
              </a:r>
              <a:r>
                <a:rPr kumimoji="0" lang="en-US"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hazırlanması</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grpSp>
          <p:nvGrpSpPr>
            <p:cNvPr id="110" name="POWER_USER_ID_ICONS_Big_Idea"/>
            <p:cNvGrpSpPr>
              <a:grpSpLocks noChangeAspect="1"/>
            </p:cNvGrpSpPr>
            <p:nvPr>
              <p:custDataLst>
                <p:tags r:id="rId19"/>
              </p:custDataLst>
            </p:nvPr>
          </p:nvGrpSpPr>
          <p:grpSpPr bwMode="auto">
            <a:xfrm>
              <a:off x="1903977" y="1684343"/>
              <a:ext cx="353773" cy="372365"/>
              <a:chOff x="3544" y="-299"/>
              <a:chExt cx="4110" cy="4326"/>
            </a:xfrm>
            <a:solidFill>
              <a:schemeClr val="tx2"/>
            </a:solidFill>
          </p:grpSpPr>
          <p:sp>
            <p:nvSpPr>
              <p:cNvPr id="111"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12"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13"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14"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15"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16"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17"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18"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19"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sp>
          <p:nvSpPr>
            <p:cNvPr id="126" name="POWER_USER_ID_ICONS_Crossroads"/>
            <p:cNvSpPr>
              <a:spLocks noChangeAspect="1"/>
            </p:cNvSpPr>
            <p:nvPr>
              <p:custDataLst>
                <p:tags r:id="rId20"/>
              </p:custDataLst>
            </p:nvPr>
          </p:nvSpPr>
          <p:spPr bwMode="auto">
            <a:xfrm>
              <a:off x="4116144" y="1687375"/>
              <a:ext cx="397348" cy="43255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nvGrpSpPr>
            <p:cNvPr id="134" name="POWER_USER_ID_ICONS_Cup"/>
            <p:cNvGrpSpPr>
              <a:grpSpLocks noChangeAspect="1"/>
            </p:cNvGrpSpPr>
            <p:nvPr>
              <p:custDataLst>
                <p:tags r:id="rId21"/>
              </p:custDataLst>
            </p:nvPr>
          </p:nvGrpSpPr>
          <p:grpSpPr bwMode="auto">
            <a:xfrm>
              <a:off x="7787205" y="4771529"/>
              <a:ext cx="559408" cy="603779"/>
              <a:chOff x="69" y="56"/>
              <a:chExt cx="353" cy="381"/>
            </a:xfrm>
            <a:solidFill>
              <a:schemeClr val="tx2"/>
            </a:solidFill>
          </p:grpSpPr>
          <p:sp>
            <p:nvSpPr>
              <p:cNvPr id="135" name="POWER_USER_ID_ICONS_Cup"/>
              <p:cNvSpPr>
                <a:spLocks/>
              </p:cNvSpPr>
              <p:nvPr>
                <p:custDataLst>
                  <p:tags r:id="rId50"/>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36" name="POWER_USER_ID_ICONS_Cup"/>
              <p:cNvSpPr>
                <a:spLocks/>
              </p:cNvSpPr>
              <p:nvPr>
                <p:custDataLst>
                  <p:tags r:id="rId51"/>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37" name="POWER_USER_ID_ICONS_Cup"/>
              <p:cNvSpPr>
                <a:spLocks/>
              </p:cNvSpPr>
              <p:nvPr>
                <p:custDataLst>
                  <p:tags r:id="rId52"/>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38" name="POWER_USER_ID_ICONS_Cup"/>
              <p:cNvSpPr>
                <a:spLocks/>
              </p:cNvSpPr>
              <p:nvPr>
                <p:custDataLst>
                  <p:tags r:id="rId53"/>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39" name="POWER_USER_ID_ICONS_Cup"/>
              <p:cNvSpPr>
                <a:spLocks/>
              </p:cNvSpPr>
              <p:nvPr>
                <p:custDataLst>
                  <p:tags r:id="rId54"/>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nvGrpSpPr>
            <p:cNvPr id="140" name="POWER_USER_ID_ICONS_Flag5"/>
            <p:cNvGrpSpPr>
              <a:grpSpLocks noChangeAspect="1"/>
            </p:cNvGrpSpPr>
            <p:nvPr>
              <p:custDataLst>
                <p:tags r:id="rId22"/>
              </p:custDataLst>
            </p:nvPr>
          </p:nvGrpSpPr>
          <p:grpSpPr bwMode="auto">
            <a:xfrm>
              <a:off x="726606" y="1935356"/>
              <a:ext cx="362108" cy="466410"/>
              <a:chOff x="8" y="5"/>
              <a:chExt cx="368" cy="474"/>
            </a:xfrm>
            <a:solidFill>
              <a:schemeClr val="tx2"/>
            </a:solidFill>
          </p:grpSpPr>
          <p:sp>
            <p:nvSpPr>
              <p:cNvPr id="141" name="POWER_USER_ID_ICONS_Flag5"/>
              <p:cNvSpPr>
                <a:spLocks/>
              </p:cNvSpPr>
              <p:nvPr>
                <p:custDataLst>
                  <p:tags r:id="rId36"/>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42" name="POWER_USER_ID_ICONS_Flag5"/>
              <p:cNvSpPr>
                <a:spLocks noChangeArrowheads="1"/>
              </p:cNvSpPr>
              <p:nvPr>
                <p:custDataLst>
                  <p:tags r:id="rId37"/>
                </p:custDataLst>
              </p:nvPr>
            </p:nvSpPr>
            <p:spPr bwMode="auto">
              <a:xfrm>
                <a:off x="34" y="2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43" name="POWER_USER_ID_ICONS_Flag5"/>
              <p:cNvSpPr>
                <a:spLocks noChangeArrowheads="1"/>
              </p:cNvSpPr>
              <p:nvPr>
                <p:custDataLst>
                  <p:tags r:id="rId38"/>
                </p:custDataLst>
              </p:nvPr>
            </p:nvSpPr>
            <p:spPr bwMode="auto">
              <a:xfrm>
                <a:off x="88" y="8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44" name="POWER_USER_ID_ICONS_Flag5"/>
              <p:cNvSpPr>
                <a:spLocks noChangeArrowheads="1"/>
              </p:cNvSpPr>
              <p:nvPr>
                <p:custDataLst>
                  <p:tags r:id="rId39"/>
                </p:custDataLst>
              </p:nvPr>
            </p:nvSpPr>
            <p:spPr bwMode="auto">
              <a:xfrm>
                <a:off x="34" y="136"/>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45" name="POWER_USER_ID_ICONS_Flag5"/>
              <p:cNvSpPr>
                <a:spLocks noChangeArrowheads="1"/>
              </p:cNvSpPr>
              <p:nvPr>
                <p:custDataLst>
                  <p:tags r:id="rId40"/>
                </p:custDataLst>
              </p:nvPr>
            </p:nvSpPr>
            <p:spPr bwMode="auto">
              <a:xfrm>
                <a:off x="88" y="191"/>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46" name="POWER_USER_ID_ICONS_Flag5"/>
              <p:cNvSpPr>
                <a:spLocks noChangeArrowheads="1"/>
              </p:cNvSpPr>
              <p:nvPr>
                <p:custDataLst>
                  <p:tags r:id="rId41"/>
                </p:custDataLst>
              </p:nvPr>
            </p:nvSpPr>
            <p:spPr bwMode="auto">
              <a:xfrm>
                <a:off x="144" y="2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47" name="POWER_USER_ID_ICONS_Flag5"/>
              <p:cNvSpPr>
                <a:spLocks noChangeArrowheads="1"/>
              </p:cNvSpPr>
              <p:nvPr>
                <p:custDataLst>
                  <p:tags r:id="rId42"/>
                </p:custDataLst>
              </p:nvPr>
            </p:nvSpPr>
            <p:spPr bwMode="auto">
              <a:xfrm>
                <a:off x="198" y="8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48" name="POWER_USER_ID_ICONS_Flag5"/>
              <p:cNvSpPr>
                <a:spLocks noChangeArrowheads="1"/>
              </p:cNvSpPr>
              <p:nvPr>
                <p:custDataLst>
                  <p:tags r:id="rId43"/>
                </p:custDataLst>
              </p:nvPr>
            </p:nvSpPr>
            <p:spPr bwMode="auto">
              <a:xfrm>
                <a:off x="144" y="136"/>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49" name="POWER_USER_ID_ICONS_Flag5"/>
              <p:cNvSpPr>
                <a:spLocks noChangeArrowheads="1"/>
              </p:cNvSpPr>
              <p:nvPr>
                <p:custDataLst>
                  <p:tags r:id="rId44"/>
                </p:custDataLst>
              </p:nvPr>
            </p:nvSpPr>
            <p:spPr bwMode="auto">
              <a:xfrm>
                <a:off x="198" y="191"/>
                <a:ext cx="55"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50" name="POWER_USER_ID_ICONS_Flag5"/>
              <p:cNvSpPr>
                <a:spLocks noChangeArrowheads="1"/>
              </p:cNvSpPr>
              <p:nvPr>
                <p:custDataLst>
                  <p:tags r:id="rId45"/>
                </p:custDataLst>
              </p:nvPr>
            </p:nvSpPr>
            <p:spPr bwMode="auto">
              <a:xfrm>
                <a:off x="253" y="2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51" name="POWER_USER_ID_ICONS_Flag5"/>
              <p:cNvSpPr>
                <a:spLocks noChangeArrowheads="1"/>
              </p:cNvSpPr>
              <p:nvPr>
                <p:custDataLst>
                  <p:tags r:id="rId46"/>
                </p:custDataLst>
              </p:nvPr>
            </p:nvSpPr>
            <p:spPr bwMode="auto">
              <a:xfrm>
                <a:off x="309" y="8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52" name="POWER_USER_ID_ICONS_Flag5"/>
              <p:cNvSpPr>
                <a:spLocks noChangeArrowheads="1"/>
              </p:cNvSpPr>
              <p:nvPr>
                <p:custDataLst>
                  <p:tags r:id="rId47"/>
                </p:custDataLst>
              </p:nvPr>
            </p:nvSpPr>
            <p:spPr bwMode="auto">
              <a:xfrm>
                <a:off x="253" y="136"/>
                <a:ext cx="56"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53" name="POWER_USER_ID_ICONS_Flag5"/>
              <p:cNvSpPr>
                <a:spLocks noChangeArrowheads="1"/>
              </p:cNvSpPr>
              <p:nvPr>
                <p:custDataLst>
                  <p:tags r:id="rId48"/>
                </p:custDataLst>
              </p:nvPr>
            </p:nvSpPr>
            <p:spPr bwMode="auto">
              <a:xfrm>
                <a:off x="309" y="191"/>
                <a:ext cx="54" cy="56"/>
              </a:xfrm>
              <a:prstGeom prst="rect">
                <a:avLst/>
              </a:prstGeom>
              <a:grpFill/>
              <a:ln w="0">
                <a:noFill/>
                <a:prstDash val="solid"/>
                <a:miter lim="800000"/>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54" name="POWER_USER_ID_ICONS_Flag5"/>
              <p:cNvSpPr>
                <a:spLocks noEditPoints="1"/>
              </p:cNvSpPr>
              <p:nvPr>
                <p:custDataLst>
                  <p:tags r:id="rId49"/>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nvGrpSpPr>
            <p:cNvPr id="155" name="Group 154"/>
            <p:cNvGrpSpPr>
              <a:grpSpLocks noChangeAspect="1"/>
            </p:cNvGrpSpPr>
            <p:nvPr/>
          </p:nvGrpSpPr>
          <p:grpSpPr>
            <a:xfrm rot="10800000">
              <a:off x="777435" y="3753770"/>
              <a:ext cx="1470074" cy="1483078"/>
              <a:chOff x="9268877" y="1596791"/>
              <a:chExt cx="1005840" cy="1014737"/>
            </a:xfrm>
          </p:grpSpPr>
          <p:sp>
            <p:nvSpPr>
              <p:cNvPr id="1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57"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158" name="Oval 157"/>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59" name="Oval 158"/>
            <p:cNvSpPr>
              <a:spLocks noChangeAspect="1"/>
            </p:cNvSpPr>
            <p:nvPr/>
          </p:nvSpPr>
          <p:spPr>
            <a:xfrm>
              <a:off x="4203139"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60" name="Oval 159"/>
            <p:cNvSpPr>
              <a:spLocks noChangeAspect="1"/>
            </p:cNvSpPr>
            <p:nvPr/>
          </p:nvSpPr>
          <p:spPr>
            <a:xfrm>
              <a:off x="6419407"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61" name="TextBox 160"/>
            <p:cNvSpPr txBox="1"/>
            <p:nvPr/>
          </p:nvSpPr>
          <p:spPr>
            <a:xfrm>
              <a:off x="6157832" y="3806958"/>
              <a:ext cx="741155" cy="326758"/>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K</a:t>
              </a:r>
              <a:r>
                <a:rPr kumimoji="0" lang="tr-TR" sz="2007" b="1" i="0" u="none" strike="noStrike" kern="0" cap="none" spc="0" normalizeH="0" baseline="0" noProof="0" dirty="0" err="1" smtClean="0">
                  <a:ln>
                    <a:noFill/>
                  </a:ln>
                  <a:solidFill>
                    <a:srgbClr val="1F497D"/>
                  </a:solidFill>
                  <a:effectLst/>
                  <a:uLnTx/>
                  <a:uFillTx/>
                  <a:latin typeface="Calibri" pitchFamily="34" charset="0"/>
                  <a:ea typeface="ヒラギノ角ゴ Pro W3" pitchFamily="1" charset="-128"/>
                  <a:cs typeface="+mn-cs"/>
                </a:rPr>
                <a:t>omite</a:t>
              </a:r>
              <a:r>
                <a:rPr kumimoji="0" lang="en-US"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 </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162" name="TextBox 161"/>
            <p:cNvSpPr txBox="1"/>
            <p:nvPr/>
          </p:nvSpPr>
          <p:spPr>
            <a:xfrm>
              <a:off x="3265145" y="3787160"/>
              <a:ext cx="2099346" cy="327954"/>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Faaliyetlerin Yürütülmesi</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165" name="TextBox 164"/>
            <p:cNvSpPr txBox="1"/>
            <p:nvPr/>
          </p:nvSpPr>
          <p:spPr>
            <a:xfrm>
              <a:off x="1720590" y="3821835"/>
              <a:ext cx="752102" cy="327954"/>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err="1" smtClean="0">
                  <a:ln>
                    <a:noFill/>
                  </a:ln>
                  <a:solidFill>
                    <a:srgbClr val="1F497D"/>
                  </a:solidFill>
                  <a:effectLst/>
                  <a:uLnTx/>
                  <a:uFillTx/>
                  <a:latin typeface="Calibri" pitchFamily="34" charset="0"/>
                  <a:ea typeface="ヒラギノ角ゴ Pro W3" pitchFamily="1" charset="-128"/>
                  <a:cs typeface="+mn-cs"/>
                </a:rPr>
                <a:t>Ödeme</a:t>
              </a:r>
              <a:r>
                <a:rPr kumimoji="0" lang="en-US"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 </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167" name="Oval 166"/>
            <p:cNvSpPr>
              <a:spLocks noChangeAspect="1"/>
            </p:cNvSpPr>
            <p:nvPr/>
          </p:nvSpPr>
          <p:spPr>
            <a:xfrm>
              <a:off x="3325854" y="5159643"/>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69" name="Oval 168"/>
            <p:cNvSpPr>
              <a:spLocks noChangeAspect="1"/>
            </p:cNvSpPr>
            <p:nvPr/>
          </p:nvSpPr>
          <p:spPr>
            <a:xfrm>
              <a:off x="6380986" y="5127756"/>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70" name="TextBox 169"/>
            <p:cNvSpPr txBox="1"/>
            <p:nvPr/>
          </p:nvSpPr>
          <p:spPr>
            <a:xfrm>
              <a:off x="2148993" y="5358505"/>
              <a:ext cx="2033455" cy="327954"/>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Projenin Tamamlanması</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172" name="TextBox 171"/>
            <p:cNvSpPr txBox="1"/>
            <p:nvPr/>
          </p:nvSpPr>
          <p:spPr>
            <a:xfrm>
              <a:off x="1860620" y="5705772"/>
              <a:ext cx="2554516" cy="284156"/>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Yatırım</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projesin</a:t>
              </a:r>
              <a:r>
                <a:rPr kumimoji="0" lang="tr-TR"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in</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tamamlanması</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174" name="TextBox 173"/>
            <p:cNvSpPr txBox="1"/>
            <p:nvPr/>
          </p:nvSpPr>
          <p:spPr>
            <a:xfrm>
              <a:off x="5945148" y="5306089"/>
              <a:ext cx="1576922" cy="327954"/>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Projenin İzlenmesi</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175" name="TextBox 174"/>
            <p:cNvSpPr txBox="1"/>
            <p:nvPr/>
          </p:nvSpPr>
          <p:spPr>
            <a:xfrm>
              <a:off x="5426349" y="5707403"/>
              <a:ext cx="2604654" cy="276467"/>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3</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yıl</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boyunca</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işletmenin</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her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yıl</a:t>
              </a:r>
              <a:r>
                <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606"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izlenmesi</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176" name="POWER_USER_ID_ICONS_Board"/>
            <p:cNvSpPr>
              <a:spLocks noChangeAspect="1" noEditPoints="1"/>
            </p:cNvSpPr>
            <p:nvPr>
              <p:custDataLst>
                <p:tags r:id="rId23"/>
              </p:custDataLst>
            </p:nvPr>
          </p:nvSpPr>
          <p:spPr bwMode="auto">
            <a:xfrm>
              <a:off x="4152393" y="3163062"/>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82" name="POWER_USER_ID_ICONS_Stopwatch5"/>
            <p:cNvSpPr>
              <a:spLocks noChangeAspect="1" noEditPoints="1"/>
            </p:cNvSpPr>
            <p:nvPr>
              <p:custDataLst>
                <p:tags r:id="rId24"/>
              </p:custDataLst>
            </p:nvPr>
          </p:nvSpPr>
          <p:spPr bwMode="auto">
            <a:xfrm>
              <a:off x="3179162" y="4670222"/>
              <a:ext cx="405224" cy="300563"/>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nvGrpSpPr>
            <p:cNvPr id="187" name="POWER_USER_ID_ICONS_Poll"/>
            <p:cNvGrpSpPr>
              <a:grpSpLocks noChangeAspect="1"/>
            </p:cNvGrpSpPr>
            <p:nvPr>
              <p:custDataLst>
                <p:tags r:id="rId25"/>
              </p:custDataLst>
            </p:nvPr>
          </p:nvGrpSpPr>
          <p:grpSpPr bwMode="auto">
            <a:xfrm>
              <a:off x="6277098" y="4519266"/>
              <a:ext cx="361475" cy="468868"/>
              <a:chOff x="74" y="94"/>
              <a:chExt cx="276" cy="358"/>
            </a:xfrm>
            <a:solidFill>
              <a:schemeClr val="tx2"/>
            </a:solidFill>
          </p:grpSpPr>
          <p:sp>
            <p:nvSpPr>
              <p:cNvPr id="188" name="POWER_USER_ID_ICONS_Poll"/>
              <p:cNvSpPr>
                <a:spLocks/>
              </p:cNvSpPr>
              <p:nvPr>
                <p:custDataLst>
                  <p:tags r:id="rId26"/>
                </p:custDataLst>
              </p:nvPr>
            </p:nvSpPr>
            <p:spPr bwMode="auto">
              <a:xfrm>
                <a:off x="74" y="94"/>
                <a:ext cx="273" cy="280"/>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89" name="POWER_USER_ID_ICONS_Poll"/>
              <p:cNvSpPr>
                <a:spLocks noEditPoints="1"/>
              </p:cNvSpPr>
              <p:nvPr>
                <p:custDataLst>
                  <p:tags r:id="rId27"/>
                </p:custDataLst>
              </p:nvPr>
            </p:nvSpPr>
            <p:spPr bwMode="auto">
              <a:xfrm>
                <a:off x="113" y="129"/>
                <a:ext cx="52" cy="210"/>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90" name="POWER_USER_ID_ICONS_Poll"/>
              <p:cNvSpPr>
                <a:spLocks noEditPoints="1"/>
              </p:cNvSpPr>
              <p:nvPr>
                <p:custDataLst>
                  <p:tags r:id="rId28"/>
                </p:custDataLst>
              </p:nvPr>
            </p:nvSpPr>
            <p:spPr bwMode="auto">
              <a:xfrm>
                <a:off x="200" y="201"/>
                <a:ext cx="53" cy="138"/>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91" name="POWER_USER_ID_ICONS_Poll"/>
              <p:cNvSpPr>
                <a:spLocks noEditPoints="1"/>
              </p:cNvSpPr>
              <p:nvPr>
                <p:custDataLst>
                  <p:tags r:id="rId29"/>
                </p:custDataLst>
              </p:nvPr>
            </p:nvSpPr>
            <p:spPr bwMode="auto">
              <a:xfrm>
                <a:off x="287" y="172"/>
                <a:ext cx="53" cy="167"/>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92" name="POWER_USER_ID_ICONS_Poll"/>
              <p:cNvSpPr>
                <a:spLocks noChangeArrowheads="1"/>
              </p:cNvSpPr>
              <p:nvPr>
                <p:custDataLst>
                  <p:tags r:id="rId30"/>
                </p:custDataLst>
              </p:nvPr>
            </p:nvSpPr>
            <p:spPr bwMode="auto">
              <a:xfrm>
                <a:off x="129" y="384"/>
                <a:ext cx="32"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93" name="POWER_USER_ID_ICONS_Poll"/>
              <p:cNvSpPr>
                <a:spLocks/>
              </p:cNvSpPr>
              <p:nvPr>
                <p:custDataLst>
                  <p:tags r:id="rId31"/>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94" name="POWER_USER_ID_ICONS_Poll"/>
              <p:cNvSpPr>
                <a:spLocks noChangeArrowheads="1"/>
              </p:cNvSpPr>
              <p:nvPr>
                <p:custDataLst>
                  <p:tags r:id="rId32"/>
                </p:custDataLst>
              </p:nvPr>
            </p:nvSpPr>
            <p:spPr bwMode="auto">
              <a:xfrm>
                <a:off x="216" y="384"/>
                <a:ext cx="32"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95" name="POWER_USER_ID_ICONS_Poll"/>
              <p:cNvSpPr>
                <a:spLocks/>
              </p:cNvSpPr>
              <p:nvPr>
                <p:custDataLst>
                  <p:tags r:id="rId33"/>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96" name="POWER_USER_ID_ICONS_Poll"/>
              <p:cNvSpPr>
                <a:spLocks noChangeArrowheads="1"/>
              </p:cNvSpPr>
              <p:nvPr>
                <p:custDataLst>
                  <p:tags r:id="rId34"/>
                </p:custDataLst>
              </p:nvPr>
            </p:nvSpPr>
            <p:spPr bwMode="auto">
              <a:xfrm>
                <a:off x="304" y="384"/>
                <a:ext cx="31" cy="31"/>
              </a:xfrm>
              <a:prstGeom prst="ellipse">
                <a:avLst/>
              </a:pr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197" name="POWER_USER_ID_ICONS_Poll"/>
              <p:cNvSpPr>
                <a:spLocks/>
              </p:cNvSpPr>
              <p:nvPr>
                <p:custDataLst>
                  <p:tags r:id="rId35"/>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pic>
        <p:nvPicPr>
          <p:cNvPr id="107" name="Picture 3"/>
          <p:cNvPicPr>
            <a:picLocks noChangeAspect="1" noChangeArrowheads="1"/>
          </p:cNvPicPr>
          <p:nvPr/>
        </p:nvPicPr>
        <p:blipFill>
          <a:blip r:embed="rId56" cstate="print"/>
          <a:srcRect/>
          <a:stretch>
            <a:fillRect/>
          </a:stretch>
        </p:blipFill>
        <p:spPr bwMode="auto">
          <a:xfrm>
            <a:off x="11227655" y="141284"/>
            <a:ext cx="722715" cy="509772"/>
          </a:xfrm>
          <a:prstGeom prst="rect">
            <a:avLst/>
          </a:prstGeom>
          <a:noFill/>
          <a:ln w="9525">
            <a:noFill/>
            <a:miter lim="800000"/>
            <a:headEnd/>
            <a:tailEnd/>
          </a:ln>
        </p:spPr>
      </p:pic>
      <p:sp>
        <p:nvSpPr>
          <p:cNvPr id="108" name="Text Box 2"/>
          <p:cNvSpPr txBox="1">
            <a:spLocks noChangeArrowheads="1"/>
          </p:cNvSpPr>
          <p:nvPr/>
        </p:nvSpPr>
        <p:spPr bwMode="auto">
          <a:xfrm>
            <a:off x="169738" y="259180"/>
            <a:ext cx="8094407" cy="500422"/>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270864" marR="0" lvl="0" indent="0" algn="l" defTabSz="917783" rtl="0" eaLnBrk="1" fontAlgn="base" latinLnBrk="0" hangingPunct="1">
              <a:lnSpc>
                <a:spcPct val="90000"/>
              </a:lnSpc>
              <a:spcBef>
                <a:spcPct val="0"/>
              </a:spcBef>
              <a:spcAft>
                <a:spcPct val="0"/>
              </a:spcAft>
              <a:buClr>
                <a:srgbClr val="F9A91C"/>
              </a:buClr>
              <a:buSzPct val="125000"/>
              <a:buFontTx/>
              <a:buNone/>
              <a:tabLst>
                <a:tab pos="262907" algn="l"/>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Arial" charset="0"/>
              </a:rPr>
              <a:t>DESTEK PROGRAMI SÜREÇLERİ</a:t>
            </a:r>
          </a:p>
        </p:txBody>
      </p:sp>
      <p:grpSp>
        <p:nvGrpSpPr>
          <p:cNvPr id="131" name="Rocket2"/>
          <p:cNvGrpSpPr>
            <a:grpSpLocks noChangeAspect="1"/>
          </p:cNvGrpSpPr>
          <p:nvPr>
            <p:custDataLst>
              <p:tags r:id="rId2"/>
            </p:custDataLst>
          </p:nvPr>
        </p:nvGrpSpPr>
        <p:grpSpPr bwMode="auto">
          <a:xfrm>
            <a:off x="1819622" y="2807343"/>
            <a:ext cx="549875" cy="544912"/>
            <a:chOff x="2506" y="943"/>
            <a:chExt cx="2548" cy="2525"/>
          </a:xfrm>
          <a:solidFill>
            <a:srgbClr val="1F497D"/>
          </a:solidFill>
        </p:grpSpPr>
        <p:sp>
          <p:nvSpPr>
            <p:cNvPr id="132"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133"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183"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198"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199"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a:extLst/>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en-US"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grpSp>
      <p:grpSp>
        <p:nvGrpSpPr>
          <p:cNvPr id="270" name="Clipboard3"/>
          <p:cNvGrpSpPr>
            <a:grpSpLocks noChangeAspect="1"/>
          </p:cNvGrpSpPr>
          <p:nvPr>
            <p:custDataLst>
              <p:tags r:id="rId3"/>
            </p:custDataLst>
          </p:nvPr>
        </p:nvGrpSpPr>
        <p:grpSpPr bwMode="auto">
          <a:xfrm>
            <a:off x="9601644" y="2891743"/>
            <a:ext cx="408370" cy="544912"/>
            <a:chOff x="63" y="9"/>
            <a:chExt cx="326" cy="435"/>
          </a:xfrm>
          <a:solidFill>
            <a:srgbClr val="1F497D"/>
          </a:solidFill>
        </p:grpSpPr>
        <p:sp>
          <p:nvSpPr>
            <p:cNvPr id="271" name="Clipboard3"/>
            <p:cNvSpPr>
              <a:spLocks noEditPoints="1"/>
            </p:cNvSpPr>
            <p:nvPr>
              <p:custDataLst>
                <p:tags r:id="rId15"/>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272" name="Clipboard3"/>
            <p:cNvSpPr>
              <a:spLocks/>
            </p:cNvSpPr>
            <p:nvPr>
              <p:custDataLst>
                <p:tags r:id="rId16"/>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273" name="Clipboard3"/>
            <p:cNvSpPr>
              <a:spLocks/>
            </p:cNvSpPr>
            <p:nvPr>
              <p:custDataLst>
                <p:tags r:id="rId17"/>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274" name="Clipboard3"/>
            <p:cNvSpPr>
              <a:spLocks/>
            </p:cNvSpPr>
            <p:nvPr>
              <p:custDataLst>
                <p:tags r:id="rId18"/>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grpSp>
      <p:sp>
        <p:nvSpPr>
          <p:cNvPr id="275" name="TextBox 160"/>
          <p:cNvSpPr txBox="1"/>
          <p:nvPr/>
        </p:nvSpPr>
        <p:spPr>
          <a:xfrm>
            <a:off x="9459619" y="3673485"/>
            <a:ext cx="813044" cy="401200"/>
          </a:xfrm>
          <a:prstGeom prst="rect">
            <a:avLst/>
          </a:prstGeom>
          <a:noFill/>
        </p:spPr>
        <p:txBody>
          <a:bodyPr wrap="non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en-US" sz="2007"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Kurul </a:t>
            </a:r>
            <a:endParaRPr kumimoji="0" lang="en-US" sz="2007"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276" name="TextBox 162"/>
          <p:cNvSpPr txBox="1"/>
          <p:nvPr/>
        </p:nvSpPr>
        <p:spPr>
          <a:xfrm>
            <a:off x="6968460" y="3933260"/>
            <a:ext cx="2346396" cy="339452"/>
          </a:xfrm>
          <a:prstGeom prst="rect">
            <a:avLst/>
          </a:prstGeom>
          <a:noFill/>
        </p:spPr>
        <p:txBody>
          <a:bodyPr wrap="square" rtlCol="0">
            <a:spAutoFit/>
          </a:bodyPr>
          <a:lstStyle/>
          <a:p>
            <a:pPr marL="0" marR="0" lvl="0" indent="0" algn="ctr" defTabSz="688311" rtl="0" eaLnBrk="1" fontAlgn="auto" latinLnBrk="0" hangingPunct="1">
              <a:lnSpc>
                <a:spcPct val="100000"/>
              </a:lnSpc>
              <a:spcBef>
                <a:spcPts val="0"/>
              </a:spcBef>
              <a:spcAft>
                <a:spcPts val="0"/>
              </a:spcAft>
              <a:buClrTx/>
              <a:buSzTx/>
              <a:buFontTx/>
              <a:buNone/>
              <a:tabLst/>
              <a:defRPr/>
            </a:pPr>
            <a:r>
              <a:rPr kumimoji="0" lang="tr-TR" sz="1606"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   Nihai Karar</a:t>
            </a:r>
            <a:endParaRPr kumimoji="0" lang="en-US" sz="1606"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277" name="Oval 276"/>
          <p:cNvSpPr>
            <a:spLocks noChangeAspect="1"/>
          </p:cNvSpPr>
          <p:nvPr/>
        </p:nvSpPr>
        <p:spPr>
          <a:xfrm>
            <a:off x="9693090" y="3458046"/>
            <a:ext cx="225479" cy="201577"/>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78" name="POWER_USER_ID_ICONS_Gavel"/>
          <p:cNvSpPr>
            <a:spLocks noChangeArrowheads="1"/>
          </p:cNvSpPr>
          <p:nvPr>
            <p:custDataLst>
              <p:tags r:id="rId4"/>
            </p:custDataLst>
          </p:nvPr>
        </p:nvSpPr>
        <p:spPr bwMode="auto">
          <a:xfrm>
            <a:off x="8020586" y="3370435"/>
            <a:ext cx="310827" cy="20869"/>
          </a:xfrm>
          <a:prstGeom prst="rect">
            <a:avLst/>
          </a:prstGeom>
          <a:solidFill>
            <a:schemeClr val="tx2"/>
          </a:solidFill>
          <a:ln w="9525">
            <a:noFill/>
            <a:miter lim="800000"/>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279" name="POWER_USER_ID_ICONS_Gavel"/>
          <p:cNvSpPr>
            <a:spLocks/>
          </p:cNvSpPr>
          <p:nvPr>
            <p:custDataLst>
              <p:tags r:id="rId5"/>
            </p:custDataLst>
          </p:nvPr>
        </p:nvSpPr>
        <p:spPr bwMode="auto">
          <a:xfrm>
            <a:off x="8059900" y="3164199"/>
            <a:ext cx="117942" cy="112029"/>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280" name="POWER_USER_ID_ICONS_Gavel"/>
          <p:cNvSpPr>
            <a:spLocks/>
          </p:cNvSpPr>
          <p:nvPr>
            <p:custDataLst>
              <p:tags r:id="rId6"/>
            </p:custDataLst>
          </p:nvPr>
        </p:nvSpPr>
        <p:spPr bwMode="auto">
          <a:xfrm>
            <a:off x="7777331" y="3227902"/>
            <a:ext cx="307141" cy="160356"/>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281" name="POWER_USER_ID_ICONS_Gavel"/>
          <p:cNvSpPr>
            <a:spLocks/>
          </p:cNvSpPr>
          <p:nvPr>
            <p:custDataLst>
              <p:tags r:id="rId7"/>
            </p:custDataLst>
          </p:nvPr>
        </p:nvSpPr>
        <p:spPr bwMode="auto">
          <a:xfrm>
            <a:off x="8062127" y="3219907"/>
            <a:ext cx="179370" cy="127406"/>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282" name="POWER_USER_ID_ICONS_Gavel"/>
          <p:cNvSpPr>
            <a:spLocks/>
          </p:cNvSpPr>
          <p:nvPr>
            <p:custDataLst>
              <p:tags r:id="rId8"/>
            </p:custDataLst>
          </p:nvPr>
        </p:nvSpPr>
        <p:spPr bwMode="auto">
          <a:xfrm>
            <a:off x="8071190" y="3322243"/>
            <a:ext cx="225280" cy="104094"/>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283" name="POWER_USER_ID_ICONS_Gavel"/>
          <p:cNvSpPr>
            <a:spLocks/>
          </p:cNvSpPr>
          <p:nvPr>
            <p:custDataLst>
              <p:tags r:id="rId9"/>
            </p:custDataLst>
          </p:nvPr>
        </p:nvSpPr>
        <p:spPr bwMode="auto">
          <a:xfrm>
            <a:off x="7977458" y="3067504"/>
            <a:ext cx="179370" cy="127406"/>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solidFill>
            <a:schemeClr val="tx2"/>
          </a:solidFill>
          <a:ln w="9525">
            <a:noFill/>
            <a:round/>
            <a:headEnd/>
            <a:tailEnd/>
          </a:ln>
          <a:extLst/>
        </p:spPr>
        <p:txBody>
          <a:bodyPr vert="horz" wrap="square" lIns="68831" tIns="34415" rIns="68831" bIns="34415" numCol="1" anchor="t" anchorCtr="0" compatLnSpc="1">
            <a:prstTxWarp prst="textNoShape">
              <a:avLst/>
            </a:prstTxWarp>
          </a:bodyPr>
          <a:lstStyle/>
          <a:p>
            <a:pPr marL="0" marR="0" lvl="0" indent="0" algn="l" defTabSz="688311" rtl="0" eaLnBrk="1" fontAlgn="auto" latinLnBrk="0" hangingPunct="1">
              <a:lnSpc>
                <a:spcPct val="100000"/>
              </a:lnSpc>
              <a:spcBef>
                <a:spcPts val="0"/>
              </a:spcBef>
              <a:spcAft>
                <a:spcPts val="0"/>
              </a:spcAft>
              <a:buClrTx/>
              <a:buSzTx/>
              <a:buFontTx/>
              <a:buNone/>
              <a:tabLst/>
              <a:defRPr/>
            </a:pPr>
            <a:endParaRPr kumimoji="0" lang="en-US" sz="1355"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nvGrpSpPr>
          <p:cNvPr id="284" name="Clipboard3"/>
          <p:cNvGrpSpPr>
            <a:grpSpLocks noChangeAspect="1"/>
          </p:cNvGrpSpPr>
          <p:nvPr>
            <p:custDataLst>
              <p:tags r:id="rId10"/>
            </p:custDataLst>
          </p:nvPr>
        </p:nvGrpSpPr>
        <p:grpSpPr bwMode="auto">
          <a:xfrm>
            <a:off x="7996185" y="1048691"/>
            <a:ext cx="408370" cy="544912"/>
            <a:chOff x="63" y="9"/>
            <a:chExt cx="326" cy="435"/>
          </a:xfrm>
          <a:solidFill>
            <a:srgbClr val="1F497D"/>
          </a:solidFill>
        </p:grpSpPr>
        <p:sp>
          <p:nvSpPr>
            <p:cNvPr id="285" name="Clipboard3"/>
            <p:cNvSpPr>
              <a:spLocks noEditPoints="1"/>
            </p:cNvSpPr>
            <p:nvPr>
              <p:custDataLst>
                <p:tags r:id="rId11"/>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286" name="Clipboard3"/>
            <p:cNvSpPr>
              <a:spLocks/>
            </p:cNvSpPr>
            <p:nvPr>
              <p:custDataLst>
                <p:tags r:id="rId12"/>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287" name="Clipboard3"/>
            <p:cNvSpPr>
              <a:spLocks/>
            </p:cNvSpPr>
            <p:nvPr>
              <p:custDataLst>
                <p:tags r:id="rId13"/>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288" name="Clipboard3"/>
            <p:cNvSpPr>
              <a:spLocks/>
            </p:cNvSpPr>
            <p:nvPr>
              <p:custDataLst>
                <p:tags r:id="rId14"/>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chemeClr val="accent1"/>
              </a:solid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fr-F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grpSp>
    </p:spTree>
    <p:custDataLst>
      <p:tags r:id="rId1"/>
    </p:custDataLst>
    <p:extLst>
      <p:ext uri="{BB962C8B-B14F-4D97-AF65-F5344CB8AC3E}">
        <p14:creationId xmlns:p14="http://schemas.microsoft.com/office/powerpoint/2010/main" val="2957015690"/>
      </p:ext>
    </p:extLst>
  </p:cSld>
  <p:clrMapOvr>
    <a:masterClrMapping/>
  </p:clrMapOvr>
  <mc:AlternateContent xmlns:mc="http://schemas.openxmlformats.org/markup-compatibility/2006" xmlns:p14="http://schemas.microsoft.com/office/powerpoint/2010/main">
    <mc:Choice Requires="p14">
      <p:transition spd="slow" p14:dur="2000" advTm="244746"/>
    </mc:Choice>
    <mc:Fallback xmlns="">
      <p:transition spd="slow" advTm="244746"/>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458690" y="3987539"/>
            <a:ext cx="2060715" cy="979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895" tIns="38098" rIns="88895" bIns="38098" rtlCol="0" anchor="ctr"/>
          <a:lstStyle/>
          <a:p>
            <a:pPr algn="ctr" defTabSz="914388">
              <a:lnSpc>
                <a:spcPct val="90000"/>
              </a:lnSpc>
              <a:defRPr/>
            </a:pPr>
            <a:r>
              <a:rPr lang="en-US" sz="1400" kern="0" dirty="0">
                <a:solidFill>
                  <a:srgbClr val="0070C0"/>
                </a:solidFill>
                <a:latin typeface="Calibri" panose="020F0502020204030204" pitchFamily="34" charset="0"/>
                <a:cs typeface="Arial" pitchFamily="34" charset="0"/>
              </a:rPr>
              <a:t>Program </a:t>
            </a:r>
            <a:r>
              <a:rPr lang="en-US" sz="1400" kern="0" dirty="0" err="1">
                <a:solidFill>
                  <a:srgbClr val="0070C0"/>
                </a:solidFill>
                <a:latin typeface="Calibri" panose="020F0502020204030204" pitchFamily="34" charset="0"/>
                <a:cs typeface="Arial" pitchFamily="34" charset="0"/>
              </a:rPr>
              <a:t>kapsamında</a:t>
            </a:r>
            <a:r>
              <a:rPr lang="en-US" sz="1400" kern="0" dirty="0">
                <a:solidFill>
                  <a:srgbClr val="0070C0"/>
                </a:solidFill>
                <a:latin typeface="Calibri" panose="020F0502020204030204" pitchFamily="34" charset="0"/>
                <a:cs typeface="Arial" pitchFamily="34" charset="0"/>
              </a:rPr>
              <a:t> </a:t>
            </a:r>
            <a:r>
              <a:rPr lang="en-US" sz="1400" kern="0" dirty="0" err="1">
                <a:solidFill>
                  <a:srgbClr val="0070C0"/>
                </a:solidFill>
                <a:latin typeface="Calibri" panose="020F0502020204030204" pitchFamily="34" charset="0"/>
                <a:cs typeface="Arial" pitchFamily="34" charset="0"/>
              </a:rPr>
              <a:t>sunulan</a:t>
            </a:r>
            <a:r>
              <a:rPr lang="en-US" sz="1400" kern="0" dirty="0">
                <a:solidFill>
                  <a:srgbClr val="0070C0"/>
                </a:solidFill>
                <a:latin typeface="Calibri" panose="020F0502020204030204" pitchFamily="34" charset="0"/>
                <a:cs typeface="Arial" pitchFamily="34" charset="0"/>
              </a:rPr>
              <a:t> </a:t>
            </a:r>
            <a:r>
              <a:rPr lang="en-US" sz="1400" kern="0" dirty="0" err="1">
                <a:solidFill>
                  <a:srgbClr val="0070C0"/>
                </a:solidFill>
                <a:latin typeface="Calibri" panose="020F0502020204030204" pitchFamily="34" charset="0"/>
                <a:cs typeface="Arial" pitchFamily="34" charset="0"/>
              </a:rPr>
              <a:t>yatırım</a:t>
            </a:r>
            <a:r>
              <a:rPr lang="en-US" sz="1400" kern="0" dirty="0">
                <a:solidFill>
                  <a:srgbClr val="0070C0"/>
                </a:solidFill>
                <a:latin typeface="Calibri" panose="020F0502020204030204" pitchFamily="34" charset="0"/>
                <a:cs typeface="Arial" pitchFamily="34" charset="0"/>
              </a:rPr>
              <a:t> </a:t>
            </a:r>
            <a:r>
              <a:rPr lang="en-US" sz="1400" kern="0" dirty="0" err="1">
                <a:solidFill>
                  <a:srgbClr val="0070C0"/>
                </a:solidFill>
                <a:latin typeface="Calibri" panose="020F0502020204030204" pitchFamily="34" charset="0"/>
                <a:cs typeface="Arial" pitchFamily="34" charset="0"/>
              </a:rPr>
              <a:t>projelerini</a:t>
            </a:r>
            <a:r>
              <a:rPr lang="en-US" sz="1400" kern="0" dirty="0">
                <a:solidFill>
                  <a:srgbClr val="0070C0"/>
                </a:solidFill>
                <a:latin typeface="Calibri" panose="020F0502020204030204" pitchFamily="34" charset="0"/>
                <a:cs typeface="Arial" pitchFamily="34" charset="0"/>
              </a:rPr>
              <a:t> </a:t>
            </a:r>
            <a:r>
              <a:rPr lang="en-US" sz="1400" kern="0" dirty="0" err="1">
                <a:solidFill>
                  <a:srgbClr val="0070C0"/>
                </a:solidFill>
                <a:latin typeface="Calibri" panose="020F0502020204030204" pitchFamily="34" charset="0"/>
                <a:cs typeface="Arial" pitchFamily="34" charset="0"/>
              </a:rPr>
              <a:t>değerlendirmek</a:t>
            </a:r>
            <a:r>
              <a:rPr lang="en-US" sz="1400" kern="0" dirty="0">
                <a:solidFill>
                  <a:srgbClr val="0070C0"/>
                </a:solidFill>
                <a:latin typeface="Calibri" panose="020F0502020204030204" pitchFamily="34" charset="0"/>
                <a:cs typeface="Arial" pitchFamily="34" charset="0"/>
              </a:rPr>
              <a:t> ve </a:t>
            </a:r>
            <a:r>
              <a:rPr lang="en-US" sz="1400" kern="0" dirty="0" err="1">
                <a:solidFill>
                  <a:srgbClr val="0070C0"/>
                </a:solidFill>
                <a:latin typeface="Calibri" panose="020F0502020204030204" pitchFamily="34" charset="0"/>
                <a:cs typeface="Arial" pitchFamily="34" charset="0"/>
              </a:rPr>
              <a:t>karar</a:t>
            </a:r>
            <a:r>
              <a:rPr lang="en-US" sz="1400" kern="0" dirty="0">
                <a:solidFill>
                  <a:srgbClr val="0070C0"/>
                </a:solidFill>
                <a:latin typeface="Calibri" panose="020F0502020204030204" pitchFamily="34" charset="0"/>
                <a:cs typeface="Arial" pitchFamily="34" charset="0"/>
              </a:rPr>
              <a:t> </a:t>
            </a:r>
            <a:r>
              <a:rPr lang="en-US" sz="1400" kern="0" dirty="0" err="1">
                <a:solidFill>
                  <a:srgbClr val="0070C0"/>
                </a:solidFill>
                <a:latin typeface="Calibri" panose="020F0502020204030204" pitchFamily="34" charset="0"/>
                <a:cs typeface="Arial" pitchFamily="34" charset="0"/>
              </a:rPr>
              <a:t>almak</a:t>
            </a:r>
            <a:r>
              <a:rPr lang="en-US" sz="1400" kern="0" dirty="0">
                <a:solidFill>
                  <a:srgbClr val="0070C0"/>
                </a:solidFill>
                <a:latin typeface="Calibri" panose="020F0502020204030204" pitchFamily="34" charset="0"/>
                <a:cs typeface="Arial" pitchFamily="34" charset="0"/>
              </a:rPr>
              <a:t> </a:t>
            </a:r>
            <a:r>
              <a:rPr lang="en-US" sz="1400" kern="0" dirty="0" err="1">
                <a:solidFill>
                  <a:srgbClr val="0070C0"/>
                </a:solidFill>
                <a:latin typeface="Calibri" panose="020F0502020204030204" pitchFamily="34" charset="0"/>
                <a:cs typeface="Arial" pitchFamily="34" charset="0"/>
              </a:rPr>
              <a:t>üzere</a:t>
            </a:r>
            <a:r>
              <a:rPr lang="en-US" sz="1400" kern="0" dirty="0">
                <a:solidFill>
                  <a:srgbClr val="0070C0"/>
                </a:solidFill>
                <a:latin typeface="Calibri" panose="020F0502020204030204" pitchFamily="34" charset="0"/>
                <a:cs typeface="Arial" pitchFamily="34" charset="0"/>
              </a:rPr>
              <a:t> </a:t>
            </a:r>
            <a:r>
              <a:rPr lang="en-US" sz="1400" kern="0" dirty="0" err="1">
                <a:solidFill>
                  <a:srgbClr val="0070C0"/>
                </a:solidFill>
                <a:latin typeface="Calibri" panose="020F0502020204030204" pitchFamily="34" charset="0"/>
                <a:cs typeface="Arial" pitchFamily="34" charset="0"/>
              </a:rPr>
              <a:t>kurul</a:t>
            </a:r>
            <a:r>
              <a:rPr lang="en-US" sz="1400" kern="0" dirty="0">
                <a:solidFill>
                  <a:srgbClr val="0070C0"/>
                </a:solidFill>
                <a:latin typeface="Calibri" panose="020F0502020204030204" pitchFamily="34" charset="0"/>
                <a:cs typeface="Arial" pitchFamily="34" charset="0"/>
              </a:rPr>
              <a:t> </a:t>
            </a:r>
            <a:r>
              <a:rPr lang="en-US" sz="1400" kern="0" dirty="0" err="1">
                <a:solidFill>
                  <a:srgbClr val="0070C0"/>
                </a:solidFill>
                <a:latin typeface="Calibri" panose="020F0502020204030204" pitchFamily="34" charset="0"/>
                <a:cs typeface="Arial" pitchFamily="34" charset="0"/>
              </a:rPr>
              <a:t>oluşturulur</a:t>
            </a:r>
            <a:r>
              <a:rPr lang="en-US" sz="1400" kern="0" dirty="0">
                <a:solidFill>
                  <a:srgbClr val="0070C0"/>
                </a:solidFill>
                <a:latin typeface="Calibri" panose="020F0502020204030204" pitchFamily="34" charset="0"/>
                <a:cs typeface="Arial" pitchFamily="34" charset="0"/>
              </a:rPr>
              <a:t>.</a:t>
            </a:r>
          </a:p>
        </p:txBody>
      </p:sp>
      <p:sp>
        <p:nvSpPr>
          <p:cNvPr id="46" name="Oval 45"/>
          <p:cNvSpPr>
            <a:spLocks noChangeAspect="1"/>
          </p:cNvSpPr>
          <p:nvPr/>
        </p:nvSpPr>
        <p:spPr>
          <a:xfrm>
            <a:off x="784492" y="2087576"/>
            <a:ext cx="1472565" cy="1472565"/>
          </a:xfrm>
          <a:prstGeom prst="ellipse">
            <a:avLst/>
          </a:prstGeom>
          <a:noFill/>
          <a:ln w="4445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defTabSz="914388">
              <a:defRPr/>
            </a:pPr>
            <a:endParaRPr lang="en-US" kern="0" dirty="0">
              <a:solidFill>
                <a:prstClr val="black"/>
              </a:solidFill>
              <a:latin typeface="Calibri"/>
            </a:endParaRPr>
          </a:p>
        </p:txBody>
      </p:sp>
      <p:sp>
        <p:nvSpPr>
          <p:cNvPr id="47" name="Oval 46"/>
          <p:cNvSpPr>
            <a:spLocks noChangeAspect="1"/>
          </p:cNvSpPr>
          <p:nvPr/>
        </p:nvSpPr>
        <p:spPr>
          <a:xfrm>
            <a:off x="2654845" y="2087576"/>
            <a:ext cx="1472565" cy="1472565"/>
          </a:xfrm>
          <a:prstGeom prst="ellipse">
            <a:avLst/>
          </a:prstGeom>
          <a:noFill/>
          <a:ln w="44450">
            <a:solidFill>
              <a:schemeClr val="accent6">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defTabSz="914388">
              <a:defRPr/>
            </a:pPr>
            <a:endParaRPr lang="en-US" kern="0" dirty="0">
              <a:solidFill>
                <a:prstClr val="black"/>
              </a:solidFill>
              <a:latin typeface="Calibri"/>
            </a:endParaRPr>
          </a:p>
        </p:txBody>
      </p:sp>
      <p:sp>
        <p:nvSpPr>
          <p:cNvPr id="49" name="Oval 48"/>
          <p:cNvSpPr>
            <a:spLocks noChangeAspect="1"/>
          </p:cNvSpPr>
          <p:nvPr/>
        </p:nvSpPr>
        <p:spPr>
          <a:xfrm>
            <a:off x="4383824" y="2064318"/>
            <a:ext cx="1472565" cy="1472565"/>
          </a:xfrm>
          <a:prstGeom prst="ellipse">
            <a:avLst/>
          </a:prstGeom>
          <a:noFill/>
          <a:ln w="44450">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defTabSz="914388">
              <a:defRPr/>
            </a:pPr>
            <a:endParaRPr lang="en-US" kern="0" dirty="0">
              <a:solidFill>
                <a:prstClr val="black"/>
              </a:solidFill>
              <a:latin typeface="Calibri"/>
            </a:endParaRPr>
          </a:p>
        </p:txBody>
      </p:sp>
      <p:sp>
        <p:nvSpPr>
          <p:cNvPr id="50" name="Oval 49"/>
          <p:cNvSpPr>
            <a:spLocks noChangeAspect="1"/>
          </p:cNvSpPr>
          <p:nvPr/>
        </p:nvSpPr>
        <p:spPr>
          <a:xfrm>
            <a:off x="6417628" y="2064318"/>
            <a:ext cx="1472565" cy="1472565"/>
          </a:xfrm>
          <a:prstGeom prst="ellipse">
            <a:avLst/>
          </a:prstGeom>
          <a:noFill/>
          <a:ln w="4445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defTabSz="914388">
              <a:defRPr/>
            </a:pPr>
            <a:endParaRPr lang="en-US" kern="0" dirty="0">
              <a:solidFill>
                <a:prstClr val="black"/>
              </a:solidFill>
              <a:latin typeface="Calibri"/>
            </a:endParaRPr>
          </a:p>
        </p:txBody>
      </p:sp>
      <p:sp>
        <p:nvSpPr>
          <p:cNvPr id="51" name="Rectangle 50"/>
          <p:cNvSpPr/>
          <p:nvPr/>
        </p:nvSpPr>
        <p:spPr bwMode="auto">
          <a:xfrm>
            <a:off x="2383912" y="4316900"/>
            <a:ext cx="2060715" cy="10611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895" tIns="38098" rIns="88895" bIns="38098" rtlCol="0" anchor="ctr"/>
          <a:lstStyle/>
          <a:p>
            <a:pPr algn="ctr" defTabSz="914388">
              <a:lnSpc>
                <a:spcPct val="90000"/>
              </a:lnSpc>
              <a:defRPr/>
            </a:pPr>
            <a:r>
              <a:rPr lang="en-US" sz="1400" b="1" kern="0" dirty="0">
                <a:solidFill>
                  <a:schemeClr val="accent6">
                    <a:lumMod val="75000"/>
                  </a:schemeClr>
                </a:solidFill>
                <a:latin typeface="Calibri" panose="020F0502020204030204" pitchFamily="34" charset="0"/>
                <a:cs typeface="Arial" pitchFamily="34" charset="0"/>
              </a:rPr>
              <a:t>Kurul, </a:t>
            </a:r>
            <a:r>
              <a:rPr lang="en-US" sz="1400" b="1" kern="0" dirty="0" err="1">
                <a:solidFill>
                  <a:schemeClr val="accent6">
                    <a:lumMod val="75000"/>
                  </a:schemeClr>
                </a:solidFill>
                <a:latin typeface="Calibri" panose="020F0502020204030204" pitchFamily="34" charset="0"/>
                <a:cs typeface="Arial" pitchFamily="34" charset="0"/>
              </a:rPr>
              <a:t>en</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az</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smtClean="0">
                <a:solidFill>
                  <a:schemeClr val="accent6">
                    <a:lumMod val="75000"/>
                  </a:schemeClr>
                </a:solidFill>
                <a:latin typeface="Calibri" panose="020F0502020204030204" pitchFamily="34" charset="0"/>
                <a:cs typeface="Arial" pitchFamily="34" charset="0"/>
              </a:rPr>
              <a:t>1 </a:t>
            </a:r>
            <a:r>
              <a:rPr lang="en-US" sz="1400" b="1" kern="0" dirty="0">
                <a:solidFill>
                  <a:schemeClr val="accent6">
                    <a:lumMod val="75000"/>
                  </a:schemeClr>
                </a:solidFill>
                <a:latin typeface="Calibri" panose="020F0502020204030204" pitchFamily="34" charset="0"/>
                <a:cs typeface="Arial" pitchFamily="34" charset="0"/>
              </a:rPr>
              <a:t>KOSGEB </a:t>
            </a:r>
            <a:r>
              <a:rPr lang="en-US" sz="1400" b="1" kern="0" dirty="0" err="1">
                <a:solidFill>
                  <a:schemeClr val="accent6">
                    <a:lumMod val="75000"/>
                  </a:schemeClr>
                </a:solidFill>
                <a:latin typeface="Calibri" panose="020F0502020204030204" pitchFamily="34" charset="0"/>
                <a:cs typeface="Arial" pitchFamily="34" charset="0"/>
              </a:rPr>
              <a:t>personeli</a:t>
            </a:r>
            <a:r>
              <a:rPr lang="en-US" sz="1400" b="1" kern="0" dirty="0">
                <a:solidFill>
                  <a:schemeClr val="accent6">
                    <a:lumMod val="75000"/>
                  </a:schemeClr>
                </a:solidFill>
                <a:latin typeface="Calibri" panose="020F0502020204030204" pitchFamily="34" charset="0"/>
                <a:cs typeface="Arial" pitchFamily="34" charset="0"/>
              </a:rPr>
              <a:t> ve </a:t>
            </a:r>
            <a:r>
              <a:rPr lang="en-US" sz="1400" b="1" kern="0" dirty="0" err="1">
                <a:solidFill>
                  <a:schemeClr val="accent6">
                    <a:lumMod val="75000"/>
                  </a:schemeClr>
                </a:solidFill>
                <a:latin typeface="Calibri" panose="020F0502020204030204" pitchFamily="34" charset="0"/>
                <a:cs typeface="Arial" pitchFamily="34" charset="0"/>
              </a:rPr>
              <a:t>en</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az</a:t>
            </a:r>
            <a:r>
              <a:rPr lang="en-US" sz="1400" b="1" kern="0" dirty="0">
                <a:solidFill>
                  <a:schemeClr val="accent6">
                    <a:lumMod val="75000"/>
                  </a:schemeClr>
                </a:solidFill>
                <a:latin typeface="Calibri" panose="020F0502020204030204" pitchFamily="34" charset="0"/>
                <a:cs typeface="Arial" pitchFamily="34" charset="0"/>
              </a:rPr>
              <a:t> 3 </a:t>
            </a:r>
            <a:r>
              <a:rPr lang="en-US" sz="1400" b="1" kern="0" dirty="0" err="1" smtClean="0">
                <a:solidFill>
                  <a:schemeClr val="accent6">
                    <a:lumMod val="75000"/>
                  </a:schemeClr>
                </a:solidFill>
                <a:latin typeface="Calibri" panose="020F0502020204030204" pitchFamily="34" charset="0"/>
                <a:cs typeface="Arial" pitchFamily="34" charset="0"/>
              </a:rPr>
              <a:t>bağımsız</a:t>
            </a:r>
            <a:r>
              <a:rPr lang="en-US" sz="1400" b="1" kern="0" dirty="0" smtClean="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değerlendirici</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olmak</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üzere</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toplam</a:t>
            </a:r>
            <a:r>
              <a:rPr lang="en-US" sz="1400" b="1" kern="0" dirty="0">
                <a:solidFill>
                  <a:schemeClr val="accent6">
                    <a:lumMod val="75000"/>
                  </a:schemeClr>
                </a:solidFill>
                <a:latin typeface="Calibri" panose="020F0502020204030204" pitchFamily="34" charset="0"/>
                <a:cs typeface="Arial" pitchFamily="34" charset="0"/>
              </a:rPr>
              <a:t> 5 </a:t>
            </a:r>
            <a:r>
              <a:rPr lang="en-US" sz="1400" b="1" kern="0" dirty="0" err="1" smtClean="0">
                <a:solidFill>
                  <a:schemeClr val="accent6">
                    <a:lumMod val="75000"/>
                  </a:schemeClr>
                </a:solidFill>
                <a:latin typeface="Calibri" panose="020F0502020204030204" pitchFamily="34" charset="0"/>
                <a:cs typeface="Arial" pitchFamily="34" charset="0"/>
              </a:rPr>
              <a:t>üyeden</a:t>
            </a:r>
            <a:r>
              <a:rPr lang="en-US" sz="1400" b="1" kern="0" dirty="0" smtClean="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oluşur</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Bağımsız</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değerlendiricilerden</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en</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az</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smtClean="0">
                <a:solidFill>
                  <a:schemeClr val="accent6">
                    <a:lumMod val="75000"/>
                  </a:schemeClr>
                </a:solidFill>
                <a:latin typeface="Calibri" panose="020F0502020204030204" pitchFamily="34" charset="0"/>
                <a:cs typeface="Arial" pitchFamily="34" charset="0"/>
              </a:rPr>
              <a:t>1’i </a:t>
            </a:r>
            <a:r>
              <a:rPr lang="en-US" sz="1400" b="1" kern="0" dirty="0" err="1">
                <a:solidFill>
                  <a:schemeClr val="accent6">
                    <a:lumMod val="75000"/>
                  </a:schemeClr>
                </a:solidFill>
                <a:latin typeface="Calibri" panose="020F0502020204030204" pitchFamily="34" charset="0"/>
                <a:cs typeface="Arial" pitchFamily="34" charset="0"/>
              </a:rPr>
              <a:t>öğretim</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elemanı</a:t>
            </a:r>
            <a:r>
              <a:rPr lang="en-US" sz="1400" b="1" kern="0" dirty="0">
                <a:solidFill>
                  <a:schemeClr val="accent6">
                    <a:lumMod val="75000"/>
                  </a:schemeClr>
                </a:solidFill>
                <a:latin typeface="Calibri" panose="020F0502020204030204" pitchFamily="34" charset="0"/>
                <a:cs typeface="Arial" pitchFamily="34" charset="0"/>
              </a:rPr>
              <a:t> ve </a:t>
            </a:r>
            <a:r>
              <a:rPr lang="en-US" sz="1400" b="1" kern="0" dirty="0" err="1">
                <a:solidFill>
                  <a:schemeClr val="accent6">
                    <a:lumMod val="75000"/>
                  </a:schemeClr>
                </a:solidFill>
                <a:latin typeface="Calibri" panose="020F0502020204030204" pitchFamily="34" charset="0"/>
                <a:cs typeface="Arial" pitchFamily="34" charset="0"/>
              </a:rPr>
              <a:t>en</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az</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smtClean="0">
                <a:solidFill>
                  <a:schemeClr val="accent6">
                    <a:lumMod val="75000"/>
                  </a:schemeClr>
                </a:solidFill>
                <a:latin typeface="Calibri" panose="020F0502020204030204" pitchFamily="34" charset="0"/>
                <a:cs typeface="Arial" pitchFamily="34" charset="0"/>
              </a:rPr>
              <a:t>1’i </a:t>
            </a:r>
            <a:r>
              <a:rPr lang="en-US" sz="1400" b="1" kern="0" dirty="0" err="1">
                <a:solidFill>
                  <a:schemeClr val="accent6">
                    <a:lumMod val="75000"/>
                  </a:schemeClr>
                </a:solidFill>
                <a:latin typeface="Calibri" panose="020F0502020204030204" pitchFamily="34" charset="0"/>
                <a:cs typeface="Arial" pitchFamily="34" charset="0"/>
              </a:rPr>
              <a:t>Sanayi</a:t>
            </a:r>
            <a:r>
              <a:rPr lang="en-US" sz="1400" b="1" kern="0" dirty="0">
                <a:solidFill>
                  <a:schemeClr val="accent6">
                    <a:lumMod val="75000"/>
                  </a:schemeClr>
                </a:solidFill>
                <a:latin typeface="Calibri" panose="020F0502020204030204" pitchFamily="34" charset="0"/>
                <a:cs typeface="Arial" pitchFamily="34" charset="0"/>
              </a:rPr>
              <a:t> ve </a:t>
            </a:r>
            <a:r>
              <a:rPr lang="en-US" sz="1400" b="1" kern="0" dirty="0" err="1">
                <a:solidFill>
                  <a:schemeClr val="accent6">
                    <a:lumMod val="75000"/>
                  </a:schemeClr>
                </a:solidFill>
                <a:latin typeface="Calibri" panose="020F0502020204030204" pitchFamily="34" charset="0"/>
                <a:cs typeface="Arial" pitchFamily="34" charset="0"/>
              </a:rPr>
              <a:t>Teknoloji</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Bakanlığı</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temsilcisi</a:t>
            </a:r>
            <a:r>
              <a:rPr lang="en-US" sz="1400" b="1" kern="0" dirty="0">
                <a:solidFill>
                  <a:schemeClr val="accent6">
                    <a:lumMod val="75000"/>
                  </a:schemeClr>
                </a:solidFill>
                <a:latin typeface="Calibri" panose="020F0502020204030204" pitchFamily="34" charset="0"/>
                <a:cs typeface="Arial" pitchFamily="34" charset="0"/>
              </a:rPr>
              <a:t> </a:t>
            </a:r>
            <a:r>
              <a:rPr lang="en-US" sz="1400" b="1" kern="0" dirty="0" err="1">
                <a:solidFill>
                  <a:schemeClr val="accent6">
                    <a:lumMod val="75000"/>
                  </a:schemeClr>
                </a:solidFill>
                <a:latin typeface="Calibri" panose="020F0502020204030204" pitchFamily="34" charset="0"/>
                <a:cs typeface="Arial" pitchFamily="34" charset="0"/>
              </a:rPr>
              <a:t>olmalıdır</a:t>
            </a:r>
            <a:r>
              <a:rPr lang="en-US" sz="1400" b="1" kern="0" dirty="0">
                <a:solidFill>
                  <a:schemeClr val="accent6">
                    <a:lumMod val="75000"/>
                  </a:schemeClr>
                </a:solidFill>
                <a:latin typeface="Calibri" panose="020F0502020204030204" pitchFamily="34" charset="0"/>
                <a:cs typeface="Arial" pitchFamily="34" charset="0"/>
              </a:rPr>
              <a:t>. </a:t>
            </a:r>
            <a:endParaRPr lang="en-US" sz="1400" kern="0" dirty="0">
              <a:solidFill>
                <a:schemeClr val="accent6">
                  <a:lumMod val="75000"/>
                </a:schemeClr>
              </a:solidFill>
              <a:latin typeface="Calibri" panose="020F0502020204030204" pitchFamily="34" charset="0"/>
              <a:cs typeface="Arial" pitchFamily="34" charset="0"/>
            </a:endParaRPr>
          </a:p>
        </p:txBody>
      </p:sp>
      <p:sp>
        <p:nvSpPr>
          <p:cNvPr id="53" name="Rectangle 52"/>
          <p:cNvSpPr/>
          <p:nvPr/>
        </p:nvSpPr>
        <p:spPr bwMode="auto">
          <a:xfrm>
            <a:off x="4309134" y="4786814"/>
            <a:ext cx="2060715" cy="902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895" tIns="38098" rIns="88895" bIns="38098" rtlCol="0" anchor="ctr"/>
          <a:lstStyle/>
          <a:p>
            <a:pPr algn="ctr" defTabSz="914388">
              <a:lnSpc>
                <a:spcPct val="90000"/>
              </a:lnSpc>
              <a:defRPr/>
            </a:pPr>
            <a:r>
              <a:rPr lang="en-US" sz="1400" b="1" kern="0" dirty="0">
                <a:solidFill>
                  <a:srgbClr val="7030A0"/>
                </a:solidFill>
                <a:latin typeface="Calibri" panose="020F0502020204030204" pitchFamily="34" charset="0"/>
                <a:cs typeface="Arial" pitchFamily="34" charset="0"/>
              </a:rPr>
              <a:t>Kurul, </a:t>
            </a:r>
            <a:r>
              <a:rPr lang="en-US" sz="1400" b="1" kern="0" dirty="0" err="1">
                <a:solidFill>
                  <a:srgbClr val="7030A0"/>
                </a:solidFill>
                <a:latin typeface="Calibri" panose="020F0502020204030204" pitchFamily="34" charset="0"/>
                <a:cs typeface="Arial" pitchFamily="34" charset="0"/>
              </a:rPr>
              <a:t>yatırım</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projesinin</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kabulüne</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ya</a:t>
            </a:r>
            <a:r>
              <a:rPr lang="en-US" sz="1400" b="1" kern="0" dirty="0">
                <a:solidFill>
                  <a:srgbClr val="7030A0"/>
                </a:solidFill>
                <a:latin typeface="Calibri" panose="020F0502020204030204" pitchFamily="34" charset="0"/>
                <a:cs typeface="Arial" pitchFamily="34" charset="0"/>
              </a:rPr>
              <a:t> da </a:t>
            </a:r>
            <a:r>
              <a:rPr lang="en-US" sz="1400" b="1" kern="0" dirty="0" err="1">
                <a:solidFill>
                  <a:srgbClr val="7030A0"/>
                </a:solidFill>
                <a:latin typeface="Calibri" panose="020F0502020204030204" pitchFamily="34" charset="0"/>
                <a:cs typeface="Arial" pitchFamily="34" charset="0"/>
              </a:rPr>
              <a:t>reddine</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ilişkin</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değerlendirmesini</a:t>
            </a:r>
            <a:r>
              <a:rPr lang="en-US" sz="1400" b="1" kern="0" dirty="0">
                <a:solidFill>
                  <a:srgbClr val="7030A0"/>
                </a:solidFill>
                <a:latin typeface="Calibri" panose="020F0502020204030204" pitchFamily="34" charset="0"/>
                <a:cs typeface="Arial" pitchFamily="34" charset="0"/>
              </a:rPr>
              <a:t> </a:t>
            </a:r>
            <a:r>
              <a:rPr lang="tr-TR" sz="1400" b="1" kern="0" dirty="0">
                <a:solidFill>
                  <a:srgbClr val="7030A0"/>
                </a:solidFill>
                <a:latin typeface="Calibri" panose="020F0502020204030204" pitchFamily="34" charset="0"/>
                <a:cs typeface="Arial" pitchFamily="34" charset="0"/>
              </a:rPr>
              <a:t>puanlama </a:t>
            </a:r>
            <a:r>
              <a:rPr lang="en-US" sz="1400" b="1" kern="0" dirty="0" err="1">
                <a:solidFill>
                  <a:srgbClr val="7030A0"/>
                </a:solidFill>
                <a:latin typeface="Calibri" panose="020F0502020204030204" pitchFamily="34" charset="0"/>
                <a:cs typeface="Arial" pitchFamily="34" charset="0"/>
              </a:rPr>
              <a:t>ile</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yapar</a:t>
            </a:r>
            <a:r>
              <a:rPr lang="en-US" sz="1400" b="1" kern="0" dirty="0">
                <a:solidFill>
                  <a:srgbClr val="7030A0"/>
                </a:solidFill>
                <a:latin typeface="Calibri" panose="020F0502020204030204" pitchFamily="34" charset="0"/>
                <a:cs typeface="Arial" pitchFamily="34" charset="0"/>
              </a:rPr>
              <a:t>. Yatırım </a:t>
            </a:r>
            <a:r>
              <a:rPr lang="en-US" sz="1400" b="1" kern="0" dirty="0" err="1">
                <a:solidFill>
                  <a:srgbClr val="7030A0"/>
                </a:solidFill>
                <a:latin typeface="Calibri" panose="020F0502020204030204" pitchFamily="34" charset="0"/>
                <a:cs typeface="Arial" pitchFamily="34" charset="0"/>
              </a:rPr>
              <a:t>projesinin</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kabul</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edilebilmesi</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için</a:t>
            </a:r>
            <a:r>
              <a:rPr lang="en-US" sz="1400" b="1" kern="0" dirty="0">
                <a:solidFill>
                  <a:srgbClr val="7030A0"/>
                </a:solidFill>
                <a:latin typeface="Calibri" panose="020F0502020204030204" pitchFamily="34" charset="0"/>
                <a:cs typeface="Arial" pitchFamily="34" charset="0"/>
              </a:rPr>
              <a:t>, her </a:t>
            </a:r>
            <a:r>
              <a:rPr lang="en-US" sz="1400" b="1" kern="0" dirty="0" err="1">
                <a:solidFill>
                  <a:srgbClr val="7030A0"/>
                </a:solidFill>
                <a:latin typeface="Calibri" panose="020F0502020204030204" pitchFamily="34" charset="0"/>
                <a:cs typeface="Arial" pitchFamily="34" charset="0"/>
              </a:rPr>
              <a:t>bir</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kurul</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üyesinin</a:t>
            </a:r>
            <a:r>
              <a:rPr lang="en-US" sz="1400" b="1" kern="0" dirty="0">
                <a:solidFill>
                  <a:srgbClr val="7030A0"/>
                </a:solidFill>
                <a:latin typeface="Calibri" panose="020F0502020204030204" pitchFamily="34" charset="0"/>
                <a:cs typeface="Arial" pitchFamily="34" charset="0"/>
              </a:rPr>
              <a:t> 100</a:t>
            </a:r>
            <a:r>
              <a:rPr lang="tr-TR"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üzerinden</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verdiği</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puanların</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aritmetik</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ortalamasının</a:t>
            </a:r>
            <a:r>
              <a:rPr lang="en-US" sz="1400" b="1" kern="0" dirty="0">
                <a:solidFill>
                  <a:srgbClr val="7030A0"/>
                </a:solidFill>
                <a:latin typeface="Calibri" panose="020F0502020204030204" pitchFamily="34" charset="0"/>
                <a:cs typeface="Arial" pitchFamily="34" charset="0"/>
              </a:rPr>
              <a:t> 60 ve </a:t>
            </a:r>
            <a:r>
              <a:rPr lang="en-US" sz="1400" b="1" kern="0" dirty="0" err="1">
                <a:solidFill>
                  <a:srgbClr val="7030A0"/>
                </a:solidFill>
                <a:latin typeface="Calibri" panose="020F0502020204030204" pitchFamily="34" charset="0"/>
                <a:cs typeface="Arial" pitchFamily="34" charset="0"/>
              </a:rPr>
              <a:t>üzeri</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olması</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gerekmektedir</a:t>
            </a:r>
            <a:r>
              <a:rPr lang="en-US" sz="1400" b="1" kern="0" dirty="0">
                <a:solidFill>
                  <a:srgbClr val="7030A0"/>
                </a:solidFill>
                <a:latin typeface="Calibri" panose="020F0502020204030204" pitchFamily="34" charset="0"/>
                <a:cs typeface="Arial" pitchFamily="34" charset="0"/>
              </a:rPr>
              <a:t>. 60 ve </a:t>
            </a:r>
            <a:r>
              <a:rPr lang="en-US" sz="1400" b="1" kern="0" dirty="0" err="1">
                <a:solidFill>
                  <a:srgbClr val="7030A0"/>
                </a:solidFill>
                <a:latin typeface="Calibri" panose="020F0502020204030204" pitchFamily="34" charset="0"/>
                <a:cs typeface="Arial" pitchFamily="34" charset="0"/>
              </a:rPr>
              <a:t>üzeri</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puan</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alamayan</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yatırım</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projeleri</a:t>
            </a:r>
            <a:r>
              <a:rPr lang="en-US" sz="1400" b="1" kern="0" dirty="0">
                <a:solidFill>
                  <a:srgbClr val="7030A0"/>
                </a:solidFill>
                <a:latin typeface="Calibri" panose="020F0502020204030204" pitchFamily="34" charset="0"/>
                <a:cs typeface="Arial" pitchFamily="34" charset="0"/>
              </a:rPr>
              <a:t> </a:t>
            </a:r>
            <a:r>
              <a:rPr lang="en-US" sz="1400" b="1" kern="0" dirty="0" err="1">
                <a:solidFill>
                  <a:srgbClr val="7030A0"/>
                </a:solidFill>
                <a:latin typeface="Calibri" panose="020F0502020204030204" pitchFamily="34" charset="0"/>
                <a:cs typeface="Arial" pitchFamily="34" charset="0"/>
              </a:rPr>
              <a:t>reddedilir</a:t>
            </a:r>
            <a:r>
              <a:rPr lang="en-US" sz="1400" b="1" kern="0" dirty="0">
                <a:solidFill>
                  <a:srgbClr val="7030A0"/>
                </a:solidFill>
                <a:latin typeface="Calibri" panose="020F0502020204030204" pitchFamily="34" charset="0"/>
                <a:cs typeface="Arial" pitchFamily="34" charset="0"/>
              </a:rPr>
              <a:t>.</a:t>
            </a:r>
            <a:endParaRPr lang="en-US" sz="1400" kern="0" dirty="0">
              <a:solidFill>
                <a:srgbClr val="7030A0"/>
              </a:solidFill>
              <a:latin typeface="Calibri" panose="020F0502020204030204" pitchFamily="34" charset="0"/>
              <a:cs typeface="Arial" pitchFamily="34" charset="0"/>
            </a:endParaRPr>
          </a:p>
        </p:txBody>
      </p:sp>
      <p:sp>
        <p:nvSpPr>
          <p:cNvPr id="54" name="Rectangle 53"/>
          <p:cNvSpPr/>
          <p:nvPr/>
        </p:nvSpPr>
        <p:spPr bwMode="auto">
          <a:xfrm>
            <a:off x="6234356" y="4316900"/>
            <a:ext cx="2315484" cy="902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895" tIns="38098" rIns="88895" bIns="38098" rtlCol="0" anchor="ctr"/>
          <a:lstStyle/>
          <a:p>
            <a:pPr algn="ctr" defTabSz="914388">
              <a:lnSpc>
                <a:spcPct val="90000"/>
              </a:lnSpc>
              <a:defRPr/>
            </a:pPr>
            <a:r>
              <a:rPr lang="en-US" sz="1400" b="1" kern="0" dirty="0">
                <a:solidFill>
                  <a:srgbClr val="00BAD5"/>
                </a:solidFill>
                <a:latin typeface="Calibri" panose="020F0502020204030204" pitchFamily="34" charset="0"/>
                <a:cs typeface="Arial" pitchFamily="34" charset="0"/>
              </a:rPr>
              <a:t>Kurul </a:t>
            </a:r>
            <a:r>
              <a:rPr lang="en-US" sz="1400" b="1" kern="0" dirty="0" err="1">
                <a:solidFill>
                  <a:srgbClr val="00BAD5"/>
                </a:solidFill>
                <a:latin typeface="Calibri" panose="020F0502020204030204" pitchFamily="34" charset="0"/>
                <a:cs typeface="Arial" pitchFamily="34" charset="0"/>
              </a:rPr>
              <a:t>yatırım</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projelerini</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projenin</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ekonomik</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etkisi</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teknik</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yeterlilik</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faaliyet</a:t>
            </a:r>
            <a:r>
              <a:rPr lang="en-US" sz="1400" b="1" kern="0" dirty="0">
                <a:solidFill>
                  <a:srgbClr val="00BAD5"/>
                </a:solidFill>
                <a:latin typeface="Calibri" panose="020F0502020204030204" pitchFamily="34" charset="0"/>
                <a:cs typeface="Arial" pitchFamily="34" charset="0"/>
              </a:rPr>
              <a:t>-zaman </a:t>
            </a:r>
            <a:r>
              <a:rPr lang="en-US" sz="1400" b="1" kern="0" dirty="0" err="1">
                <a:solidFill>
                  <a:srgbClr val="00BAD5"/>
                </a:solidFill>
                <a:latin typeface="Calibri" panose="020F0502020204030204" pitchFamily="34" charset="0"/>
                <a:cs typeface="Arial" pitchFamily="34" charset="0"/>
              </a:rPr>
              <a:t>planlaması</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bütçe</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maliyet</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etkinliği</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projenin</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sürdürülebilirliği</a:t>
            </a:r>
            <a:r>
              <a:rPr lang="en-US" sz="1400" b="1" kern="0" dirty="0">
                <a:solidFill>
                  <a:srgbClr val="00BAD5"/>
                </a:solidFill>
                <a:latin typeface="Calibri" panose="020F0502020204030204" pitchFamily="34" charset="0"/>
                <a:cs typeface="Arial" pitchFamily="34" charset="0"/>
              </a:rPr>
              <a:t> ve </a:t>
            </a:r>
            <a:r>
              <a:rPr lang="en-US" sz="1400" b="1" kern="0" dirty="0" err="1">
                <a:solidFill>
                  <a:srgbClr val="00BAD5"/>
                </a:solidFill>
                <a:latin typeface="Calibri" panose="020F0502020204030204" pitchFamily="34" charset="0"/>
                <a:cs typeface="Arial" pitchFamily="34" charset="0"/>
              </a:rPr>
              <a:t>yerindeliği</a:t>
            </a:r>
            <a:r>
              <a:rPr lang="en-US" sz="1400" b="1" kern="0" dirty="0">
                <a:solidFill>
                  <a:srgbClr val="00BAD5"/>
                </a:solidFill>
                <a:latin typeface="Calibri" panose="020F0502020204030204" pitchFamily="34" charset="0"/>
                <a:cs typeface="Arial" pitchFamily="34" charset="0"/>
              </a:rPr>
              <a:t> vb. </a:t>
            </a:r>
            <a:r>
              <a:rPr lang="en-US" sz="1400" b="1" kern="0" dirty="0" err="1">
                <a:solidFill>
                  <a:srgbClr val="00BAD5"/>
                </a:solidFill>
                <a:latin typeface="Calibri" panose="020F0502020204030204" pitchFamily="34" charset="0"/>
                <a:cs typeface="Arial" pitchFamily="34" charset="0"/>
              </a:rPr>
              <a:t>hususlar</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açısından</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puanlama</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yaparak</a:t>
            </a:r>
            <a:r>
              <a:rPr lang="en-US" sz="1400" b="1" kern="0" dirty="0">
                <a:solidFill>
                  <a:srgbClr val="00BAD5"/>
                </a:solidFill>
                <a:latin typeface="Calibri" panose="020F0502020204030204" pitchFamily="34" charset="0"/>
                <a:cs typeface="Arial" pitchFamily="34" charset="0"/>
              </a:rPr>
              <a:t> </a:t>
            </a:r>
            <a:r>
              <a:rPr lang="en-US" sz="1400" b="1" kern="0" dirty="0" err="1">
                <a:solidFill>
                  <a:srgbClr val="00BAD5"/>
                </a:solidFill>
                <a:latin typeface="Calibri" panose="020F0502020204030204" pitchFamily="34" charset="0"/>
                <a:cs typeface="Arial" pitchFamily="34" charset="0"/>
              </a:rPr>
              <a:t>değerlendirir</a:t>
            </a:r>
            <a:r>
              <a:rPr lang="en-US" sz="1400" b="1" kern="0" dirty="0">
                <a:solidFill>
                  <a:srgbClr val="00BAD5"/>
                </a:solidFill>
                <a:latin typeface="Calibri" panose="020F0502020204030204" pitchFamily="34" charset="0"/>
                <a:cs typeface="Arial" pitchFamily="34" charset="0"/>
              </a:rPr>
              <a:t>. </a:t>
            </a:r>
            <a:endParaRPr lang="en-US" sz="1400" kern="0" dirty="0">
              <a:solidFill>
                <a:srgbClr val="00BAD5"/>
              </a:solidFill>
              <a:latin typeface="Calibri" panose="020F0502020204030204" pitchFamily="34" charset="0"/>
              <a:cs typeface="Arial" pitchFamily="34" charset="0"/>
            </a:endParaRPr>
          </a:p>
        </p:txBody>
      </p:sp>
      <p:grpSp>
        <p:nvGrpSpPr>
          <p:cNvPr id="41" name="POWER_USER_ID_ICONS_Gavel"/>
          <p:cNvGrpSpPr>
            <a:grpSpLocks noChangeAspect="1"/>
          </p:cNvGrpSpPr>
          <p:nvPr>
            <p:custDataLst>
              <p:tags r:id="rId2"/>
            </p:custDataLst>
          </p:nvPr>
        </p:nvGrpSpPr>
        <p:grpSpPr>
          <a:xfrm>
            <a:off x="935907" y="2347398"/>
            <a:ext cx="1048181" cy="848306"/>
            <a:chOff x="-1958181" y="55563"/>
            <a:chExt cx="715963" cy="579438"/>
          </a:xfrm>
          <a:solidFill>
            <a:schemeClr val="accent1"/>
          </a:solidFill>
        </p:grpSpPr>
        <p:sp>
          <p:nvSpPr>
            <p:cNvPr id="42" name="POWER_USER_ID_ICONS_Gavel"/>
            <p:cNvSpPr>
              <a:spLocks noChangeArrowheads="1"/>
            </p:cNvSpPr>
            <p:nvPr>
              <p:custDataLst>
                <p:tags r:id="rId7"/>
              </p:custDataLst>
            </p:nvPr>
          </p:nvSpPr>
          <p:spPr bwMode="auto">
            <a:xfrm>
              <a:off x="-1532731" y="560388"/>
              <a:ext cx="209550" cy="74613"/>
            </a:xfrm>
            <a:prstGeom prst="rect">
              <a:avLst/>
            </a:prstGeom>
            <a:grpFill/>
            <a:ln w="9525">
              <a:noFill/>
              <a:miter lim="800000"/>
              <a:headEnd/>
              <a:tailEnd/>
            </a:ln>
            <a:extLst/>
          </p:spPr>
          <p:txBody>
            <a:bodyPr vert="horz" wrap="square" lIns="91434" tIns="45718" rIns="91434" bIns="45718" numCol="1" anchor="t" anchorCtr="0" compatLnSpc="1">
              <a:prstTxWarp prst="textNoShape">
                <a:avLst/>
              </a:prstTxWarp>
            </a:bodyPr>
            <a:lstStyle/>
            <a:p>
              <a:pPr defTabSz="914388">
                <a:defRPr/>
              </a:pPr>
              <a:endParaRPr lang="en-US" kern="0" dirty="0">
                <a:solidFill>
                  <a:sysClr val="windowText" lastClr="000000"/>
                </a:solidFill>
                <a:latin typeface="Calibri"/>
              </a:endParaRPr>
            </a:p>
          </p:txBody>
        </p:sp>
        <p:sp>
          <p:nvSpPr>
            <p:cNvPr id="55" name="POWER_USER_ID_ICONS_Gavel"/>
            <p:cNvSpPr>
              <a:spLocks noChangeArrowheads="1"/>
            </p:cNvSpPr>
            <p:nvPr>
              <p:custDataLst>
                <p:tags r:id="rId8"/>
              </p:custDataLst>
            </p:nvPr>
          </p:nvSpPr>
          <p:spPr bwMode="auto">
            <a:xfrm>
              <a:off x="-1643856" y="604838"/>
              <a:ext cx="401638" cy="30163"/>
            </a:xfrm>
            <a:prstGeom prst="rect">
              <a:avLst/>
            </a:prstGeom>
            <a:grpFill/>
            <a:ln w="9525">
              <a:noFill/>
              <a:miter lim="800000"/>
              <a:headEnd/>
              <a:tailEnd/>
            </a:ln>
            <a:extLst/>
          </p:spPr>
          <p:txBody>
            <a:bodyPr vert="horz" wrap="square" lIns="91434" tIns="45718" rIns="91434" bIns="45718" numCol="1" anchor="t" anchorCtr="0" compatLnSpc="1">
              <a:prstTxWarp prst="textNoShape">
                <a:avLst/>
              </a:prstTxWarp>
            </a:bodyPr>
            <a:lstStyle/>
            <a:p>
              <a:pPr defTabSz="914388">
                <a:defRPr/>
              </a:pPr>
              <a:endParaRPr lang="en-US" kern="0" dirty="0">
                <a:solidFill>
                  <a:sysClr val="windowText" lastClr="000000"/>
                </a:solidFill>
                <a:latin typeface="Calibri"/>
              </a:endParaRPr>
            </a:p>
          </p:txBody>
        </p:sp>
        <p:sp>
          <p:nvSpPr>
            <p:cNvPr id="56" name="POWER_USER_ID_ICONS_Gavel"/>
            <p:cNvSpPr>
              <a:spLocks/>
            </p:cNvSpPr>
            <p:nvPr>
              <p:custDataLst>
                <p:tags r:id="rId9"/>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a:extLst/>
          </p:spPr>
          <p:txBody>
            <a:bodyPr vert="horz" wrap="square" lIns="91434" tIns="45718" rIns="91434" bIns="45718" numCol="1" anchor="t" anchorCtr="0" compatLnSpc="1">
              <a:prstTxWarp prst="textNoShape">
                <a:avLst/>
              </a:prstTxWarp>
            </a:bodyPr>
            <a:lstStyle/>
            <a:p>
              <a:pPr defTabSz="914388">
                <a:defRPr/>
              </a:pPr>
              <a:endParaRPr lang="en-US" kern="0" dirty="0">
                <a:solidFill>
                  <a:sysClr val="windowText" lastClr="000000"/>
                </a:solidFill>
                <a:latin typeface="Calibri"/>
              </a:endParaRPr>
            </a:p>
          </p:txBody>
        </p:sp>
        <p:sp>
          <p:nvSpPr>
            <p:cNvPr id="57" name="POWER_USER_ID_ICONS_Gavel"/>
            <p:cNvSpPr>
              <a:spLocks/>
            </p:cNvSpPr>
            <p:nvPr>
              <p:custDataLst>
                <p:tags r:id="rId10"/>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a:extLst/>
          </p:spPr>
          <p:txBody>
            <a:bodyPr vert="horz" wrap="square" lIns="91434" tIns="45718" rIns="91434" bIns="45718" numCol="1" anchor="t" anchorCtr="0" compatLnSpc="1">
              <a:prstTxWarp prst="textNoShape">
                <a:avLst/>
              </a:prstTxWarp>
            </a:bodyPr>
            <a:lstStyle/>
            <a:p>
              <a:pPr defTabSz="914388">
                <a:defRPr/>
              </a:pPr>
              <a:endParaRPr lang="en-US" kern="0" dirty="0">
                <a:solidFill>
                  <a:sysClr val="windowText" lastClr="000000"/>
                </a:solidFill>
                <a:latin typeface="Calibri"/>
              </a:endParaRPr>
            </a:p>
          </p:txBody>
        </p:sp>
        <p:sp>
          <p:nvSpPr>
            <p:cNvPr id="58" name="POWER_USER_ID_ICONS_Gavel"/>
            <p:cNvSpPr>
              <a:spLocks/>
            </p:cNvSpPr>
            <p:nvPr>
              <p:custDataLst>
                <p:tags r:id="rId11"/>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a:extLst/>
          </p:spPr>
          <p:txBody>
            <a:bodyPr vert="horz" wrap="square" lIns="91434" tIns="45718" rIns="91434" bIns="45718" numCol="1" anchor="t" anchorCtr="0" compatLnSpc="1">
              <a:prstTxWarp prst="textNoShape">
                <a:avLst/>
              </a:prstTxWarp>
            </a:bodyPr>
            <a:lstStyle/>
            <a:p>
              <a:pPr defTabSz="914388">
                <a:defRPr/>
              </a:pPr>
              <a:endParaRPr lang="en-US" kern="0" dirty="0">
                <a:solidFill>
                  <a:sysClr val="windowText" lastClr="000000"/>
                </a:solidFill>
                <a:latin typeface="Calibri"/>
              </a:endParaRPr>
            </a:p>
          </p:txBody>
        </p:sp>
        <p:sp>
          <p:nvSpPr>
            <p:cNvPr id="59" name="POWER_USER_ID_ICONS_Gavel"/>
            <p:cNvSpPr>
              <a:spLocks/>
            </p:cNvSpPr>
            <p:nvPr>
              <p:custDataLst>
                <p:tags r:id="rId12"/>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a:extLst/>
          </p:spPr>
          <p:txBody>
            <a:bodyPr vert="horz" wrap="square" lIns="91434" tIns="45718" rIns="91434" bIns="45718" numCol="1" anchor="t" anchorCtr="0" compatLnSpc="1">
              <a:prstTxWarp prst="textNoShape">
                <a:avLst/>
              </a:prstTxWarp>
            </a:bodyPr>
            <a:lstStyle/>
            <a:p>
              <a:pPr defTabSz="914388">
                <a:defRPr/>
              </a:pPr>
              <a:endParaRPr lang="en-US" kern="0" dirty="0">
                <a:solidFill>
                  <a:sysClr val="windowText" lastClr="000000"/>
                </a:solidFill>
                <a:latin typeface="Calibri"/>
              </a:endParaRPr>
            </a:p>
          </p:txBody>
        </p:sp>
      </p:grpSp>
      <p:sp>
        <p:nvSpPr>
          <p:cNvPr id="43" name="Text Box 2"/>
          <p:cNvSpPr txBox="1">
            <a:spLocks noChangeArrowheads="1"/>
          </p:cNvSpPr>
          <p:nvPr/>
        </p:nvSpPr>
        <p:spPr bwMode="auto">
          <a:xfrm>
            <a:off x="169738" y="259180"/>
            <a:ext cx="8094407" cy="500422"/>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270864">
              <a:lnSpc>
                <a:spcPct val="90000"/>
              </a:lnSpc>
              <a:buClr>
                <a:srgbClr val="F9A91C"/>
              </a:buClr>
              <a:buSzPct val="125000"/>
              <a:defRPr/>
            </a:pPr>
            <a:r>
              <a:rPr lang="tr-TR" sz="3613" b="1" dirty="0">
                <a:solidFill>
                  <a:srgbClr val="00A3CA"/>
                </a:solidFill>
                <a:effectLst>
                  <a:outerShdw blurRad="38100" dist="38100" dir="2700000" algn="tl">
                    <a:srgbClr val="000000">
                      <a:alpha val="43137"/>
                    </a:srgbClr>
                  </a:outerShdw>
                </a:effectLst>
                <a:latin typeface="Calibri" pitchFamily="34" charset="0"/>
                <a:cs typeface="+mn-cs"/>
              </a:rPr>
              <a:t>Kurul </a:t>
            </a:r>
            <a:r>
              <a:rPr lang="tr-TR" sz="3613" b="1" dirty="0" smtClean="0">
                <a:solidFill>
                  <a:srgbClr val="00A3CA"/>
                </a:solidFill>
                <a:effectLst>
                  <a:outerShdw blurRad="38100" dist="38100" dir="2700000" algn="tl">
                    <a:srgbClr val="000000">
                      <a:alpha val="43137"/>
                    </a:srgbClr>
                  </a:outerShdw>
                </a:effectLst>
                <a:latin typeface="Calibri" pitchFamily="34" charset="0"/>
                <a:cs typeface="+mn-cs"/>
              </a:rPr>
              <a:t>ve Komite Oluşumu</a:t>
            </a:r>
            <a:endParaRPr lang="tr-TR" sz="3613" b="1" dirty="0">
              <a:solidFill>
                <a:srgbClr val="00A3CA"/>
              </a:solidFill>
              <a:effectLst>
                <a:outerShdw blurRad="38100" dist="38100" dir="2700000" algn="tl">
                  <a:srgbClr val="000000">
                    <a:alpha val="43137"/>
                  </a:srgbClr>
                </a:outerShdw>
              </a:effectLst>
              <a:latin typeface="Calibri" pitchFamily="34" charset="0"/>
              <a:cs typeface="+mn-cs"/>
            </a:endParaRPr>
          </a:p>
        </p:txBody>
      </p:sp>
      <p:pic>
        <p:nvPicPr>
          <p:cNvPr id="44" name="Picture 3"/>
          <p:cNvPicPr>
            <a:picLocks noChangeAspect="1" noChangeArrowheads="1"/>
          </p:cNvPicPr>
          <p:nvPr/>
        </p:nvPicPr>
        <p:blipFill>
          <a:blip r:embed="rId14" cstate="print"/>
          <a:srcRect/>
          <a:stretch>
            <a:fillRect/>
          </a:stretch>
        </p:blipFill>
        <p:spPr bwMode="auto">
          <a:xfrm>
            <a:off x="11082733" y="249831"/>
            <a:ext cx="722715" cy="509772"/>
          </a:xfrm>
          <a:prstGeom prst="rect">
            <a:avLst/>
          </a:prstGeom>
          <a:noFill/>
          <a:ln w="9525">
            <a:noFill/>
            <a:miter lim="800000"/>
            <a:headEnd/>
            <a:tailEnd/>
          </a:ln>
        </p:spPr>
      </p:pic>
      <p:sp>
        <p:nvSpPr>
          <p:cNvPr id="45" name="Business_People3"/>
          <p:cNvSpPr>
            <a:spLocks noChangeAspect="1"/>
          </p:cNvSpPr>
          <p:nvPr>
            <p:custDataLst>
              <p:tags r:id="rId3"/>
            </p:custDataLst>
          </p:nvPr>
        </p:nvSpPr>
        <p:spPr bwMode="auto">
          <a:xfrm>
            <a:off x="3131491" y="2517471"/>
            <a:ext cx="519272" cy="678233"/>
          </a:xfrm>
          <a:custGeom>
            <a:avLst/>
            <a:gdLst>
              <a:gd name="connsiteX0" fmla="*/ 865613 w 2208433"/>
              <a:gd name="connsiteY0" fmla="*/ 1682726 h 2884488"/>
              <a:gd name="connsiteX1" fmla="*/ 866321 w 2208433"/>
              <a:gd name="connsiteY1" fmla="*/ 1704565 h 2884488"/>
              <a:gd name="connsiteX2" fmla="*/ 789393 w 2208433"/>
              <a:gd name="connsiteY2" fmla="*/ 1963819 h 2884488"/>
              <a:gd name="connsiteX3" fmla="*/ 876381 w 2208433"/>
              <a:gd name="connsiteY3" fmla="*/ 1971514 h 2884488"/>
              <a:gd name="connsiteX4" fmla="*/ 926215 w 2208433"/>
              <a:gd name="connsiteY4" fmla="*/ 1963293 h 2884488"/>
              <a:gd name="connsiteX5" fmla="*/ 919070 w 2208433"/>
              <a:gd name="connsiteY5" fmla="*/ 1737369 h 2884488"/>
              <a:gd name="connsiteX6" fmla="*/ 905769 w 2208433"/>
              <a:gd name="connsiteY6" fmla="*/ 1736436 h 2884488"/>
              <a:gd name="connsiteX7" fmla="*/ 892172 w 2208433"/>
              <a:gd name="connsiteY7" fmla="*/ 1728167 h 2884488"/>
              <a:gd name="connsiteX8" fmla="*/ 880348 w 2208433"/>
              <a:gd name="connsiteY8" fmla="*/ 1696274 h 2884488"/>
              <a:gd name="connsiteX9" fmla="*/ 867342 w 2208433"/>
              <a:gd name="connsiteY9" fmla="*/ 1683280 h 2884488"/>
              <a:gd name="connsiteX10" fmla="*/ 1058756 w 2208433"/>
              <a:gd name="connsiteY10" fmla="*/ 1643194 h 2884488"/>
              <a:gd name="connsiteX11" fmla="*/ 1059247 w 2208433"/>
              <a:gd name="connsiteY11" fmla="*/ 1654350 h 2884488"/>
              <a:gd name="connsiteX12" fmla="*/ 1061428 w 2208433"/>
              <a:gd name="connsiteY12" fmla="*/ 1661003 h 2884488"/>
              <a:gd name="connsiteX13" fmla="*/ 1062361 w 2208433"/>
              <a:gd name="connsiteY13" fmla="*/ 1682247 h 2884488"/>
              <a:gd name="connsiteX14" fmla="*/ 1061988 w 2208433"/>
              <a:gd name="connsiteY14" fmla="*/ 1716610 h 2884488"/>
              <a:gd name="connsiteX15" fmla="*/ 1071681 w 2208433"/>
              <a:gd name="connsiteY15" fmla="*/ 1936797 h 2884488"/>
              <a:gd name="connsiteX16" fmla="*/ 1074500 w 2208433"/>
              <a:gd name="connsiteY16" fmla="*/ 1936157 h 2884488"/>
              <a:gd name="connsiteX17" fmla="*/ 1119001 w 2208433"/>
              <a:gd name="connsiteY17" fmla="*/ 1915875 h 2884488"/>
              <a:gd name="connsiteX18" fmla="*/ 1106008 w 2208433"/>
              <a:gd name="connsiteY18" fmla="*/ 1829854 h 2884488"/>
              <a:gd name="connsiteX19" fmla="*/ 1160857 w 2208433"/>
              <a:gd name="connsiteY19" fmla="*/ 1837531 h 2884488"/>
              <a:gd name="connsiteX20" fmla="*/ 1207548 w 2208433"/>
              <a:gd name="connsiteY20" fmla="*/ 1812208 h 2884488"/>
              <a:gd name="connsiteX21" fmla="*/ 1345848 w 2208433"/>
              <a:gd name="connsiteY21" fmla="*/ 1859910 h 2884488"/>
              <a:gd name="connsiteX22" fmla="*/ 1479421 w 2208433"/>
              <a:gd name="connsiteY22" fmla="*/ 1882289 h 2884488"/>
              <a:gd name="connsiteX23" fmla="*/ 1547389 w 2208433"/>
              <a:gd name="connsiteY23" fmla="*/ 1892300 h 2884488"/>
              <a:gd name="connsiteX24" fmla="*/ 1706375 w 2208433"/>
              <a:gd name="connsiteY24" fmla="*/ 1823398 h 2884488"/>
              <a:gd name="connsiteX25" fmla="*/ 1200196 w 2208433"/>
              <a:gd name="connsiteY25" fmla="*/ 1766926 h 2884488"/>
              <a:gd name="connsiteX26" fmla="*/ 1203138 w 2208433"/>
              <a:gd name="connsiteY26" fmla="*/ 1774826 h 2884488"/>
              <a:gd name="connsiteX27" fmla="*/ 1153478 w 2208433"/>
              <a:gd name="connsiteY27" fmla="*/ 1768920 h 2884488"/>
              <a:gd name="connsiteX28" fmla="*/ 1150427 w 2208433"/>
              <a:gd name="connsiteY28" fmla="*/ 1761374 h 2884488"/>
              <a:gd name="connsiteX29" fmla="*/ 1094725 w 2208433"/>
              <a:gd name="connsiteY29" fmla="*/ 1755159 h 2884488"/>
              <a:gd name="connsiteX30" fmla="*/ 1080538 w 2208433"/>
              <a:gd name="connsiteY30" fmla="*/ 1661239 h 2884488"/>
              <a:gd name="connsiteX31" fmla="*/ 1062435 w 2208433"/>
              <a:gd name="connsiteY31" fmla="*/ 1646071 h 2884488"/>
              <a:gd name="connsiteX32" fmla="*/ 1516881 w 2208433"/>
              <a:gd name="connsiteY32" fmla="*/ 1057046 h 2884488"/>
              <a:gd name="connsiteX33" fmla="*/ 1481659 w 2208433"/>
              <a:gd name="connsiteY33" fmla="*/ 1080602 h 2884488"/>
              <a:gd name="connsiteX34" fmla="*/ 1481773 w 2208433"/>
              <a:gd name="connsiteY34" fmla="*/ 1089589 h 2884488"/>
              <a:gd name="connsiteX35" fmla="*/ 1480754 w 2208433"/>
              <a:gd name="connsiteY35" fmla="*/ 1080499 h 2884488"/>
              <a:gd name="connsiteX36" fmla="*/ 860404 w 2208433"/>
              <a:gd name="connsiteY36" fmla="*/ 495300 h 2884488"/>
              <a:gd name="connsiteX37" fmla="*/ 836142 w 2208433"/>
              <a:gd name="connsiteY37" fmla="*/ 529631 h 2884488"/>
              <a:gd name="connsiteX38" fmla="*/ 816614 w 2208433"/>
              <a:gd name="connsiteY38" fmla="*/ 529039 h 2884488"/>
              <a:gd name="connsiteX39" fmla="*/ 855392 w 2208433"/>
              <a:gd name="connsiteY39" fmla="*/ 1367817 h 2884488"/>
              <a:gd name="connsiteX40" fmla="*/ 860030 w 2208433"/>
              <a:gd name="connsiteY40" fmla="*/ 1510704 h 2884488"/>
              <a:gd name="connsiteX41" fmla="*/ 871480 w 2208433"/>
              <a:gd name="connsiteY41" fmla="*/ 1500188 h 2884488"/>
              <a:gd name="connsiteX42" fmla="*/ 904596 w 2208433"/>
              <a:gd name="connsiteY42" fmla="*/ 1509850 h 2884488"/>
              <a:gd name="connsiteX43" fmla="*/ 911955 w 2208433"/>
              <a:gd name="connsiteY43" fmla="*/ 1512368 h 2884488"/>
              <a:gd name="connsiteX44" fmla="*/ 911627 w 2208433"/>
              <a:gd name="connsiteY44" fmla="*/ 1502004 h 2884488"/>
              <a:gd name="connsiteX45" fmla="*/ 917573 w 2208433"/>
              <a:gd name="connsiteY45" fmla="*/ 943459 h 2884488"/>
              <a:gd name="connsiteX46" fmla="*/ 906275 w 2208433"/>
              <a:gd name="connsiteY46" fmla="*/ 807964 h 2884488"/>
              <a:gd name="connsiteX47" fmla="*/ 967520 w 2208433"/>
              <a:gd name="connsiteY47" fmla="*/ 763588 h 2884488"/>
              <a:gd name="connsiteX48" fmla="*/ 1027576 w 2208433"/>
              <a:gd name="connsiteY48" fmla="*/ 764771 h 2884488"/>
              <a:gd name="connsiteX49" fmla="*/ 1055523 w 2208433"/>
              <a:gd name="connsiteY49" fmla="*/ 785480 h 2884488"/>
              <a:gd name="connsiteX50" fmla="*/ 1000818 w 2208433"/>
              <a:gd name="connsiteY50" fmla="*/ 852340 h 2884488"/>
              <a:gd name="connsiteX51" fmla="*/ 1013900 w 2208433"/>
              <a:gd name="connsiteY51" fmla="*/ 915058 h 2884488"/>
              <a:gd name="connsiteX52" fmla="*/ 1034117 w 2208433"/>
              <a:gd name="connsiteY52" fmla="*/ 1019785 h 2884488"/>
              <a:gd name="connsiteX53" fmla="*/ 1053739 w 2208433"/>
              <a:gd name="connsiteY53" fmla="*/ 1529222 h 2884488"/>
              <a:gd name="connsiteX54" fmla="*/ 1054178 w 2208433"/>
              <a:gd name="connsiteY54" fmla="*/ 1539189 h 2884488"/>
              <a:gd name="connsiteX55" fmla="*/ 1063559 w 2208433"/>
              <a:gd name="connsiteY55" fmla="*/ 1548835 h 2884488"/>
              <a:gd name="connsiteX56" fmla="*/ 1061601 w 2208433"/>
              <a:gd name="connsiteY56" fmla="*/ 1535871 h 2884488"/>
              <a:gd name="connsiteX57" fmla="*/ 1101249 w 2208433"/>
              <a:gd name="connsiteY57" fmla="*/ 1133967 h 2884488"/>
              <a:gd name="connsiteX58" fmla="*/ 1106574 w 2208433"/>
              <a:gd name="connsiteY58" fmla="*/ 762842 h 2884488"/>
              <a:gd name="connsiteX59" fmla="*/ 1107758 w 2208433"/>
              <a:gd name="connsiteY59" fmla="*/ 723776 h 2884488"/>
              <a:gd name="connsiteX60" fmla="*/ 1057459 w 2208433"/>
              <a:gd name="connsiteY60" fmla="*/ 723184 h 2884488"/>
              <a:gd name="connsiteX61" fmla="*/ 1036747 w 2208433"/>
              <a:gd name="connsiteY61" fmla="*/ 735022 h 2884488"/>
              <a:gd name="connsiteX62" fmla="*/ 996508 w 2208433"/>
              <a:gd name="connsiteY62" fmla="*/ 736206 h 2884488"/>
              <a:gd name="connsiteX63" fmla="*/ 865138 w 2208433"/>
              <a:gd name="connsiteY63" fmla="*/ 549164 h 2884488"/>
              <a:gd name="connsiteX64" fmla="*/ 862771 w 2208433"/>
              <a:gd name="connsiteY64" fmla="*/ 495892 h 2884488"/>
              <a:gd name="connsiteX65" fmla="*/ 1211378 w 2208433"/>
              <a:gd name="connsiteY65" fmla="*/ 0 h 2884488"/>
              <a:gd name="connsiteX66" fmla="*/ 1411638 w 2208433"/>
              <a:gd name="connsiteY66" fmla="*/ 238006 h 2884488"/>
              <a:gd name="connsiteX67" fmla="*/ 1366742 w 2208433"/>
              <a:gd name="connsiteY67" fmla="*/ 364706 h 2884488"/>
              <a:gd name="connsiteX68" fmla="*/ 1324209 w 2208433"/>
              <a:gd name="connsiteY68" fmla="*/ 457658 h 2884488"/>
              <a:gd name="connsiteX69" fmla="*/ 1325981 w 2208433"/>
              <a:gd name="connsiteY69" fmla="*/ 481932 h 2884488"/>
              <a:gd name="connsiteX70" fmla="*/ 1297626 w 2208433"/>
              <a:gd name="connsiteY70" fmla="*/ 509759 h 2884488"/>
              <a:gd name="connsiteX71" fmla="*/ 1258637 w 2208433"/>
              <a:gd name="connsiteY71" fmla="*/ 594423 h 2884488"/>
              <a:gd name="connsiteX72" fmla="*/ 1137536 w 2208433"/>
              <a:gd name="connsiteY72" fmla="*/ 721714 h 2884488"/>
              <a:gd name="connsiteX73" fmla="*/ 1131629 w 2208433"/>
              <a:gd name="connsiteY73" fmla="*/ 724674 h 2884488"/>
              <a:gd name="connsiteX74" fmla="*/ 1131629 w 2208433"/>
              <a:gd name="connsiteY74" fmla="*/ 728227 h 2884488"/>
              <a:gd name="connsiteX75" fmla="*/ 1377375 w 2208433"/>
              <a:gd name="connsiteY75" fmla="*/ 930709 h 2884488"/>
              <a:gd name="connsiteX76" fmla="*/ 1348429 w 2208433"/>
              <a:gd name="connsiteY76" fmla="*/ 1343371 h 2884488"/>
              <a:gd name="connsiteX77" fmla="*/ 1450627 w 2208433"/>
              <a:gd name="connsiteY77" fmla="*/ 1183517 h 2884488"/>
              <a:gd name="connsiteX78" fmla="*/ 1481345 w 2208433"/>
              <a:gd name="connsiteY78" fmla="*/ 1134968 h 2884488"/>
              <a:gd name="connsiteX79" fmla="*/ 1482280 w 2208433"/>
              <a:gd name="connsiteY79" fmla="*/ 1123842 h 2884488"/>
              <a:gd name="connsiteX80" fmla="*/ 1483207 w 2208433"/>
              <a:gd name="connsiteY80" fmla="*/ 1143551 h 2884488"/>
              <a:gd name="connsiteX81" fmla="*/ 1488736 w 2208433"/>
              <a:gd name="connsiteY81" fmla="*/ 1168287 h 2884488"/>
              <a:gd name="connsiteX82" fmla="*/ 1540044 w 2208433"/>
              <a:gd name="connsiteY82" fmla="*/ 1137479 h 2884488"/>
              <a:gd name="connsiteX83" fmla="*/ 1564813 w 2208433"/>
              <a:gd name="connsiteY83" fmla="*/ 1178951 h 2884488"/>
              <a:gd name="connsiteX84" fmla="*/ 1325375 w 2208433"/>
              <a:gd name="connsiteY84" fmla="*/ 1455632 h 2884488"/>
              <a:gd name="connsiteX85" fmla="*/ 1440966 w 2208433"/>
              <a:gd name="connsiteY85" fmla="*/ 1763713 h 2884488"/>
              <a:gd name="connsiteX86" fmla="*/ 1830200 w 2208433"/>
              <a:gd name="connsiteY86" fmla="*/ 1031427 h 2884488"/>
              <a:gd name="connsiteX87" fmla="*/ 1788918 w 2208433"/>
              <a:gd name="connsiteY87" fmla="*/ 1023725 h 2884488"/>
              <a:gd name="connsiteX88" fmla="*/ 1697507 w 2208433"/>
              <a:gd name="connsiteY88" fmla="*/ 1104301 h 2884488"/>
              <a:gd name="connsiteX89" fmla="*/ 1672737 w 2208433"/>
              <a:gd name="connsiteY89" fmla="*/ 1185468 h 2884488"/>
              <a:gd name="connsiteX90" fmla="*/ 1646199 w 2208433"/>
              <a:gd name="connsiteY90" fmla="*/ 1190208 h 2884488"/>
              <a:gd name="connsiteX91" fmla="*/ 1645609 w 2208433"/>
              <a:gd name="connsiteY91" fmla="*/ 1212722 h 2884488"/>
              <a:gd name="connsiteX92" fmla="*/ 1645019 w 2208433"/>
              <a:gd name="connsiteY92" fmla="*/ 1221016 h 2884488"/>
              <a:gd name="connsiteX93" fmla="*/ 1591352 w 2208433"/>
              <a:gd name="connsiteY93" fmla="*/ 1297444 h 2884488"/>
              <a:gd name="connsiteX94" fmla="*/ 1610814 w 2208433"/>
              <a:gd name="connsiteY94" fmla="*/ 1217461 h 2884488"/>
              <a:gd name="connsiteX95" fmla="*/ 1614352 w 2208433"/>
              <a:gd name="connsiteY95" fmla="*/ 1057496 h 2884488"/>
              <a:gd name="connsiteX96" fmla="*/ 1590172 w 2208433"/>
              <a:gd name="connsiteY96" fmla="*/ 1020763 h 2884488"/>
              <a:gd name="connsiteX97" fmla="*/ 1534598 w 2208433"/>
              <a:gd name="connsiteY97" fmla="*/ 1045544 h 2884488"/>
              <a:gd name="connsiteX98" fmla="*/ 1537982 w 2208433"/>
              <a:gd name="connsiteY98" fmla="*/ 1043348 h 2884488"/>
              <a:gd name="connsiteX99" fmla="*/ 1591222 w 2208433"/>
              <a:gd name="connsiteY99" fmla="*/ 1017741 h 2884488"/>
              <a:gd name="connsiteX100" fmla="*/ 1591813 w 2208433"/>
              <a:gd name="connsiteY100" fmla="*/ 996427 h 2884488"/>
              <a:gd name="connsiteX101" fmla="*/ 1533330 w 2208433"/>
              <a:gd name="connsiteY101" fmla="*/ 820587 h 2884488"/>
              <a:gd name="connsiteX102" fmla="*/ 1526241 w 2208433"/>
              <a:gd name="connsiteY102" fmla="*/ 732371 h 2884488"/>
              <a:gd name="connsiteX103" fmla="*/ 1524469 w 2208433"/>
              <a:gd name="connsiteY103" fmla="*/ 716978 h 2884488"/>
              <a:gd name="connsiteX104" fmla="*/ 1762536 w 2208433"/>
              <a:gd name="connsiteY104" fmla="*/ 412662 h 2884488"/>
              <a:gd name="connsiteX105" fmla="*/ 2034865 w 2208433"/>
              <a:gd name="connsiteY105" fmla="*/ 657180 h 2884488"/>
              <a:gd name="connsiteX106" fmla="*/ 2067947 w 2208433"/>
              <a:gd name="connsiteY106" fmla="*/ 722306 h 2884488"/>
              <a:gd name="connsiteX107" fmla="*/ 2072673 w 2208433"/>
              <a:gd name="connsiteY107" fmla="*/ 772631 h 2884488"/>
              <a:gd name="connsiteX108" fmla="*/ 2057313 w 2208433"/>
              <a:gd name="connsiteY108" fmla="*/ 722306 h 2884488"/>
              <a:gd name="connsiteX109" fmla="*/ 2053178 w 2208433"/>
              <a:gd name="connsiteY109" fmla="*/ 768486 h 2884488"/>
              <a:gd name="connsiteX110" fmla="*/ 2031912 w 2208433"/>
              <a:gd name="connsiteY110" fmla="*/ 989323 h 2884488"/>
              <a:gd name="connsiteX111" fmla="*/ 2018325 w 2208433"/>
              <a:gd name="connsiteY111" fmla="*/ 1002348 h 2884488"/>
              <a:gd name="connsiteX112" fmla="*/ 2021278 w 2208433"/>
              <a:gd name="connsiteY112" fmla="*/ 1042016 h 2884488"/>
              <a:gd name="connsiteX113" fmla="*/ 2098074 w 2208433"/>
              <a:gd name="connsiteY113" fmla="*/ 1080499 h 2884488"/>
              <a:gd name="connsiteX114" fmla="*/ 2202044 w 2208433"/>
              <a:gd name="connsiteY114" fmla="*/ 1191805 h 2884488"/>
              <a:gd name="connsiteX115" fmla="*/ 2203816 w 2208433"/>
              <a:gd name="connsiteY115" fmla="*/ 1435140 h 2884488"/>
              <a:gd name="connsiteX116" fmla="*/ 2194955 w 2208433"/>
              <a:gd name="connsiteY116" fmla="*/ 1661896 h 2884488"/>
              <a:gd name="connsiteX117" fmla="*/ 2178414 w 2208433"/>
              <a:gd name="connsiteY117" fmla="*/ 1764914 h 2884488"/>
              <a:gd name="connsiteX118" fmla="*/ 2196727 w 2208433"/>
              <a:gd name="connsiteY118" fmla="*/ 1927729 h 2884488"/>
              <a:gd name="connsiteX119" fmla="*/ 2190229 w 2208433"/>
              <a:gd name="connsiteY119" fmla="*/ 1962660 h 2884488"/>
              <a:gd name="connsiteX120" fmla="*/ 2113433 w 2208433"/>
              <a:gd name="connsiteY120" fmla="*/ 2049692 h 2884488"/>
              <a:gd name="connsiteX121" fmla="*/ 2089804 w 2208433"/>
              <a:gd name="connsiteY121" fmla="*/ 2055612 h 2884488"/>
              <a:gd name="connsiteX122" fmla="*/ 1926170 w 2208433"/>
              <a:gd name="connsiteY122" fmla="*/ 2044363 h 2884488"/>
              <a:gd name="connsiteX123" fmla="*/ 1962796 w 2208433"/>
              <a:gd name="connsiteY123" fmla="*/ 2303091 h 2884488"/>
              <a:gd name="connsiteX124" fmla="*/ 1934440 w 2208433"/>
              <a:gd name="connsiteY124" fmla="*/ 2454657 h 2884488"/>
              <a:gd name="connsiteX125" fmla="*/ 1917900 w 2208433"/>
              <a:gd name="connsiteY125" fmla="*/ 2684374 h 2884488"/>
              <a:gd name="connsiteX126" fmla="*/ 1865324 w 2208433"/>
              <a:gd name="connsiteY126" fmla="*/ 2883896 h 2884488"/>
              <a:gd name="connsiteX127" fmla="*/ 1167073 w 2208433"/>
              <a:gd name="connsiteY127" fmla="*/ 2883896 h 2884488"/>
              <a:gd name="connsiteX128" fmla="*/ 1240915 w 2208433"/>
              <a:gd name="connsiteY128" fmla="*/ 2271712 h 2884488"/>
              <a:gd name="connsiteX129" fmla="*/ 1218467 w 2208433"/>
              <a:gd name="connsiteY129" fmla="*/ 2255135 h 2884488"/>
              <a:gd name="connsiteX130" fmla="*/ 1246822 w 2208433"/>
              <a:gd name="connsiteY130" fmla="*/ 2143236 h 2884488"/>
              <a:gd name="connsiteX131" fmla="*/ 1207243 w 2208433"/>
              <a:gd name="connsiteY131" fmla="*/ 2156854 h 2884488"/>
              <a:gd name="connsiteX132" fmla="*/ 1190702 w 2208433"/>
              <a:gd name="connsiteY132" fmla="*/ 2107121 h 2884488"/>
              <a:gd name="connsiteX133" fmla="*/ 1175343 w 2208433"/>
              <a:gd name="connsiteY133" fmla="*/ 2107121 h 2884488"/>
              <a:gd name="connsiteX134" fmla="*/ 1164119 w 2208433"/>
              <a:gd name="connsiteY134" fmla="*/ 2600894 h 2884488"/>
              <a:gd name="connsiteX135" fmla="*/ 1140490 w 2208433"/>
              <a:gd name="connsiteY135" fmla="*/ 2639378 h 2884488"/>
              <a:gd name="connsiteX136" fmla="*/ 1108590 w 2208433"/>
              <a:gd name="connsiteY136" fmla="*/ 2884488 h 2884488"/>
              <a:gd name="connsiteX137" fmla="*/ 220122 w 2208433"/>
              <a:gd name="connsiteY137" fmla="*/ 2882712 h 2884488"/>
              <a:gd name="connsiteX138" fmla="*/ 260292 w 2208433"/>
              <a:gd name="connsiteY138" fmla="*/ 2571884 h 2884488"/>
              <a:gd name="connsiteX139" fmla="*/ 83662 w 2208433"/>
              <a:gd name="connsiteY139" fmla="*/ 2416765 h 2884488"/>
              <a:gd name="connsiteX140" fmla="*/ 331180 w 2208433"/>
              <a:gd name="connsiteY140" fmla="*/ 1677882 h 2884488"/>
              <a:gd name="connsiteX141" fmla="*/ 317003 w 2208433"/>
              <a:gd name="connsiteY141" fmla="*/ 1655976 h 2884488"/>
              <a:gd name="connsiteX142" fmla="*/ 959 w 2208433"/>
              <a:gd name="connsiteY142" fmla="*/ 1463558 h 2884488"/>
              <a:gd name="connsiteX143" fmla="*/ 39947 w 2208433"/>
              <a:gd name="connsiteY143" fmla="*/ 1331530 h 2884488"/>
              <a:gd name="connsiteX144" fmla="*/ 386710 w 2208433"/>
              <a:gd name="connsiteY144" fmla="*/ 654220 h 2884488"/>
              <a:gd name="connsiteX145" fmla="*/ 720476 w 2208433"/>
              <a:gd name="connsiteY145" fmla="*/ 592646 h 2884488"/>
              <a:gd name="connsiteX146" fmla="*/ 809677 w 2208433"/>
              <a:gd name="connsiteY146" fmla="*/ 525152 h 2884488"/>
              <a:gd name="connsiteX147" fmla="*/ 835670 w 2208433"/>
              <a:gd name="connsiteY147" fmla="*/ 526336 h 2884488"/>
              <a:gd name="connsiteX148" fmla="*/ 860481 w 2208433"/>
              <a:gd name="connsiteY148" fmla="*/ 491997 h 2884488"/>
              <a:gd name="connsiteX149" fmla="*/ 895334 w 2208433"/>
              <a:gd name="connsiteY149" fmla="*/ 487261 h 2884488"/>
              <a:gd name="connsiteX150" fmla="*/ 901832 w 2208433"/>
              <a:gd name="connsiteY150" fmla="*/ 424503 h 2884488"/>
              <a:gd name="connsiteX151" fmla="*/ 905967 w 2208433"/>
              <a:gd name="connsiteY151" fmla="*/ 257544 h 2884488"/>
              <a:gd name="connsiteX152" fmla="*/ 1211378 w 2208433"/>
              <a:gd name="connsiteY152" fmla="*/ 0 h 288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08433" h="2884488">
                <a:moveTo>
                  <a:pt x="865613" y="1682726"/>
                </a:moveTo>
                <a:lnTo>
                  <a:pt x="866321" y="1704565"/>
                </a:lnTo>
                <a:cubicBezTo>
                  <a:pt x="866321" y="1716403"/>
                  <a:pt x="788801" y="1952573"/>
                  <a:pt x="789393" y="1963819"/>
                </a:cubicBezTo>
                <a:cubicBezTo>
                  <a:pt x="814247" y="1968555"/>
                  <a:pt x="847385" y="1978025"/>
                  <a:pt x="876381" y="1971514"/>
                </a:cubicBezTo>
                <a:lnTo>
                  <a:pt x="926215" y="1963293"/>
                </a:lnTo>
                <a:lnTo>
                  <a:pt x="919070" y="1737369"/>
                </a:lnTo>
                <a:lnTo>
                  <a:pt x="905769" y="1736436"/>
                </a:lnTo>
                <a:cubicBezTo>
                  <a:pt x="898083" y="1737026"/>
                  <a:pt x="893354" y="1735845"/>
                  <a:pt x="892172" y="1728167"/>
                </a:cubicBezTo>
                <a:lnTo>
                  <a:pt x="880348" y="1696274"/>
                </a:lnTo>
                <a:cubicBezTo>
                  <a:pt x="877983" y="1686824"/>
                  <a:pt x="876209" y="1686233"/>
                  <a:pt x="867342" y="1683280"/>
                </a:cubicBezTo>
                <a:close/>
                <a:moveTo>
                  <a:pt x="1058756" y="1643194"/>
                </a:moveTo>
                <a:lnTo>
                  <a:pt x="1059247" y="1654350"/>
                </a:lnTo>
                <a:lnTo>
                  <a:pt x="1061428" y="1661003"/>
                </a:lnTo>
                <a:cubicBezTo>
                  <a:pt x="1062195" y="1667002"/>
                  <a:pt x="1062398" y="1674347"/>
                  <a:pt x="1062361" y="1682247"/>
                </a:cubicBezTo>
                <a:lnTo>
                  <a:pt x="1061988" y="1716610"/>
                </a:lnTo>
                <a:lnTo>
                  <a:pt x="1071681" y="1936797"/>
                </a:lnTo>
                <a:lnTo>
                  <a:pt x="1074500" y="1936157"/>
                </a:lnTo>
                <a:cubicBezTo>
                  <a:pt x="1089746" y="1931339"/>
                  <a:pt x="1104651" y="1924902"/>
                  <a:pt x="1119001" y="1915875"/>
                </a:cubicBezTo>
                <a:lnTo>
                  <a:pt x="1106008" y="1829854"/>
                </a:lnTo>
                <a:lnTo>
                  <a:pt x="1160857" y="1837531"/>
                </a:lnTo>
                <a:cubicBezTo>
                  <a:pt x="1211094" y="1856377"/>
                  <a:pt x="1179179" y="1821631"/>
                  <a:pt x="1207548" y="1812208"/>
                </a:cubicBezTo>
                <a:cubicBezTo>
                  <a:pt x="1241237" y="1801019"/>
                  <a:pt x="1300930" y="1799841"/>
                  <a:pt x="1345848" y="1859910"/>
                </a:cubicBezTo>
                <a:cubicBezTo>
                  <a:pt x="1365352" y="1885233"/>
                  <a:pt x="1441004" y="1864032"/>
                  <a:pt x="1479421" y="1882289"/>
                </a:cubicBezTo>
                <a:lnTo>
                  <a:pt x="1547389" y="1892300"/>
                </a:lnTo>
                <a:lnTo>
                  <a:pt x="1706375" y="1823398"/>
                </a:lnTo>
                <a:lnTo>
                  <a:pt x="1200196" y="1766926"/>
                </a:lnTo>
                <a:lnTo>
                  <a:pt x="1203138" y="1774826"/>
                </a:lnTo>
                <a:cubicBezTo>
                  <a:pt x="1188358" y="1774826"/>
                  <a:pt x="1175352" y="1770101"/>
                  <a:pt x="1153478" y="1768920"/>
                </a:cubicBezTo>
                <a:lnTo>
                  <a:pt x="1150427" y="1761374"/>
                </a:lnTo>
                <a:lnTo>
                  <a:pt x="1094725" y="1755159"/>
                </a:lnTo>
                <a:lnTo>
                  <a:pt x="1080538" y="1661239"/>
                </a:lnTo>
                <a:lnTo>
                  <a:pt x="1062435" y="1646071"/>
                </a:lnTo>
                <a:close/>
                <a:moveTo>
                  <a:pt x="1516881" y="1057046"/>
                </a:moveTo>
                <a:lnTo>
                  <a:pt x="1481659" y="1080602"/>
                </a:lnTo>
                <a:lnTo>
                  <a:pt x="1481773" y="1089589"/>
                </a:lnTo>
                <a:lnTo>
                  <a:pt x="1480754" y="1080499"/>
                </a:lnTo>
                <a:close/>
                <a:moveTo>
                  <a:pt x="860404" y="495300"/>
                </a:moveTo>
                <a:lnTo>
                  <a:pt x="836142" y="529631"/>
                </a:lnTo>
                <a:lnTo>
                  <a:pt x="816614" y="529039"/>
                </a:lnTo>
                <a:cubicBezTo>
                  <a:pt x="841024" y="728808"/>
                  <a:pt x="846461" y="1036118"/>
                  <a:pt x="855392" y="1367817"/>
                </a:cubicBezTo>
                <a:lnTo>
                  <a:pt x="860030" y="1510704"/>
                </a:lnTo>
                <a:lnTo>
                  <a:pt x="871480" y="1500188"/>
                </a:lnTo>
                <a:cubicBezTo>
                  <a:pt x="888181" y="1504322"/>
                  <a:pt x="897456" y="1507312"/>
                  <a:pt x="904596" y="1509850"/>
                </a:cubicBezTo>
                <a:lnTo>
                  <a:pt x="911955" y="1512368"/>
                </a:lnTo>
                <a:lnTo>
                  <a:pt x="911627" y="1502004"/>
                </a:lnTo>
                <a:lnTo>
                  <a:pt x="917573" y="943459"/>
                </a:lnTo>
                <a:cubicBezTo>
                  <a:pt x="924708" y="877191"/>
                  <a:pt x="938384" y="825714"/>
                  <a:pt x="906275" y="807964"/>
                </a:cubicBezTo>
                <a:cubicBezTo>
                  <a:pt x="924708" y="796722"/>
                  <a:pt x="945520" y="781930"/>
                  <a:pt x="967520" y="763588"/>
                </a:cubicBezTo>
                <a:cubicBezTo>
                  <a:pt x="978818" y="774238"/>
                  <a:pt x="993683" y="776605"/>
                  <a:pt x="1027576" y="764771"/>
                </a:cubicBezTo>
                <a:lnTo>
                  <a:pt x="1055523" y="785480"/>
                </a:lnTo>
                <a:cubicBezTo>
                  <a:pt x="1032333" y="795539"/>
                  <a:pt x="1016873" y="824531"/>
                  <a:pt x="1000818" y="852340"/>
                </a:cubicBezTo>
                <a:cubicBezTo>
                  <a:pt x="1004386" y="864174"/>
                  <a:pt x="1004386" y="890208"/>
                  <a:pt x="1013900" y="915058"/>
                </a:cubicBezTo>
                <a:cubicBezTo>
                  <a:pt x="1024008" y="942867"/>
                  <a:pt x="1025792" y="981326"/>
                  <a:pt x="1034117" y="1019785"/>
                </a:cubicBezTo>
                <a:lnTo>
                  <a:pt x="1053739" y="1529222"/>
                </a:lnTo>
                <a:lnTo>
                  <a:pt x="1054178" y="1539189"/>
                </a:lnTo>
                <a:lnTo>
                  <a:pt x="1063559" y="1548835"/>
                </a:lnTo>
                <a:lnTo>
                  <a:pt x="1061601" y="1535871"/>
                </a:lnTo>
                <a:lnTo>
                  <a:pt x="1101249" y="1133967"/>
                </a:lnTo>
                <a:lnTo>
                  <a:pt x="1106574" y="762842"/>
                </a:lnTo>
                <a:lnTo>
                  <a:pt x="1107758" y="723776"/>
                </a:lnTo>
                <a:cubicBezTo>
                  <a:pt x="1094147" y="723184"/>
                  <a:pt x="1083496" y="722000"/>
                  <a:pt x="1057459" y="723184"/>
                </a:cubicBezTo>
                <a:lnTo>
                  <a:pt x="1036747" y="735022"/>
                </a:lnTo>
                <a:cubicBezTo>
                  <a:pt x="1029054" y="739757"/>
                  <a:pt x="1018994" y="742717"/>
                  <a:pt x="996508" y="736206"/>
                </a:cubicBezTo>
                <a:cubicBezTo>
                  <a:pt x="958635" y="671688"/>
                  <a:pt x="911887" y="610722"/>
                  <a:pt x="865138" y="549164"/>
                </a:cubicBezTo>
                <a:cubicBezTo>
                  <a:pt x="858037" y="534958"/>
                  <a:pt x="856853" y="517793"/>
                  <a:pt x="862771" y="495892"/>
                </a:cubicBezTo>
                <a:close/>
                <a:moveTo>
                  <a:pt x="1211378" y="0"/>
                </a:moveTo>
                <a:cubicBezTo>
                  <a:pt x="1301170" y="5921"/>
                  <a:pt x="1420499" y="103017"/>
                  <a:pt x="1411638" y="238006"/>
                </a:cubicBezTo>
                <a:cubicBezTo>
                  <a:pt x="1399823" y="279450"/>
                  <a:pt x="1395097" y="320301"/>
                  <a:pt x="1366742" y="364706"/>
                </a:cubicBezTo>
                <a:lnTo>
                  <a:pt x="1324209" y="457658"/>
                </a:lnTo>
                <a:cubicBezTo>
                  <a:pt x="1325981" y="473051"/>
                  <a:pt x="1326572" y="480156"/>
                  <a:pt x="1325981" y="481932"/>
                </a:cubicBezTo>
                <a:lnTo>
                  <a:pt x="1297626" y="509759"/>
                </a:lnTo>
                <a:cubicBezTo>
                  <a:pt x="1293491" y="575477"/>
                  <a:pt x="1288174" y="569556"/>
                  <a:pt x="1258637" y="594423"/>
                </a:cubicBezTo>
                <a:cubicBezTo>
                  <a:pt x="1209015" y="635866"/>
                  <a:pt x="1170617" y="671390"/>
                  <a:pt x="1137536" y="721714"/>
                </a:cubicBezTo>
                <a:lnTo>
                  <a:pt x="1131629" y="724674"/>
                </a:lnTo>
                <a:lnTo>
                  <a:pt x="1131629" y="728227"/>
                </a:lnTo>
                <a:cubicBezTo>
                  <a:pt x="1222012" y="792169"/>
                  <a:pt x="1299398" y="861439"/>
                  <a:pt x="1377375" y="930709"/>
                </a:cubicBezTo>
                <a:lnTo>
                  <a:pt x="1348429" y="1343371"/>
                </a:lnTo>
                <a:lnTo>
                  <a:pt x="1450627" y="1183517"/>
                </a:lnTo>
                <a:cubicBezTo>
                  <a:pt x="1455353" y="1153914"/>
                  <a:pt x="1469530" y="1147401"/>
                  <a:pt x="1481345" y="1134968"/>
                </a:cubicBezTo>
                <a:lnTo>
                  <a:pt x="1482280" y="1123842"/>
                </a:lnTo>
                <a:lnTo>
                  <a:pt x="1483207" y="1143551"/>
                </a:lnTo>
                <a:cubicBezTo>
                  <a:pt x="1484165" y="1153771"/>
                  <a:pt x="1485787" y="1157622"/>
                  <a:pt x="1488736" y="1168287"/>
                </a:cubicBezTo>
                <a:cubicBezTo>
                  <a:pt x="1506428" y="1151698"/>
                  <a:pt x="1521762" y="1143403"/>
                  <a:pt x="1540044" y="1137479"/>
                </a:cubicBezTo>
                <a:cubicBezTo>
                  <a:pt x="1553608" y="1151105"/>
                  <a:pt x="1561275" y="1165324"/>
                  <a:pt x="1564813" y="1178951"/>
                </a:cubicBezTo>
                <a:cubicBezTo>
                  <a:pt x="1442735" y="1253009"/>
                  <a:pt x="1453351" y="1318773"/>
                  <a:pt x="1325375" y="1455632"/>
                </a:cubicBezTo>
                <a:cubicBezTo>
                  <a:pt x="1373145" y="1649960"/>
                  <a:pt x="1403222" y="1628631"/>
                  <a:pt x="1440966" y="1763713"/>
                </a:cubicBezTo>
                <a:cubicBezTo>
                  <a:pt x="1536505" y="1469258"/>
                  <a:pt x="1512326" y="1486440"/>
                  <a:pt x="1830200" y="1031427"/>
                </a:cubicBezTo>
                <a:cubicBezTo>
                  <a:pt x="1817816" y="1029650"/>
                  <a:pt x="1810149" y="1030243"/>
                  <a:pt x="1788918" y="1023725"/>
                </a:cubicBezTo>
                <a:lnTo>
                  <a:pt x="1697507" y="1104301"/>
                </a:lnTo>
                <a:lnTo>
                  <a:pt x="1672737" y="1185468"/>
                </a:lnTo>
                <a:cubicBezTo>
                  <a:pt x="1658583" y="1182506"/>
                  <a:pt x="1652686" y="1188430"/>
                  <a:pt x="1646199" y="1190208"/>
                </a:cubicBezTo>
                <a:lnTo>
                  <a:pt x="1645609" y="1212722"/>
                </a:lnTo>
                <a:cubicBezTo>
                  <a:pt x="1646788" y="1215684"/>
                  <a:pt x="1645609" y="1218646"/>
                  <a:pt x="1645019" y="1221016"/>
                </a:cubicBezTo>
                <a:lnTo>
                  <a:pt x="1591352" y="1297444"/>
                </a:lnTo>
                <a:lnTo>
                  <a:pt x="1610814" y="1217461"/>
                </a:lnTo>
                <a:lnTo>
                  <a:pt x="1614352" y="1057496"/>
                </a:lnTo>
                <a:cubicBezTo>
                  <a:pt x="1613173" y="1055126"/>
                  <a:pt x="1604326" y="1042092"/>
                  <a:pt x="1590172" y="1020763"/>
                </a:cubicBezTo>
                <a:lnTo>
                  <a:pt x="1534598" y="1045544"/>
                </a:lnTo>
                <a:lnTo>
                  <a:pt x="1537982" y="1043348"/>
                </a:lnTo>
                <a:cubicBezTo>
                  <a:pt x="1556369" y="1033135"/>
                  <a:pt x="1574091" y="1024846"/>
                  <a:pt x="1591222" y="1017741"/>
                </a:cubicBezTo>
                <a:lnTo>
                  <a:pt x="1591813" y="996427"/>
                </a:lnTo>
                <a:cubicBezTo>
                  <a:pt x="1554596" y="935446"/>
                  <a:pt x="1526832" y="876240"/>
                  <a:pt x="1533330" y="820587"/>
                </a:cubicBezTo>
                <a:cubicBezTo>
                  <a:pt x="1535102" y="799273"/>
                  <a:pt x="1544554" y="756645"/>
                  <a:pt x="1526241" y="732371"/>
                </a:cubicBezTo>
                <a:lnTo>
                  <a:pt x="1524469" y="716978"/>
                </a:lnTo>
                <a:cubicBezTo>
                  <a:pt x="1503793" y="574885"/>
                  <a:pt x="1543963" y="458842"/>
                  <a:pt x="1762536" y="412662"/>
                </a:cubicBezTo>
                <a:cubicBezTo>
                  <a:pt x="2040773" y="442265"/>
                  <a:pt x="2028958" y="548834"/>
                  <a:pt x="2034865" y="657180"/>
                </a:cubicBezTo>
                <a:cubicBezTo>
                  <a:pt x="2046680" y="678494"/>
                  <a:pt x="2058495" y="698624"/>
                  <a:pt x="2067947" y="722306"/>
                </a:cubicBezTo>
                <a:lnTo>
                  <a:pt x="2072673" y="772631"/>
                </a:lnTo>
                <a:lnTo>
                  <a:pt x="2057313" y="722306"/>
                </a:lnTo>
                <a:lnTo>
                  <a:pt x="2053178" y="768486"/>
                </a:lnTo>
                <a:cubicBezTo>
                  <a:pt x="2072673" y="845454"/>
                  <a:pt x="2072082" y="920052"/>
                  <a:pt x="2031912" y="989323"/>
                </a:cubicBezTo>
                <a:lnTo>
                  <a:pt x="2018325" y="1002348"/>
                </a:lnTo>
                <a:lnTo>
                  <a:pt x="2021278" y="1042016"/>
                </a:lnTo>
                <a:cubicBezTo>
                  <a:pt x="2066765" y="1062145"/>
                  <a:pt x="2081534" y="1062145"/>
                  <a:pt x="2098074" y="1080499"/>
                </a:cubicBezTo>
                <a:cubicBezTo>
                  <a:pt x="2127020" y="1112470"/>
                  <a:pt x="2173688" y="1126679"/>
                  <a:pt x="2202044" y="1191805"/>
                </a:cubicBezTo>
                <a:cubicBezTo>
                  <a:pt x="2223901" y="1260484"/>
                  <a:pt x="2180777" y="1378302"/>
                  <a:pt x="2203816" y="1435140"/>
                </a:cubicBezTo>
                <a:cubicBezTo>
                  <a:pt x="2170144" y="1582561"/>
                  <a:pt x="2201453" y="1573088"/>
                  <a:pt x="2194955" y="1661896"/>
                </a:cubicBezTo>
                <a:cubicBezTo>
                  <a:pt x="2180777" y="1712813"/>
                  <a:pt x="2173688" y="1720510"/>
                  <a:pt x="2178414" y="1764914"/>
                </a:cubicBezTo>
                <a:cubicBezTo>
                  <a:pt x="2163646" y="1864971"/>
                  <a:pt x="2193774" y="1850170"/>
                  <a:pt x="2196727" y="1927729"/>
                </a:cubicBezTo>
                <a:cubicBezTo>
                  <a:pt x="2198499" y="1942530"/>
                  <a:pt x="2197318" y="1951411"/>
                  <a:pt x="2190229" y="1962660"/>
                </a:cubicBezTo>
                <a:cubicBezTo>
                  <a:pt x="2143561" y="2036667"/>
                  <a:pt x="2129974" y="2039627"/>
                  <a:pt x="2113433" y="2049692"/>
                </a:cubicBezTo>
                <a:cubicBezTo>
                  <a:pt x="2105163" y="2056796"/>
                  <a:pt x="2099256" y="2056204"/>
                  <a:pt x="2089804" y="2055612"/>
                </a:cubicBezTo>
                <a:cubicBezTo>
                  <a:pt x="1987016" y="2043771"/>
                  <a:pt x="1960433" y="2044955"/>
                  <a:pt x="1926170" y="2044363"/>
                </a:cubicBezTo>
                <a:lnTo>
                  <a:pt x="1962796" y="2303091"/>
                </a:lnTo>
                <a:lnTo>
                  <a:pt x="1934440" y="2454657"/>
                </a:lnTo>
                <a:lnTo>
                  <a:pt x="1917900" y="2684374"/>
                </a:lnTo>
                <a:lnTo>
                  <a:pt x="1865324" y="2883896"/>
                </a:lnTo>
                <a:lnTo>
                  <a:pt x="1167073" y="2883896"/>
                </a:lnTo>
                <a:cubicBezTo>
                  <a:pt x="1165892" y="2801601"/>
                  <a:pt x="1217876" y="2466498"/>
                  <a:pt x="1240915" y="2271712"/>
                </a:cubicBezTo>
                <a:cubicBezTo>
                  <a:pt x="1242097" y="2260463"/>
                  <a:pt x="1217286" y="2265199"/>
                  <a:pt x="1218467" y="2255135"/>
                </a:cubicBezTo>
                <a:cubicBezTo>
                  <a:pt x="1224374" y="2200666"/>
                  <a:pt x="1239143" y="2221979"/>
                  <a:pt x="1246822" y="2143236"/>
                </a:cubicBezTo>
                <a:cubicBezTo>
                  <a:pt x="1248004" y="2131395"/>
                  <a:pt x="1209015" y="2157446"/>
                  <a:pt x="1207243" y="2156854"/>
                </a:cubicBezTo>
                <a:cubicBezTo>
                  <a:pt x="1196019" y="2149157"/>
                  <a:pt x="1192475" y="2127251"/>
                  <a:pt x="1190702" y="2107121"/>
                </a:cubicBezTo>
                <a:cubicBezTo>
                  <a:pt x="1190112" y="2100016"/>
                  <a:pt x="1174753" y="2101792"/>
                  <a:pt x="1175343" y="2107121"/>
                </a:cubicBezTo>
                <a:cubicBezTo>
                  <a:pt x="1185977" y="2170471"/>
                  <a:pt x="1184204" y="2415581"/>
                  <a:pt x="1164119" y="2600894"/>
                </a:cubicBezTo>
                <a:cubicBezTo>
                  <a:pt x="1162938" y="2621024"/>
                  <a:pt x="1141081" y="2619840"/>
                  <a:pt x="1140490" y="2639378"/>
                </a:cubicBezTo>
                <a:cubicBezTo>
                  <a:pt x="1136945" y="2756012"/>
                  <a:pt x="1120996" y="2797456"/>
                  <a:pt x="1108590" y="2884488"/>
                </a:cubicBezTo>
                <a:lnTo>
                  <a:pt x="220122" y="2882712"/>
                </a:lnTo>
                <a:cubicBezTo>
                  <a:pt x="231346" y="2775550"/>
                  <a:pt x="246705" y="2654179"/>
                  <a:pt x="260292" y="2571884"/>
                </a:cubicBezTo>
                <a:cubicBezTo>
                  <a:pt x="185859" y="2547609"/>
                  <a:pt x="142145" y="2469458"/>
                  <a:pt x="83662" y="2416765"/>
                </a:cubicBezTo>
                <a:cubicBezTo>
                  <a:pt x="191176" y="1980421"/>
                  <a:pt x="200037" y="1868523"/>
                  <a:pt x="331180" y="1677882"/>
                </a:cubicBezTo>
                <a:lnTo>
                  <a:pt x="317003" y="1655976"/>
                </a:lnTo>
                <a:cubicBezTo>
                  <a:pt x="-3177" y="1612164"/>
                  <a:pt x="21044" y="1489016"/>
                  <a:pt x="959" y="1463558"/>
                </a:cubicBezTo>
                <a:cubicBezTo>
                  <a:pt x="-4949" y="1395472"/>
                  <a:pt x="17499" y="1364093"/>
                  <a:pt x="39947" y="1331530"/>
                </a:cubicBezTo>
                <a:cubicBezTo>
                  <a:pt x="119697" y="1081091"/>
                  <a:pt x="249068" y="863215"/>
                  <a:pt x="386710" y="654220"/>
                </a:cubicBezTo>
                <a:cubicBezTo>
                  <a:pt x="419200" y="618697"/>
                  <a:pt x="589923" y="608040"/>
                  <a:pt x="720476" y="592646"/>
                </a:cubicBezTo>
                <a:cubicBezTo>
                  <a:pt x="757692" y="574885"/>
                  <a:pt x="785457" y="550611"/>
                  <a:pt x="809677" y="525152"/>
                </a:cubicBezTo>
                <a:lnTo>
                  <a:pt x="835670" y="526336"/>
                </a:lnTo>
                <a:lnTo>
                  <a:pt x="860481" y="491997"/>
                </a:lnTo>
                <a:cubicBezTo>
                  <a:pt x="871705" y="487853"/>
                  <a:pt x="883519" y="486077"/>
                  <a:pt x="895334" y="487261"/>
                </a:cubicBezTo>
                <a:cubicBezTo>
                  <a:pt x="903014" y="448777"/>
                  <a:pt x="901241" y="441081"/>
                  <a:pt x="901832" y="424503"/>
                </a:cubicBezTo>
                <a:cubicBezTo>
                  <a:pt x="867569" y="369442"/>
                  <a:pt x="878203" y="309644"/>
                  <a:pt x="905967" y="257544"/>
                </a:cubicBezTo>
                <a:cubicBezTo>
                  <a:pt x="937867" y="97689"/>
                  <a:pt x="973311" y="15986"/>
                  <a:pt x="1211378" y="0"/>
                </a:cubicBezTo>
                <a:close/>
              </a:path>
            </a:pathLst>
          </a:custGeom>
          <a:solidFill>
            <a:schemeClr val="accent6">
              <a:lumMod val="75000"/>
            </a:schemeClr>
          </a:solidFill>
          <a:ln w="6350" cap="flat">
            <a:noFill/>
            <a:prstDash val="solid"/>
            <a:miter lim="800000"/>
            <a:headEnd/>
            <a:tailEnd/>
          </a:ln>
        </p:spPr>
        <p:txBody>
          <a:bodyPr vert="horz" wrap="square" lIns="91775" tIns="45887" rIns="91775" bIns="45887" numCol="1" anchor="t" anchorCtr="0" compatLnSpc="1">
            <a:prstTxWarp prst="textNoShape">
              <a:avLst/>
            </a:prstTxWarp>
            <a:noAutofit/>
          </a:bodyPr>
          <a:lstStyle/>
          <a:p>
            <a:pPr defTabSz="917783">
              <a:defRPr/>
            </a:pPr>
            <a:endParaRPr lang="en-US" sz="1807" kern="0" dirty="0">
              <a:solidFill>
                <a:prstClr val="black"/>
              </a:solidFill>
              <a:latin typeface="Calibri"/>
            </a:endParaRPr>
          </a:p>
        </p:txBody>
      </p:sp>
      <p:grpSp>
        <p:nvGrpSpPr>
          <p:cNvPr id="63" name="POWER_USER_ID_ICONS_Graph"/>
          <p:cNvGrpSpPr>
            <a:grpSpLocks noChangeAspect="1"/>
          </p:cNvGrpSpPr>
          <p:nvPr>
            <p:custDataLst>
              <p:tags r:id="rId4"/>
            </p:custDataLst>
          </p:nvPr>
        </p:nvGrpSpPr>
        <p:grpSpPr bwMode="auto">
          <a:xfrm>
            <a:off x="4798896" y="2393696"/>
            <a:ext cx="642420" cy="813807"/>
            <a:chOff x="959" y="1717"/>
            <a:chExt cx="2875" cy="3642"/>
          </a:xfrm>
          <a:solidFill>
            <a:srgbClr val="7030A0"/>
          </a:solidFill>
        </p:grpSpPr>
        <p:sp>
          <p:nvSpPr>
            <p:cNvPr id="64" name="Rectangle 467"/>
            <p:cNvSpPr>
              <a:spLocks noChangeArrowheads="1"/>
            </p:cNvSpPr>
            <p:nvPr/>
          </p:nvSpPr>
          <p:spPr bwMode="auto">
            <a:xfrm>
              <a:off x="3496" y="2056"/>
              <a:ext cx="338" cy="3303"/>
            </a:xfrm>
            <a:prstGeom prst="rect">
              <a:avLst/>
            </a:prstGeom>
            <a:grpFill/>
            <a:ln w="0">
              <a:noFill/>
              <a:prstDash val="solid"/>
              <a:miter lim="800000"/>
              <a:headEnd/>
              <a:tailEnd/>
            </a:ln>
          </p:spPr>
          <p:txBody>
            <a:bodyPr vert="horz" wrap="square" lIns="91775" tIns="45887" rIns="91775" bIns="45887" numCol="1" anchor="t" anchorCtr="0" compatLnSpc="1">
              <a:prstTxWarp prst="textNoShape">
                <a:avLst/>
              </a:prstTxWarp>
            </a:bodyPr>
            <a:lstStyle/>
            <a:p>
              <a:pPr defTabSz="917783">
                <a:defRPr/>
              </a:pPr>
              <a:endParaRPr lang="en-US" sz="1807" kern="0" dirty="0">
                <a:solidFill>
                  <a:sysClr val="windowText" lastClr="000000"/>
                </a:solidFill>
                <a:latin typeface="Calibri"/>
              </a:endParaRPr>
            </a:p>
          </p:txBody>
        </p:sp>
        <p:sp>
          <p:nvSpPr>
            <p:cNvPr id="65" name="Rectangle 468"/>
            <p:cNvSpPr>
              <a:spLocks noChangeArrowheads="1"/>
            </p:cNvSpPr>
            <p:nvPr/>
          </p:nvSpPr>
          <p:spPr bwMode="auto">
            <a:xfrm>
              <a:off x="3073" y="2605"/>
              <a:ext cx="339" cy="2754"/>
            </a:xfrm>
            <a:prstGeom prst="rect">
              <a:avLst/>
            </a:prstGeom>
            <a:grpFill/>
            <a:ln w="0">
              <a:noFill/>
              <a:prstDash val="solid"/>
              <a:miter lim="800000"/>
              <a:headEnd/>
              <a:tailEnd/>
            </a:ln>
          </p:spPr>
          <p:txBody>
            <a:bodyPr vert="horz" wrap="square" lIns="91775" tIns="45887" rIns="91775" bIns="45887" numCol="1" anchor="t" anchorCtr="0" compatLnSpc="1">
              <a:prstTxWarp prst="textNoShape">
                <a:avLst/>
              </a:prstTxWarp>
            </a:bodyPr>
            <a:lstStyle/>
            <a:p>
              <a:pPr defTabSz="917783">
                <a:defRPr/>
              </a:pPr>
              <a:endParaRPr lang="en-US" sz="1807" kern="0" dirty="0">
                <a:solidFill>
                  <a:sysClr val="windowText" lastClr="000000"/>
                </a:solidFill>
                <a:latin typeface="Calibri"/>
              </a:endParaRPr>
            </a:p>
          </p:txBody>
        </p:sp>
        <p:sp>
          <p:nvSpPr>
            <p:cNvPr id="66" name="Rectangle 469"/>
            <p:cNvSpPr>
              <a:spLocks noChangeArrowheads="1"/>
            </p:cNvSpPr>
            <p:nvPr/>
          </p:nvSpPr>
          <p:spPr bwMode="auto">
            <a:xfrm>
              <a:off x="2651" y="3157"/>
              <a:ext cx="338" cy="2202"/>
            </a:xfrm>
            <a:prstGeom prst="rect">
              <a:avLst/>
            </a:prstGeom>
            <a:grpFill/>
            <a:ln w="0">
              <a:noFill/>
              <a:prstDash val="solid"/>
              <a:miter lim="800000"/>
              <a:headEnd/>
              <a:tailEnd/>
            </a:ln>
          </p:spPr>
          <p:txBody>
            <a:bodyPr vert="horz" wrap="square" lIns="91775" tIns="45887" rIns="91775" bIns="45887" numCol="1" anchor="t" anchorCtr="0" compatLnSpc="1">
              <a:prstTxWarp prst="textNoShape">
                <a:avLst/>
              </a:prstTxWarp>
            </a:bodyPr>
            <a:lstStyle/>
            <a:p>
              <a:pPr defTabSz="917783">
                <a:defRPr/>
              </a:pPr>
              <a:endParaRPr lang="en-US" sz="1807" kern="0" dirty="0">
                <a:solidFill>
                  <a:sysClr val="windowText" lastClr="000000"/>
                </a:solidFill>
                <a:latin typeface="Calibri"/>
              </a:endParaRPr>
            </a:p>
          </p:txBody>
        </p:sp>
        <p:sp>
          <p:nvSpPr>
            <p:cNvPr id="67" name="Rectangle 470"/>
            <p:cNvSpPr>
              <a:spLocks noChangeArrowheads="1"/>
            </p:cNvSpPr>
            <p:nvPr/>
          </p:nvSpPr>
          <p:spPr bwMode="auto">
            <a:xfrm>
              <a:off x="2228" y="3706"/>
              <a:ext cx="338" cy="1653"/>
            </a:xfrm>
            <a:prstGeom prst="rect">
              <a:avLst/>
            </a:prstGeom>
            <a:grpFill/>
            <a:ln w="0">
              <a:noFill/>
              <a:prstDash val="solid"/>
              <a:miter lim="800000"/>
              <a:headEnd/>
              <a:tailEnd/>
            </a:ln>
          </p:spPr>
          <p:txBody>
            <a:bodyPr vert="horz" wrap="square" lIns="91775" tIns="45887" rIns="91775" bIns="45887" numCol="1" anchor="t" anchorCtr="0" compatLnSpc="1">
              <a:prstTxWarp prst="textNoShape">
                <a:avLst/>
              </a:prstTxWarp>
            </a:bodyPr>
            <a:lstStyle/>
            <a:p>
              <a:pPr defTabSz="917783">
                <a:defRPr/>
              </a:pPr>
              <a:endParaRPr lang="en-US" sz="1807" kern="0" dirty="0">
                <a:solidFill>
                  <a:sysClr val="windowText" lastClr="000000"/>
                </a:solidFill>
                <a:latin typeface="Calibri"/>
              </a:endParaRPr>
            </a:p>
          </p:txBody>
        </p:sp>
        <p:sp>
          <p:nvSpPr>
            <p:cNvPr id="68" name="Rectangle 471"/>
            <p:cNvSpPr>
              <a:spLocks noChangeArrowheads="1"/>
            </p:cNvSpPr>
            <p:nvPr/>
          </p:nvSpPr>
          <p:spPr bwMode="auto">
            <a:xfrm>
              <a:off x="1805" y="4258"/>
              <a:ext cx="338" cy="1101"/>
            </a:xfrm>
            <a:prstGeom prst="rect">
              <a:avLst/>
            </a:prstGeom>
            <a:grpFill/>
            <a:ln w="0">
              <a:noFill/>
              <a:prstDash val="solid"/>
              <a:miter lim="800000"/>
              <a:headEnd/>
              <a:tailEnd/>
            </a:ln>
          </p:spPr>
          <p:txBody>
            <a:bodyPr vert="horz" wrap="square" lIns="91775" tIns="45887" rIns="91775" bIns="45887" numCol="1" anchor="t" anchorCtr="0" compatLnSpc="1">
              <a:prstTxWarp prst="textNoShape">
                <a:avLst/>
              </a:prstTxWarp>
            </a:bodyPr>
            <a:lstStyle/>
            <a:p>
              <a:pPr defTabSz="917783">
                <a:defRPr/>
              </a:pPr>
              <a:endParaRPr lang="en-US" sz="1807" kern="0" dirty="0">
                <a:solidFill>
                  <a:sysClr val="windowText" lastClr="000000"/>
                </a:solidFill>
                <a:latin typeface="Calibri"/>
              </a:endParaRPr>
            </a:p>
          </p:txBody>
        </p:sp>
        <p:sp>
          <p:nvSpPr>
            <p:cNvPr id="69" name="Rectangle 472"/>
            <p:cNvSpPr>
              <a:spLocks noChangeArrowheads="1"/>
            </p:cNvSpPr>
            <p:nvPr/>
          </p:nvSpPr>
          <p:spPr bwMode="auto">
            <a:xfrm>
              <a:off x="1382" y="4807"/>
              <a:ext cx="338" cy="552"/>
            </a:xfrm>
            <a:prstGeom prst="rect">
              <a:avLst/>
            </a:prstGeom>
            <a:grpFill/>
            <a:ln w="0">
              <a:noFill/>
              <a:prstDash val="solid"/>
              <a:miter lim="800000"/>
              <a:headEnd/>
              <a:tailEnd/>
            </a:ln>
          </p:spPr>
          <p:txBody>
            <a:bodyPr vert="horz" wrap="square" lIns="91775" tIns="45887" rIns="91775" bIns="45887" numCol="1" anchor="t" anchorCtr="0" compatLnSpc="1">
              <a:prstTxWarp prst="textNoShape">
                <a:avLst/>
              </a:prstTxWarp>
            </a:bodyPr>
            <a:lstStyle/>
            <a:p>
              <a:pPr defTabSz="917783">
                <a:defRPr/>
              </a:pPr>
              <a:endParaRPr lang="en-US" sz="1807" kern="0" dirty="0">
                <a:solidFill>
                  <a:sysClr val="windowText" lastClr="000000"/>
                </a:solidFill>
                <a:latin typeface="Calibri"/>
              </a:endParaRPr>
            </a:p>
          </p:txBody>
        </p:sp>
        <p:sp>
          <p:nvSpPr>
            <p:cNvPr id="70" name="Rectangle 473"/>
            <p:cNvSpPr>
              <a:spLocks noChangeArrowheads="1"/>
            </p:cNvSpPr>
            <p:nvPr/>
          </p:nvSpPr>
          <p:spPr bwMode="auto">
            <a:xfrm>
              <a:off x="959" y="5190"/>
              <a:ext cx="339" cy="169"/>
            </a:xfrm>
            <a:prstGeom prst="rect">
              <a:avLst/>
            </a:prstGeom>
            <a:grpFill/>
            <a:ln w="0">
              <a:noFill/>
              <a:prstDash val="solid"/>
              <a:miter lim="800000"/>
              <a:headEnd/>
              <a:tailEnd/>
            </a:ln>
          </p:spPr>
          <p:txBody>
            <a:bodyPr vert="horz" wrap="square" lIns="91775" tIns="45887" rIns="91775" bIns="45887" numCol="1" anchor="t" anchorCtr="0" compatLnSpc="1">
              <a:prstTxWarp prst="textNoShape">
                <a:avLst/>
              </a:prstTxWarp>
            </a:bodyPr>
            <a:lstStyle/>
            <a:p>
              <a:pPr defTabSz="917783">
                <a:defRPr/>
              </a:pPr>
              <a:endParaRPr lang="en-US" sz="1807" kern="0" dirty="0">
                <a:solidFill>
                  <a:sysClr val="windowText" lastClr="000000"/>
                </a:solidFill>
                <a:latin typeface="Calibri"/>
              </a:endParaRPr>
            </a:p>
          </p:txBody>
        </p:sp>
        <p:sp>
          <p:nvSpPr>
            <p:cNvPr id="71" name="Freeform 474"/>
            <p:cNvSpPr>
              <a:spLocks/>
            </p:cNvSpPr>
            <p:nvPr/>
          </p:nvSpPr>
          <p:spPr bwMode="auto">
            <a:xfrm>
              <a:off x="1044" y="1717"/>
              <a:ext cx="2050" cy="3175"/>
            </a:xfrm>
            <a:custGeom>
              <a:avLst/>
              <a:gdLst>
                <a:gd name="T0" fmla="*/ 588 w 606"/>
                <a:gd name="T1" fmla="*/ 0 h 937"/>
                <a:gd name="T2" fmla="*/ 500 w 606"/>
                <a:gd name="T3" fmla="*/ 78 h 937"/>
                <a:gd name="T4" fmla="*/ 546 w 606"/>
                <a:gd name="T5" fmla="*/ 67 h 937"/>
                <a:gd name="T6" fmla="*/ 300 w 606"/>
                <a:gd name="T7" fmla="*/ 525 h 937"/>
                <a:gd name="T8" fmla="*/ 0 w 606"/>
                <a:gd name="T9" fmla="*/ 937 h 937"/>
                <a:gd name="T10" fmla="*/ 187 w 606"/>
                <a:gd name="T11" fmla="*/ 712 h 937"/>
                <a:gd name="T12" fmla="*/ 578 w 606"/>
                <a:gd name="T13" fmla="*/ 76 h 937"/>
                <a:gd name="T14" fmla="*/ 606 w 606"/>
                <a:gd name="T15" fmla="*/ 121 h 937"/>
                <a:gd name="T16" fmla="*/ 588 w 606"/>
                <a:gd name="T1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6" h="937">
                  <a:moveTo>
                    <a:pt x="588" y="0"/>
                  </a:moveTo>
                  <a:lnTo>
                    <a:pt x="500" y="78"/>
                  </a:lnTo>
                  <a:lnTo>
                    <a:pt x="546" y="67"/>
                  </a:lnTo>
                  <a:cubicBezTo>
                    <a:pt x="483" y="213"/>
                    <a:pt x="393" y="384"/>
                    <a:pt x="300" y="525"/>
                  </a:cubicBezTo>
                  <a:cubicBezTo>
                    <a:pt x="225" y="637"/>
                    <a:pt x="15" y="907"/>
                    <a:pt x="0" y="937"/>
                  </a:cubicBezTo>
                  <a:cubicBezTo>
                    <a:pt x="0" y="937"/>
                    <a:pt x="99" y="824"/>
                    <a:pt x="187" y="712"/>
                  </a:cubicBezTo>
                  <a:cubicBezTo>
                    <a:pt x="375" y="475"/>
                    <a:pt x="450" y="337"/>
                    <a:pt x="578" y="76"/>
                  </a:cubicBezTo>
                  <a:lnTo>
                    <a:pt x="606" y="121"/>
                  </a:lnTo>
                  <a:lnTo>
                    <a:pt x="588" y="0"/>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defTabSz="917783">
                <a:defRPr/>
              </a:pPr>
              <a:endParaRPr lang="en-US" sz="1807" kern="0" dirty="0">
                <a:solidFill>
                  <a:sysClr val="windowText" lastClr="000000"/>
                </a:solidFill>
                <a:latin typeface="Calibri"/>
              </a:endParaRPr>
            </a:p>
          </p:txBody>
        </p:sp>
      </p:grpSp>
      <p:sp>
        <p:nvSpPr>
          <p:cNvPr id="72" name="POWER_USER_ID_ICONS_Hand_Plant"/>
          <p:cNvSpPr>
            <a:spLocks noChangeAspect="1" noEditPoints="1"/>
          </p:cNvSpPr>
          <p:nvPr>
            <p:custDataLst>
              <p:tags r:id="rId5"/>
            </p:custDataLst>
          </p:nvPr>
        </p:nvSpPr>
        <p:spPr bwMode="auto">
          <a:xfrm>
            <a:off x="6789710" y="2410000"/>
            <a:ext cx="872430" cy="676847"/>
          </a:xfrm>
          <a:custGeom>
            <a:avLst/>
            <a:gdLst>
              <a:gd name="T0" fmla="*/ 480 w 1055"/>
              <a:gd name="T1" fmla="*/ 808 h 818"/>
              <a:gd name="T2" fmla="*/ 109 w 1055"/>
              <a:gd name="T3" fmla="*/ 763 h 818"/>
              <a:gd name="T4" fmla="*/ 78 w 1055"/>
              <a:gd name="T5" fmla="*/ 757 h 818"/>
              <a:gd name="T6" fmla="*/ 11 w 1055"/>
              <a:gd name="T7" fmla="*/ 549 h 818"/>
              <a:gd name="T8" fmla="*/ 468 w 1055"/>
              <a:gd name="T9" fmla="*/ 459 h 818"/>
              <a:gd name="T10" fmla="*/ 547 w 1055"/>
              <a:gd name="T11" fmla="*/ 456 h 818"/>
              <a:gd name="T12" fmla="*/ 561 w 1055"/>
              <a:gd name="T13" fmla="*/ 462 h 818"/>
              <a:gd name="T14" fmla="*/ 599 w 1055"/>
              <a:gd name="T15" fmla="*/ 461 h 818"/>
              <a:gd name="T16" fmla="*/ 637 w 1055"/>
              <a:gd name="T17" fmla="*/ 348 h 818"/>
              <a:gd name="T18" fmla="*/ 532 w 1055"/>
              <a:gd name="T19" fmla="*/ 15 h 818"/>
              <a:gd name="T20" fmla="*/ 551 w 1055"/>
              <a:gd name="T21" fmla="*/ 0 h 818"/>
              <a:gd name="T22" fmla="*/ 675 w 1055"/>
              <a:gd name="T23" fmla="*/ 229 h 818"/>
              <a:gd name="T24" fmla="*/ 656 w 1055"/>
              <a:gd name="T25" fmla="*/ 401 h 818"/>
              <a:gd name="T26" fmla="*/ 646 w 1055"/>
              <a:gd name="T27" fmla="*/ 470 h 818"/>
              <a:gd name="T28" fmla="*/ 658 w 1055"/>
              <a:gd name="T29" fmla="*/ 470 h 818"/>
              <a:gd name="T30" fmla="*/ 701 w 1055"/>
              <a:gd name="T31" fmla="*/ 458 h 818"/>
              <a:gd name="T32" fmla="*/ 738 w 1055"/>
              <a:gd name="T33" fmla="*/ 463 h 818"/>
              <a:gd name="T34" fmla="*/ 735 w 1055"/>
              <a:gd name="T35" fmla="*/ 543 h 818"/>
              <a:gd name="T36" fmla="*/ 778 w 1055"/>
              <a:gd name="T37" fmla="*/ 572 h 818"/>
              <a:gd name="T38" fmla="*/ 1026 w 1055"/>
              <a:gd name="T39" fmla="*/ 455 h 818"/>
              <a:gd name="T40" fmla="*/ 1046 w 1055"/>
              <a:gd name="T41" fmla="*/ 544 h 818"/>
              <a:gd name="T42" fmla="*/ 564 w 1055"/>
              <a:gd name="T43" fmla="*/ 817 h 818"/>
              <a:gd name="T44" fmla="*/ 487 w 1055"/>
              <a:gd name="T45" fmla="*/ 771 h 818"/>
              <a:gd name="T46" fmla="*/ 1014 w 1055"/>
              <a:gd name="T47" fmla="*/ 521 h 818"/>
              <a:gd name="T48" fmla="*/ 995 w 1055"/>
              <a:gd name="T49" fmla="*/ 476 h 818"/>
              <a:gd name="T50" fmla="*/ 790 w 1055"/>
              <a:gd name="T51" fmla="*/ 613 h 818"/>
              <a:gd name="T52" fmla="*/ 786 w 1055"/>
              <a:gd name="T53" fmla="*/ 617 h 818"/>
              <a:gd name="T54" fmla="*/ 513 w 1055"/>
              <a:gd name="T55" fmla="*/ 667 h 818"/>
              <a:gd name="T56" fmla="*/ 436 w 1055"/>
              <a:gd name="T57" fmla="*/ 632 h 818"/>
              <a:gd name="T58" fmla="*/ 530 w 1055"/>
              <a:gd name="T59" fmla="*/ 633 h 818"/>
              <a:gd name="T60" fmla="*/ 741 w 1055"/>
              <a:gd name="T61" fmla="*/ 611 h 818"/>
              <a:gd name="T62" fmla="*/ 752 w 1055"/>
              <a:gd name="T63" fmla="*/ 600 h 818"/>
              <a:gd name="T64" fmla="*/ 710 w 1055"/>
              <a:gd name="T65" fmla="*/ 574 h 818"/>
              <a:gd name="T66" fmla="*/ 650 w 1055"/>
              <a:gd name="T67" fmla="*/ 563 h 818"/>
              <a:gd name="T68" fmla="*/ 467 w 1055"/>
              <a:gd name="T69" fmla="*/ 500 h 818"/>
              <a:gd name="T70" fmla="*/ 465 w 1055"/>
              <a:gd name="T71" fmla="*/ 499 h 818"/>
              <a:gd name="T72" fmla="*/ 102 w 1055"/>
              <a:gd name="T73" fmla="*/ 536 h 818"/>
              <a:gd name="T74" fmla="*/ 377 w 1055"/>
              <a:gd name="T75" fmla="*/ 737 h 818"/>
              <a:gd name="T76" fmla="*/ 44 w 1055"/>
              <a:gd name="T77" fmla="*/ 572 h 818"/>
              <a:gd name="T78" fmla="*/ 132 w 1055"/>
              <a:gd name="T79" fmla="*/ 702 h 818"/>
              <a:gd name="T80" fmla="*/ 44 w 1055"/>
              <a:gd name="T81" fmla="*/ 572 h 818"/>
              <a:gd name="T82" fmla="*/ 538 w 1055"/>
              <a:gd name="T83" fmla="*/ 495 h 818"/>
              <a:gd name="T84" fmla="*/ 696 w 1055"/>
              <a:gd name="T85" fmla="*/ 532 h 818"/>
              <a:gd name="T86" fmla="*/ 712 w 1055"/>
              <a:gd name="T87" fmla="*/ 495 h 818"/>
              <a:gd name="T88" fmla="*/ 712 w 1055"/>
              <a:gd name="T89" fmla="*/ 493 h 818"/>
              <a:gd name="T90" fmla="*/ 653 w 1055"/>
              <a:gd name="T91" fmla="*/ 513 h 818"/>
              <a:gd name="T92" fmla="*/ 625 w 1055"/>
              <a:gd name="T93" fmla="*/ 501 h 818"/>
              <a:gd name="T94" fmla="*/ 608 w 1055"/>
              <a:gd name="T95" fmla="*/ 510 h 818"/>
              <a:gd name="T96" fmla="*/ 526 w 1055"/>
              <a:gd name="T97" fmla="*/ 488 h 818"/>
              <a:gd name="T98" fmla="*/ 567 w 1055"/>
              <a:gd name="T99" fmla="*/ 41 h 818"/>
              <a:gd name="T100" fmla="*/ 602 w 1055"/>
              <a:gd name="T101" fmla="*/ 66 h 818"/>
              <a:gd name="T102" fmla="*/ 394 w 1055"/>
              <a:gd name="T103" fmla="*/ 647 h 818"/>
              <a:gd name="T104" fmla="*/ 339 w 1055"/>
              <a:gd name="T105" fmla="*/ 647 h 818"/>
              <a:gd name="T106" fmla="*/ 336 w 1055"/>
              <a:gd name="T107" fmla="*/ 609 h 818"/>
              <a:gd name="T108" fmla="*/ 412 w 1055"/>
              <a:gd name="T109" fmla="*/ 63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818">
                <a:moveTo>
                  <a:pt x="564" y="817"/>
                </a:moveTo>
                <a:cubicBezTo>
                  <a:pt x="521" y="817"/>
                  <a:pt x="489" y="810"/>
                  <a:pt x="480" y="808"/>
                </a:cubicBezTo>
                <a:cubicBezTo>
                  <a:pt x="446" y="808"/>
                  <a:pt x="407" y="791"/>
                  <a:pt x="362" y="771"/>
                </a:cubicBezTo>
                <a:cubicBezTo>
                  <a:pt x="277" y="735"/>
                  <a:pt x="182" y="693"/>
                  <a:pt x="109" y="763"/>
                </a:cubicBezTo>
                <a:cubicBezTo>
                  <a:pt x="104" y="768"/>
                  <a:pt x="98" y="769"/>
                  <a:pt x="92" y="768"/>
                </a:cubicBezTo>
                <a:cubicBezTo>
                  <a:pt x="86" y="767"/>
                  <a:pt x="81" y="762"/>
                  <a:pt x="78" y="757"/>
                </a:cubicBezTo>
                <a:lnTo>
                  <a:pt x="3" y="572"/>
                </a:lnTo>
                <a:cubicBezTo>
                  <a:pt x="0" y="563"/>
                  <a:pt x="3" y="554"/>
                  <a:pt x="11" y="549"/>
                </a:cubicBezTo>
                <a:cubicBezTo>
                  <a:pt x="31" y="536"/>
                  <a:pt x="210" y="420"/>
                  <a:pt x="271" y="411"/>
                </a:cubicBezTo>
                <a:cubicBezTo>
                  <a:pt x="328" y="402"/>
                  <a:pt x="408" y="431"/>
                  <a:pt x="468" y="459"/>
                </a:cubicBezTo>
                <a:cubicBezTo>
                  <a:pt x="474" y="453"/>
                  <a:pt x="481" y="448"/>
                  <a:pt x="491" y="445"/>
                </a:cubicBezTo>
                <a:cubicBezTo>
                  <a:pt x="508" y="439"/>
                  <a:pt x="527" y="443"/>
                  <a:pt x="547" y="456"/>
                </a:cubicBezTo>
                <a:cubicBezTo>
                  <a:pt x="554" y="461"/>
                  <a:pt x="558" y="462"/>
                  <a:pt x="560" y="463"/>
                </a:cubicBezTo>
                <a:cubicBezTo>
                  <a:pt x="560" y="462"/>
                  <a:pt x="560" y="462"/>
                  <a:pt x="561" y="462"/>
                </a:cubicBezTo>
                <a:cubicBezTo>
                  <a:pt x="564" y="459"/>
                  <a:pt x="571" y="452"/>
                  <a:pt x="582" y="453"/>
                </a:cubicBezTo>
                <a:cubicBezTo>
                  <a:pt x="589" y="454"/>
                  <a:pt x="594" y="457"/>
                  <a:pt x="599" y="461"/>
                </a:cubicBezTo>
                <a:cubicBezTo>
                  <a:pt x="604" y="438"/>
                  <a:pt x="611" y="413"/>
                  <a:pt x="621" y="388"/>
                </a:cubicBezTo>
                <a:cubicBezTo>
                  <a:pt x="627" y="372"/>
                  <a:pt x="633" y="359"/>
                  <a:pt x="637" y="348"/>
                </a:cubicBezTo>
                <a:cubicBezTo>
                  <a:pt x="658" y="299"/>
                  <a:pt x="662" y="290"/>
                  <a:pt x="643" y="248"/>
                </a:cubicBezTo>
                <a:cubicBezTo>
                  <a:pt x="625" y="234"/>
                  <a:pt x="511" y="139"/>
                  <a:pt x="532" y="15"/>
                </a:cubicBezTo>
                <a:cubicBezTo>
                  <a:pt x="534" y="6"/>
                  <a:pt x="542" y="0"/>
                  <a:pt x="551" y="0"/>
                </a:cubicBezTo>
                <a:lnTo>
                  <a:pt x="551" y="0"/>
                </a:lnTo>
                <a:cubicBezTo>
                  <a:pt x="553" y="0"/>
                  <a:pt x="595" y="1"/>
                  <a:pt x="630" y="40"/>
                </a:cubicBezTo>
                <a:cubicBezTo>
                  <a:pt x="666" y="80"/>
                  <a:pt x="681" y="144"/>
                  <a:pt x="675" y="229"/>
                </a:cubicBezTo>
                <a:cubicBezTo>
                  <a:pt x="702" y="288"/>
                  <a:pt x="696" y="305"/>
                  <a:pt x="672" y="362"/>
                </a:cubicBezTo>
                <a:cubicBezTo>
                  <a:pt x="667" y="373"/>
                  <a:pt x="662" y="386"/>
                  <a:pt x="656" y="401"/>
                </a:cubicBezTo>
                <a:cubicBezTo>
                  <a:pt x="648" y="422"/>
                  <a:pt x="642" y="443"/>
                  <a:pt x="637" y="462"/>
                </a:cubicBezTo>
                <a:cubicBezTo>
                  <a:pt x="641" y="464"/>
                  <a:pt x="643" y="467"/>
                  <a:pt x="646" y="470"/>
                </a:cubicBezTo>
                <a:cubicBezTo>
                  <a:pt x="649" y="473"/>
                  <a:pt x="652" y="474"/>
                  <a:pt x="653" y="475"/>
                </a:cubicBezTo>
                <a:cubicBezTo>
                  <a:pt x="654" y="474"/>
                  <a:pt x="657" y="471"/>
                  <a:pt x="658" y="470"/>
                </a:cubicBezTo>
                <a:cubicBezTo>
                  <a:pt x="663" y="465"/>
                  <a:pt x="678" y="449"/>
                  <a:pt x="696" y="460"/>
                </a:cubicBezTo>
                <a:cubicBezTo>
                  <a:pt x="697" y="459"/>
                  <a:pt x="699" y="458"/>
                  <a:pt x="701" y="458"/>
                </a:cubicBezTo>
                <a:cubicBezTo>
                  <a:pt x="707" y="455"/>
                  <a:pt x="717" y="450"/>
                  <a:pt x="728" y="455"/>
                </a:cubicBezTo>
                <a:cubicBezTo>
                  <a:pt x="731" y="456"/>
                  <a:pt x="735" y="458"/>
                  <a:pt x="738" y="463"/>
                </a:cubicBezTo>
                <a:cubicBezTo>
                  <a:pt x="750" y="467"/>
                  <a:pt x="750" y="478"/>
                  <a:pt x="750" y="495"/>
                </a:cubicBezTo>
                <a:cubicBezTo>
                  <a:pt x="750" y="518"/>
                  <a:pt x="742" y="534"/>
                  <a:pt x="735" y="543"/>
                </a:cubicBezTo>
                <a:cubicBezTo>
                  <a:pt x="747" y="548"/>
                  <a:pt x="760" y="556"/>
                  <a:pt x="772" y="566"/>
                </a:cubicBezTo>
                <a:cubicBezTo>
                  <a:pt x="774" y="568"/>
                  <a:pt x="776" y="570"/>
                  <a:pt x="778" y="572"/>
                </a:cubicBezTo>
                <a:cubicBezTo>
                  <a:pt x="824" y="530"/>
                  <a:pt x="941" y="430"/>
                  <a:pt x="997" y="437"/>
                </a:cubicBezTo>
                <a:cubicBezTo>
                  <a:pt x="1010" y="439"/>
                  <a:pt x="1020" y="445"/>
                  <a:pt x="1026" y="455"/>
                </a:cubicBezTo>
                <a:cubicBezTo>
                  <a:pt x="1035" y="465"/>
                  <a:pt x="1044" y="488"/>
                  <a:pt x="1053" y="524"/>
                </a:cubicBezTo>
                <a:cubicBezTo>
                  <a:pt x="1055" y="532"/>
                  <a:pt x="1052" y="540"/>
                  <a:pt x="1046" y="544"/>
                </a:cubicBezTo>
                <a:cubicBezTo>
                  <a:pt x="1044" y="545"/>
                  <a:pt x="907" y="638"/>
                  <a:pt x="853" y="696"/>
                </a:cubicBezTo>
                <a:cubicBezTo>
                  <a:pt x="758" y="796"/>
                  <a:pt x="642" y="817"/>
                  <a:pt x="564" y="817"/>
                </a:cubicBezTo>
                <a:close/>
                <a:moveTo>
                  <a:pt x="482" y="771"/>
                </a:moveTo>
                <a:cubicBezTo>
                  <a:pt x="484" y="771"/>
                  <a:pt x="485" y="771"/>
                  <a:pt x="487" y="771"/>
                </a:cubicBezTo>
                <a:cubicBezTo>
                  <a:pt x="488" y="772"/>
                  <a:pt x="687" y="818"/>
                  <a:pt x="825" y="670"/>
                </a:cubicBezTo>
                <a:cubicBezTo>
                  <a:pt x="874" y="618"/>
                  <a:pt x="979" y="544"/>
                  <a:pt x="1014" y="521"/>
                </a:cubicBezTo>
                <a:cubicBezTo>
                  <a:pt x="1005" y="491"/>
                  <a:pt x="999" y="481"/>
                  <a:pt x="998" y="480"/>
                </a:cubicBezTo>
                <a:cubicBezTo>
                  <a:pt x="997" y="479"/>
                  <a:pt x="996" y="478"/>
                  <a:pt x="995" y="476"/>
                </a:cubicBezTo>
                <a:cubicBezTo>
                  <a:pt x="995" y="475"/>
                  <a:pt x="995" y="475"/>
                  <a:pt x="992" y="475"/>
                </a:cubicBezTo>
                <a:cubicBezTo>
                  <a:pt x="958" y="470"/>
                  <a:pt x="853" y="553"/>
                  <a:pt x="790" y="613"/>
                </a:cubicBezTo>
                <a:cubicBezTo>
                  <a:pt x="789" y="614"/>
                  <a:pt x="787" y="615"/>
                  <a:pt x="786" y="616"/>
                </a:cubicBezTo>
                <a:cubicBezTo>
                  <a:pt x="786" y="616"/>
                  <a:pt x="786" y="616"/>
                  <a:pt x="786" y="617"/>
                </a:cubicBezTo>
                <a:cubicBezTo>
                  <a:pt x="760" y="669"/>
                  <a:pt x="604" y="696"/>
                  <a:pt x="569" y="688"/>
                </a:cubicBezTo>
                <a:cubicBezTo>
                  <a:pt x="549" y="684"/>
                  <a:pt x="531" y="675"/>
                  <a:pt x="513" y="667"/>
                </a:cubicBezTo>
                <a:cubicBezTo>
                  <a:pt x="493" y="657"/>
                  <a:pt x="474" y="647"/>
                  <a:pt x="457" y="649"/>
                </a:cubicBezTo>
                <a:cubicBezTo>
                  <a:pt x="446" y="650"/>
                  <a:pt x="437" y="642"/>
                  <a:pt x="436" y="632"/>
                </a:cubicBezTo>
                <a:cubicBezTo>
                  <a:pt x="435" y="622"/>
                  <a:pt x="443" y="612"/>
                  <a:pt x="453" y="611"/>
                </a:cubicBezTo>
                <a:cubicBezTo>
                  <a:pt x="481" y="609"/>
                  <a:pt x="506" y="621"/>
                  <a:pt x="530" y="633"/>
                </a:cubicBezTo>
                <a:cubicBezTo>
                  <a:pt x="546" y="641"/>
                  <a:pt x="561" y="649"/>
                  <a:pt x="576" y="652"/>
                </a:cubicBezTo>
                <a:cubicBezTo>
                  <a:pt x="600" y="657"/>
                  <a:pt x="700" y="638"/>
                  <a:pt x="741" y="611"/>
                </a:cubicBezTo>
                <a:cubicBezTo>
                  <a:pt x="749" y="605"/>
                  <a:pt x="752" y="601"/>
                  <a:pt x="752" y="600"/>
                </a:cubicBezTo>
                <a:lnTo>
                  <a:pt x="752" y="600"/>
                </a:lnTo>
                <a:cubicBezTo>
                  <a:pt x="752" y="600"/>
                  <a:pt x="751" y="598"/>
                  <a:pt x="747" y="594"/>
                </a:cubicBezTo>
                <a:cubicBezTo>
                  <a:pt x="735" y="584"/>
                  <a:pt x="723" y="578"/>
                  <a:pt x="710" y="574"/>
                </a:cubicBezTo>
                <a:cubicBezTo>
                  <a:pt x="708" y="573"/>
                  <a:pt x="707" y="573"/>
                  <a:pt x="706" y="573"/>
                </a:cubicBezTo>
                <a:cubicBezTo>
                  <a:pt x="689" y="568"/>
                  <a:pt x="671" y="566"/>
                  <a:pt x="650" y="563"/>
                </a:cubicBezTo>
                <a:cubicBezTo>
                  <a:pt x="611" y="559"/>
                  <a:pt x="567" y="554"/>
                  <a:pt x="519" y="527"/>
                </a:cubicBezTo>
                <a:cubicBezTo>
                  <a:pt x="501" y="517"/>
                  <a:pt x="484" y="508"/>
                  <a:pt x="467" y="500"/>
                </a:cubicBezTo>
                <a:cubicBezTo>
                  <a:pt x="467" y="500"/>
                  <a:pt x="467" y="500"/>
                  <a:pt x="467" y="500"/>
                </a:cubicBezTo>
                <a:cubicBezTo>
                  <a:pt x="466" y="500"/>
                  <a:pt x="466" y="499"/>
                  <a:pt x="465" y="499"/>
                </a:cubicBezTo>
                <a:cubicBezTo>
                  <a:pt x="387" y="461"/>
                  <a:pt x="316" y="441"/>
                  <a:pt x="277" y="448"/>
                </a:cubicBezTo>
                <a:cubicBezTo>
                  <a:pt x="246" y="452"/>
                  <a:pt x="166" y="497"/>
                  <a:pt x="102" y="536"/>
                </a:cubicBezTo>
                <a:lnTo>
                  <a:pt x="168" y="691"/>
                </a:lnTo>
                <a:cubicBezTo>
                  <a:pt x="239" y="677"/>
                  <a:pt x="313" y="709"/>
                  <a:pt x="377" y="737"/>
                </a:cubicBezTo>
                <a:cubicBezTo>
                  <a:pt x="417" y="755"/>
                  <a:pt x="455" y="771"/>
                  <a:pt x="482" y="771"/>
                </a:cubicBezTo>
                <a:close/>
                <a:moveTo>
                  <a:pt x="44" y="572"/>
                </a:moveTo>
                <a:lnTo>
                  <a:pt x="103" y="719"/>
                </a:lnTo>
                <a:cubicBezTo>
                  <a:pt x="113" y="712"/>
                  <a:pt x="122" y="707"/>
                  <a:pt x="132" y="702"/>
                </a:cubicBezTo>
                <a:lnTo>
                  <a:pt x="69" y="556"/>
                </a:lnTo>
                <a:cubicBezTo>
                  <a:pt x="60" y="562"/>
                  <a:pt x="52" y="567"/>
                  <a:pt x="44" y="572"/>
                </a:cubicBezTo>
                <a:close/>
                <a:moveTo>
                  <a:pt x="512" y="481"/>
                </a:moveTo>
                <a:cubicBezTo>
                  <a:pt x="523" y="486"/>
                  <a:pt x="531" y="491"/>
                  <a:pt x="538" y="495"/>
                </a:cubicBezTo>
                <a:cubicBezTo>
                  <a:pt x="579" y="518"/>
                  <a:pt x="617" y="522"/>
                  <a:pt x="654" y="526"/>
                </a:cubicBezTo>
                <a:cubicBezTo>
                  <a:pt x="668" y="528"/>
                  <a:pt x="682" y="529"/>
                  <a:pt x="696" y="532"/>
                </a:cubicBezTo>
                <a:cubicBezTo>
                  <a:pt x="697" y="528"/>
                  <a:pt x="700" y="525"/>
                  <a:pt x="703" y="523"/>
                </a:cubicBezTo>
                <a:cubicBezTo>
                  <a:pt x="703" y="523"/>
                  <a:pt x="712" y="515"/>
                  <a:pt x="712" y="495"/>
                </a:cubicBezTo>
                <a:lnTo>
                  <a:pt x="712" y="494"/>
                </a:lnTo>
                <a:cubicBezTo>
                  <a:pt x="712" y="494"/>
                  <a:pt x="712" y="494"/>
                  <a:pt x="712" y="493"/>
                </a:cubicBezTo>
                <a:cubicBezTo>
                  <a:pt x="705" y="496"/>
                  <a:pt x="696" y="499"/>
                  <a:pt x="685" y="496"/>
                </a:cubicBezTo>
                <a:cubicBezTo>
                  <a:pt x="679" y="502"/>
                  <a:pt x="669" y="513"/>
                  <a:pt x="653" y="513"/>
                </a:cubicBezTo>
                <a:lnTo>
                  <a:pt x="653" y="513"/>
                </a:lnTo>
                <a:cubicBezTo>
                  <a:pt x="643" y="513"/>
                  <a:pt x="634" y="509"/>
                  <a:pt x="625" y="501"/>
                </a:cubicBezTo>
                <a:cubicBezTo>
                  <a:pt x="623" y="502"/>
                  <a:pt x="622" y="503"/>
                  <a:pt x="620" y="503"/>
                </a:cubicBezTo>
                <a:cubicBezTo>
                  <a:pt x="617" y="506"/>
                  <a:pt x="614" y="509"/>
                  <a:pt x="608" y="510"/>
                </a:cubicBezTo>
                <a:cubicBezTo>
                  <a:pt x="594" y="512"/>
                  <a:pt x="584" y="500"/>
                  <a:pt x="579" y="495"/>
                </a:cubicBezTo>
                <a:cubicBezTo>
                  <a:pt x="564" y="504"/>
                  <a:pt x="548" y="502"/>
                  <a:pt x="526" y="488"/>
                </a:cubicBezTo>
                <a:cubicBezTo>
                  <a:pt x="522" y="485"/>
                  <a:pt x="517" y="482"/>
                  <a:pt x="512" y="481"/>
                </a:cubicBezTo>
                <a:close/>
                <a:moveTo>
                  <a:pt x="567" y="41"/>
                </a:moveTo>
                <a:cubicBezTo>
                  <a:pt x="565" y="107"/>
                  <a:pt x="608" y="163"/>
                  <a:pt x="639" y="194"/>
                </a:cubicBezTo>
                <a:cubicBezTo>
                  <a:pt x="639" y="137"/>
                  <a:pt x="626" y="93"/>
                  <a:pt x="602" y="66"/>
                </a:cubicBezTo>
                <a:cubicBezTo>
                  <a:pt x="590" y="52"/>
                  <a:pt x="577" y="45"/>
                  <a:pt x="567" y="41"/>
                </a:cubicBezTo>
                <a:close/>
                <a:moveTo>
                  <a:pt x="394" y="647"/>
                </a:moveTo>
                <a:cubicBezTo>
                  <a:pt x="393" y="647"/>
                  <a:pt x="392" y="647"/>
                  <a:pt x="392" y="647"/>
                </a:cubicBezTo>
                <a:cubicBezTo>
                  <a:pt x="392" y="647"/>
                  <a:pt x="369" y="645"/>
                  <a:pt x="339" y="647"/>
                </a:cubicBezTo>
                <a:cubicBezTo>
                  <a:pt x="328" y="647"/>
                  <a:pt x="319" y="639"/>
                  <a:pt x="319" y="629"/>
                </a:cubicBezTo>
                <a:cubicBezTo>
                  <a:pt x="318" y="619"/>
                  <a:pt x="326" y="610"/>
                  <a:pt x="336" y="609"/>
                </a:cubicBezTo>
                <a:cubicBezTo>
                  <a:pt x="370" y="607"/>
                  <a:pt x="394" y="610"/>
                  <a:pt x="395" y="610"/>
                </a:cubicBezTo>
                <a:cubicBezTo>
                  <a:pt x="406" y="611"/>
                  <a:pt x="413" y="620"/>
                  <a:pt x="412" y="630"/>
                </a:cubicBezTo>
                <a:cubicBezTo>
                  <a:pt x="411" y="640"/>
                  <a:pt x="403" y="647"/>
                  <a:pt x="394" y="647"/>
                </a:cubicBezTo>
                <a:close/>
              </a:path>
            </a:pathLst>
          </a:custGeom>
          <a:solidFill>
            <a:srgbClr val="00BAD5"/>
          </a:solidFill>
          <a:ln w="0">
            <a:noFill/>
            <a:prstDash val="solid"/>
            <a:round/>
            <a:headEnd/>
            <a:tailEnd/>
          </a:ln>
        </p:spPr>
        <p:txBody>
          <a:bodyPr vert="horz" wrap="square" lIns="91775" tIns="45887" rIns="91775" bIns="45887" numCol="1" anchor="t" anchorCtr="0" compatLnSpc="1">
            <a:prstTxWarp prst="textNoShape">
              <a:avLst/>
            </a:prstTxWarp>
          </a:bodyPr>
          <a:lstStyle/>
          <a:p>
            <a:pPr defTabSz="917783">
              <a:defRPr/>
            </a:pPr>
            <a:endParaRPr lang="en-US" sz="1807" kern="0" dirty="0">
              <a:solidFill>
                <a:sysClr val="windowText" lastClr="000000"/>
              </a:solidFill>
              <a:latin typeface="Calibri"/>
            </a:endParaRPr>
          </a:p>
        </p:txBody>
      </p:sp>
      <p:sp>
        <p:nvSpPr>
          <p:cNvPr id="33" name="Oval 32"/>
          <p:cNvSpPr>
            <a:spLocks noChangeAspect="1"/>
          </p:cNvSpPr>
          <p:nvPr/>
        </p:nvSpPr>
        <p:spPr>
          <a:xfrm>
            <a:off x="9013036" y="1505789"/>
            <a:ext cx="2281523" cy="2341361"/>
          </a:xfrm>
          <a:prstGeom prst="ellipse">
            <a:avLst/>
          </a:prstGeom>
          <a:noFill/>
          <a:ln w="4445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34" name="POWER_USER_ID_ICONS_Keys"/>
          <p:cNvSpPr>
            <a:spLocks noChangeAspect="1" noEditPoints="1"/>
          </p:cNvSpPr>
          <p:nvPr>
            <p:custDataLst>
              <p:tags r:id="rId6"/>
            </p:custDataLst>
          </p:nvPr>
        </p:nvSpPr>
        <p:spPr bwMode="auto">
          <a:xfrm>
            <a:off x="9591859" y="2030652"/>
            <a:ext cx="1292295" cy="1283564"/>
          </a:xfrm>
          <a:custGeom>
            <a:avLst/>
            <a:gdLst>
              <a:gd name="T0" fmla="*/ 668 w 1181"/>
              <a:gd name="T1" fmla="*/ 318 h 1171"/>
              <a:gd name="T2" fmla="*/ 988 w 1181"/>
              <a:gd name="T3" fmla="*/ 381 h 1171"/>
              <a:gd name="T4" fmla="*/ 993 w 1181"/>
              <a:gd name="T5" fmla="*/ 456 h 1171"/>
              <a:gd name="T6" fmla="*/ 1046 w 1181"/>
              <a:gd name="T7" fmla="*/ 412 h 1171"/>
              <a:gd name="T8" fmla="*/ 1093 w 1181"/>
              <a:gd name="T9" fmla="*/ 440 h 1171"/>
              <a:gd name="T10" fmla="*/ 1108 w 1181"/>
              <a:gd name="T11" fmla="*/ 456 h 1171"/>
              <a:gd name="T12" fmla="*/ 1150 w 1181"/>
              <a:gd name="T13" fmla="*/ 383 h 1171"/>
              <a:gd name="T14" fmla="*/ 1146 w 1181"/>
              <a:gd name="T15" fmla="*/ 308 h 1171"/>
              <a:gd name="T16" fmla="*/ 671 w 1181"/>
              <a:gd name="T17" fmla="*/ 238 h 1171"/>
              <a:gd name="T18" fmla="*/ 0 w 1181"/>
              <a:gd name="T19" fmla="*/ 281 h 1171"/>
              <a:gd name="T20" fmla="*/ 240 w 1181"/>
              <a:gd name="T21" fmla="*/ 1005 h 1171"/>
              <a:gd name="T22" fmla="*/ 163 w 1181"/>
              <a:gd name="T23" fmla="*/ 978 h 1171"/>
              <a:gd name="T24" fmla="*/ 97 w 1181"/>
              <a:gd name="T25" fmla="*/ 1025 h 1171"/>
              <a:gd name="T26" fmla="*/ 103 w 1181"/>
              <a:gd name="T27" fmla="*/ 1042 h 1171"/>
              <a:gd name="T28" fmla="*/ 136 w 1181"/>
              <a:gd name="T29" fmla="*/ 1093 h 1171"/>
              <a:gd name="T30" fmla="*/ 97 w 1181"/>
              <a:gd name="T31" fmla="*/ 1140 h 1171"/>
              <a:gd name="T32" fmla="*/ 192 w 1181"/>
              <a:gd name="T33" fmla="*/ 1115 h 1171"/>
              <a:gd name="T34" fmla="*/ 276 w 1181"/>
              <a:gd name="T35" fmla="*/ 1171 h 1171"/>
              <a:gd name="T36" fmla="*/ 435 w 1181"/>
              <a:gd name="T37" fmla="*/ 627 h 1171"/>
              <a:gd name="T38" fmla="*/ 537 w 1181"/>
              <a:gd name="T39" fmla="*/ 937 h 1171"/>
              <a:gd name="T40" fmla="*/ 476 w 1181"/>
              <a:gd name="T41" fmla="*/ 978 h 1171"/>
              <a:gd name="T42" fmla="*/ 542 w 1181"/>
              <a:gd name="T43" fmla="*/ 1002 h 1171"/>
              <a:gd name="T44" fmla="*/ 541 w 1181"/>
              <a:gd name="T45" fmla="*/ 1062 h 1171"/>
              <a:gd name="T46" fmla="*/ 534 w 1181"/>
              <a:gd name="T47" fmla="*/ 1086 h 1171"/>
              <a:gd name="T48" fmla="*/ 620 w 1181"/>
              <a:gd name="T49" fmla="*/ 1086 h 1171"/>
              <a:gd name="T50" fmla="*/ 682 w 1181"/>
              <a:gd name="T51" fmla="*/ 1043 h 1171"/>
              <a:gd name="T52" fmla="*/ 507 w 1181"/>
              <a:gd name="T53" fmla="*/ 596 h 1171"/>
              <a:gd name="T54" fmla="*/ 898 w 1181"/>
              <a:gd name="T55" fmla="*/ 671 h 1171"/>
              <a:gd name="T56" fmla="*/ 837 w 1181"/>
              <a:gd name="T57" fmla="*/ 723 h 1171"/>
              <a:gd name="T58" fmla="*/ 847 w 1181"/>
              <a:gd name="T59" fmla="*/ 806 h 1171"/>
              <a:gd name="T60" fmla="*/ 867 w 1181"/>
              <a:gd name="T61" fmla="*/ 808 h 1171"/>
              <a:gd name="T62" fmla="*/ 929 w 1181"/>
              <a:gd name="T63" fmla="*/ 806 h 1171"/>
              <a:gd name="T64" fmla="*/ 952 w 1181"/>
              <a:gd name="T65" fmla="*/ 863 h 1171"/>
              <a:gd name="T66" fmla="*/ 977 w 1181"/>
              <a:gd name="T67" fmla="*/ 768 h 1171"/>
              <a:gd name="T68" fmla="*/ 1068 w 1181"/>
              <a:gd name="T69" fmla="*/ 723 h 1171"/>
              <a:gd name="T70" fmla="*/ 517 w 1181"/>
              <a:gd name="T71" fmla="*/ 433 h 1171"/>
              <a:gd name="T72" fmla="*/ 300 w 1181"/>
              <a:gd name="T73" fmla="*/ 490 h 1171"/>
              <a:gd name="T74" fmla="*/ 300 w 1181"/>
              <a:gd name="T75" fmla="*/ 490 h 1171"/>
              <a:gd name="T76" fmla="*/ 387 w 1181"/>
              <a:gd name="T77" fmla="*/ 487 h 1171"/>
              <a:gd name="T78" fmla="*/ 512 w 1181"/>
              <a:gd name="T79" fmla="*/ 281 h 1171"/>
              <a:gd name="T80" fmla="*/ 481 w 1181"/>
              <a:gd name="T81" fmla="*/ 363 h 1171"/>
              <a:gd name="T82" fmla="*/ 481 w 1181"/>
              <a:gd name="T83" fmla="*/ 363 h 1171"/>
              <a:gd name="T84" fmla="*/ 561 w 1181"/>
              <a:gd name="T85" fmla="*/ 292 h 1171"/>
              <a:gd name="T86" fmla="*/ 50 w 1181"/>
              <a:gd name="T87" fmla="*/ 281 h 1171"/>
              <a:gd name="T88" fmla="*/ 445 w 1181"/>
              <a:gd name="T89" fmla="*/ 313 h 1171"/>
              <a:gd name="T90" fmla="*/ 50 w 1181"/>
              <a:gd name="T91" fmla="*/ 281 h 1171"/>
              <a:gd name="T92" fmla="*/ 308 w 1181"/>
              <a:gd name="T93" fmla="*/ 561 h 1171"/>
              <a:gd name="T94" fmla="*/ 402 w 1181"/>
              <a:gd name="T95" fmla="*/ 566 h 1171"/>
              <a:gd name="T96" fmla="*/ 427 w 1181"/>
              <a:gd name="T97" fmla="*/ 568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1" h="1171">
                <a:moveTo>
                  <a:pt x="1051" y="675"/>
                </a:moveTo>
                <a:lnTo>
                  <a:pt x="638" y="440"/>
                </a:lnTo>
                <a:cubicBezTo>
                  <a:pt x="645" y="415"/>
                  <a:pt x="643" y="388"/>
                  <a:pt x="633" y="365"/>
                </a:cubicBezTo>
                <a:cubicBezTo>
                  <a:pt x="648" y="352"/>
                  <a:pt x="660" y="337"/>
                  <a:pt x="668" y="318"/>
                </a:cubicBezTo>
                <a:cubicBezTo>
                  <a:pt x="670" y="316"/>
                  <a:pt x="670" y="313"/>
                  <a:pt x="671" y="311"/>
                </a:cubicBezTo>
                <a:lnTo>
                  <a:pt x="1015" y="308"/>
                </a:lnTo>
                <a:lnTo>
                  <a:pt x="1015" y="355"/>
                </a:lnTo>
                <a:cubicBezTo>
                  <a:pt x="1000" y="355"/>
                  <a:pt x="988" y="367"/>
                  <a:pt x="988" y="381"/>
                </a:cubicBezTo>
                <a:lnTo>
                  <a:pt x="988" y="383"/>
                </a:lnTo>
                <a:lnTo>
                  <a:pt x="988" y="385"/>
                </a:lnTo>
                <a:lnTo>
                  <a:pt x="988" y="451"/>
                </a:lnTo>
                <a:cubicBezTo>
                  <a:pt x="988" y="453"/>
                  <a:pt x="991" y="456"/>
                  <a:pt x="993" y="456"/>
                </a:cubicBezTo>
                <a:lnTo>
                  <a:pt x="1030" y="456"/>
                </a:lnTo>
                <a:cubicBezTo>
                  <a:pt x="1032" y="456"/>
                  <a:pt x="1035" y="453"/>
                  <a:pt x="1035" y="451"/>
                </a:cubicBezTo>
                <a:lnTo>
                  <a:pt x="1035" y="412"/>
                </a:lnTo>
                <a:lnTo>
                  <a:pt x="1046" y="412"/>
                </a:lnTo>
                <a:lnTo>
                  <a:pt x="1047" y="440"/>
                </a:lnTo>
                <a:cubicBezTo>
                  <a:pt x="1047" y="442"/>
                  <a:pt x="1050" y="445"/>
                  <a:pt x="1052" y="445"/>
                </a:cubicBezTo>
                <a:lnTo>
                  <a:pt x="1088" y="445"/>
                </a:lnTo>
                <a:cubicBezTo>
                  <a:pt x="1091" y="445"/>
                  <a:pt x="1093" y="442"/>
                  <a:pt x="1093" y="440"/>
                </a:cubicBezTo>
                <a:lnTo>
                  <a:pt x="1092" y="412"/>
                </a:lnTo>
                <a:lnTo>
                  <a:pt x="1103" y="412"/>
                </a:lnTo>
                <a:lnTo>
                  <a:pt x="1103" y="451"/>
                </a:lnTo>
                <a:cubicBezTo>
                  <a:pt x="1103" y="453"/>
                  <a:pt x="1106" y="456"/>
                  <a:pt x="1108" y="456"/>
                </a:cubicBezTo>
                <a:lnTo>
                  <a:pt x="1145" y="456"/>
                </a:lnTo>
                <a:cubicBezTo>
                  <a:pt x="1147" y="456"/>
                  <a:pt x="1150" y="453"/>
                  <a:pt x="1150" y="451"/>
                </a:cubicBezTo>
                <a:lnTo>
                  <a:pt x="1150" y="385"/>
                </a:lnTo>
                <a:lnTo>
                  <a:pt x="1150" y="383"/>
                </a:lnTo>
                <a:lnTo>
                  <a:pt x="1150" y="382"/>
                </a:lnTo>
                <a:cubicBezTo>
                  <a:pt x="1150" y="368"/>
                  <a:pt x="1138" y="356"/>
                  <a:pt x="1125" y="356"/>
                </a:cubicBezTo>
                <a:lnTo>
                  <a:pt x="1125" y="308"/>
                </a:lnTo>
                <a:lnTo>
                  <a:pt x="1146" y="308"/>
                </a:lnTo>
                <a:lnTo>
                  <a:pt x="1146" y="308"/>
                </a:lnTo>
                <a:cubicBezTo>
                  <a:pt x="1166" y="307"/>
                  <a:pt x="1181" y="291"/>
                  <a:pt x="1181" y="271"/>
                </a:cubicBezTo>
                <a:cubicBezTo>
                  <a:pt x="1181" y="251"/>
                  <a:pt x="1165" y="235"/>
                  <a:pt x="1146" y="235"/>
                </a:cubicBezTo>
                <a:lnTo>
                  <a:pt x="671" y="238"/>
                </a:lnTo>
                <a:cubicBezTo>
                  <a:pt x="661" y="203"/>
                  <a:pt x="637" y="173"/>
                  <a:pt x="601" y="158"/>
                </a:cubicBezTo>
                <a:cubicBezTo>
                  <a:pt x="576" y="147"/>
                  <a:pt x="550" y="146"/>
                  <a:pt x="525" y="152"/>
                </a:cubicBezTo>
                <a:cubicBezTo>
                  <a:pt x="482" y="61"/>
                  <a:pt x="388" y="0"/>
                  <a:pt x="281" y="0"/>
                </a:cubicBezTo>
                <a:cubicBezTo>
                  <a:pt x="126" y="0"/>
                  <a:pt x="0" y="126"/>
                  <a:pt x="0" y="281"/>
                </a:cubicBezTo>
                <a:cubicBezTo>
                  <a:pt x="0" y="393"/>
                  <a:pt x="66" y="490"/>
                  <a:pt x="161" y="535"/>
                </a:cubicBezTo>
                <a:cubicBezTo>
                  <a:pt x="156" y="586"/>
                  <a:pt x="183" y="637"/>
                  <a:pt x="233" y="658"/>
                </a:cubicBezTo>
                <a:cubicBezTo>
                  <a:pt x="236" y="660"/>
                  <a:pt x="238" y="660"/>
                  <a:pt x="241" y="661"/>
                </a:cubicBezTo>
                <a:lnTo>
                  <a:pt x="240" y="1005"/>
                </a:lnTo>
                <a:lnTo>
                  <a:pt x="193" y="1005"/>
                </a:lnTo>
                <a:cubicBezTo>
                  <a:pt x="193" y="990"/>
                  <a:pt x="181" y="978"/>
                  <a:pt x="167" y="978"/>
                </a:cubicBezTo>
                <a:lnTo>
                  <a:pt x="165" y="978"/>
                </a:lnTo>
                <a:lnTo>
                  <a:pt x="163" y="978"/>
                </a:lnTo>
                <a:lnTo>
                  <a:pt x="97" y="978"/>
                </a:lnTo>
                <a:cubicBezTo>
                  <a:pt x="95" y="978"/>
                  <a:pt x="92" y="981"/>
                  <a:pt x="92" y="983"/>
                </a:cubicBezTo>
                <a:lnTo>
                  <a:pt x="92" y="1020"/>
                </a:lnTo>
                <a:cubicBezTo>
                  <a:pt x="92" y="1022"/>
                  <a:pt x="95" y="1025"/>
                  <a:pt x="97" y="1025"/>
                </a:cubicBezTo>
                <a:lnTo>
                  <a:pt x="136" y="1025"/>
                </a:lnTo>
                <a:lnTo>
                  <a:pt x="136" y="1036"/>
                </a:lnTo>
                <a:lnTo>
                  <a:pt x="108" y="1037"/>
                </a:lnTo>
                <a:cubicBezTo>
                  <a:pt x="106" y="1037"/>
                  <a:pt x="103" y="1040"/>
                  <a:pt x="103" y="1042"/>
                </a:cubicBezTo>
                <a:lnTo>
                  <a:pt x="103" y="1078"/>
                </a:lnTo>
                <a:cubicBezTo>
                  <a:pt x="103" y="1081"/>
                  <a:pt x="106" y="1083"/>
                  <a:pt x="108" y="1083"/>
                </a:cubicBezTo>
                <a:lnTo>
                  <a:pt x="136" y="1082"/>
                </a:lnTo>
                <a:lnTo>
                  <a:pt x="136" y="1093"/>
                </a:lnTo>
                <a:lnTo>
                  <a:pt x="97" y="1093"/>
                </a:lnTo>
                <a:cubicBezTo>
                  <a:pt x="95" y="1093"/>
                  <a:pt x="92" y="1096"/>
                  <a:pt x="92" y="1098"/>
                </a:cubicBezTo>
                <a:lnTo>
                  <a:pt x="92" y="1135"/>
                </a:lnTo>
                <a:cubicBezTo>
                  <a:pt x="92" y="1137"/>
                  <a:pt x="94" y="1140"/>
                  <a:pt x="97" y="1140"/>
                </a:cubicBezTo>
                <a:lnTo>
                  <a:pt x="163" y="1140"/>
                </a:lnTo>
                <a:lnTo>
                  <a:pt x="165" y="1140"/>
                </a:lnTo>
                <a:lnTo>
                  <a:pt x="166" y="1140"/>
                </a:lnTo>
                <a:cubicBezTo>
                  <a:pt x="180" y="1140"/>
                  <a:pt x="192" y="1128"/>
                  <a:pt x="192" y="1115"/>
                </a:cubicBezTo>
                <a:lnTo>
                  <a:pt x="240" y="1115"/>
                </a:lnTo>
                <a:lnTo>
                  <a:pt x="240" y="1136"/>
                </a:lnTo>
                <a:lnTo>
                  <a:pt x="240" y="1136"/>
                </a:lnTo>
                <a:cubicBezTo>
                  <a:pt x="241" y="1156"/>
                  <a:pt x="256" y="1171"/>
                  <a:pt x="276" y="1171"/>
                </a:cubicBezTo>
                <a:cubicBezTo>
                  <a:pt x="296" y="1171"/>
                  <a:pt x="312" y="1156"/>
                  <a:pt x="312" y="1136"/>
                </a:cubicBezTo>
                <a:lnTo>
                  <a:pt x="313" y="661"/>
                </a:lnTo>
                <a:cubicBezTo>
                  <a:pt x="338" y="655"/>
                  <a:pt x="361" y="640"/>
                  <a:pt x="377" y="620"/>
                </a:cubicBezTo>
                <a:cubicBezTo>
                  <a:pt x="394" y="626"/>
                  <a:pt x="414" y="630"/>
                  <a:pt x="435" y="627"/>
                </a:cubicBezTo>
                <a:cubicBezTo>
                  <a:pt x="437" y="627"/>
                  <a:pt x="439" y="626"/>
                  <a:pt x="442" y="626"/>
                </a:cubicBezTo>
                <a:lnTo>
                  <a:pt x="613" y="923"/>
                </a:lnTo>
                <a:lnTo>
                  <a:pt x="573" y="947"/>
                </a:lnTo>
                <a:cubicBezTo>
                  <a:pt x="566" y="935"/>
                  <a:pt x="550" y="930"/>
                  <a:pt x="537" y="937"/>
                </a:cubicBezTo>
                <a:lnTo>
                  <a:pt x="536" y="938"/>
                </a:lnTo>
                <a:lnTo>
                  <a:pt x="536" y="938"/>
                </a:lnTo>
                <a:lnTo>
                  <a:pt x="478" y="971"/>
                </a:lnTo>
                <a:cubicBezTo>
                  <a:pt x="476" y="972"/>
                  <a:pt x="475" y="976"/>
                  <a:pt x="476" y="978"/>
                </a:cubicBezTo>
                <a:lnTo>
                  <a:pt x="495" y="1010"/>
                </a:lnTo>
                <a:cubicBezTo>
                  <a:pt x="496" y="1012"/>
                  <a:pt x="499" y="1013"/>
                  <a:pt x="502" y="1012"/>
                </a:cubicBezTo>
                <a:lnTo>
                  <a:pt x="536" y="992"/>
                </a:lnTo>
                <a:lnTo>
                  <a:pt x="542" y="1002"/>
                </a:lnTo>
                <a:lnTo>
                  <a:pt x="517" y="1021"/>
                </a:lnTo>
                <a:cubicBezTo>
                  <a:pt x="515" y="1022"/>
                  <a:pt x="513" y="1026"/>
                  <a:pt x="515" y="1028"/>
                </a:cubicBezTo>
                <a:lnTo>
                  <a:pt x="533" y="1060"/>
                </a:lnTo>
                <a:cubicBezTo>
                  <a:pt x="535" y="1062"/>
                  <a:pt x="538" y="1063"/>
                  <a:pt x="541" y="1062"/>
                </a:cubicBezTo>
                <a:lnTo>
                  <a:pt x="565" y="1048"/>
                </a:lnTo>
                <a:lnTo>
                  <a:pt x="571" y="1058"/>
                </a:lnTo>
                <a:lnTo>
                  <a:pt x="537" y="1078"/>
                </a:lnTo>
                <a:cubicBezTo>
                  <a:pt x="534" y="1080"/>
                  <a:pt x="533" y="1083"/>
                  <a:pt x="534" y="1086"/>
                </a:cubicBezTo>
                <a:lnTo>
                  <a:pt x="553" y="1117"/>
                </a:lnTo>
                <a:cubicBezTo>
                  <a:pt x="554" y="1120"/>
                  <a:pt x="558" y="1121"/>
                  <a:pt x="561" y="1120"/>
                </a:cubicBezTo>
                <a:lnTo>
                  <a:pt x="618" y="1087"/>
                </a:lnTo>
                <a:cubicBezTo>
                  <a:pt x="618" y="1087"/>
                  <a:pt x="620" y="1087"/>
                  <a:pt x="620" y="1086"/>
                </a:cubicBezTo>
                <a:cubicBezTo>
                  <a:pt x="620" y="1086"/>
                  <a:pt x="621" y="1086"/>
                  <a:pt x="621" y="1085"/>
                </a:cubicBezTo>
                <a:cubicBezTo>
                  <a:pt x="633" y="1077"/>
                  <a:pt x="637" y="1062"/>
                  <a:pt x="631" y="1050"/>
                </a:cubicBezTo>
                <a:lnTo>
                  <a:pt x="671" y="1026"/>
                </a:lnTo>
                <a:lnTo>
                  <a:pt x="682" y="1043"/>
                </a:lnTo>
                <a:lnTo>
                  <a:pt x="682" y="1043"/>
                </a:lnTo>
                <a:cubicBezTo>
                  <a:pt x="692" y="1060"/>
                  <a:pt x="715" y="1066"/>
                  <a:pt x="731" y="1056"/>
                </a:cubicBezTo>
                <a:cubicBezTo>
                  <a:pt x="748" y="1046"/>
                  <a:pt x="754" y="1025"/>
                  <a:pt x="745" y="1007"/>
                </a:cubicBezTo>
                <a:lnTo>
                  <a:pt x="507" y="596"/>
                </a:lnTo>
                <a:cubicBezTo>
                  <a:pt x="524" y="578"/>
                  <a:pt x="537" y="555"/>
                  <a:pt x="541" y="528"/>
                </a:cubicBezTo>
                <a:cubicBezTo>
                  <a:pt x="560" y="526"/>
                  <a:pt x="578" y="518"/>
                  <a:pt x="595" y="506"/>
                </a:cubicBezTo>
                <a:cubicBezTo>
                  <a:pt x="597" y="505"/>
                  <a:pt x="598" y="502"/>
                  <a:pt x="601" y="501"/>
                </a:cubicBezTo>
                <a:lnTo>
                  <a:pt x="898" y="671"/>
                </a:lnTo>
                <a:lnTo>
                  <a:pt x="874" y="712"/>
                </a:lnTo>
                <a:cubicBezTo>
                  <a:pt x="862" y="705"/>
                  <a:pt x="846" y="710"/>
                  <a:pt x="838" y="722"/>
                </a:cubicBezTo>
                <a:lnTo>
                  <a:pt x="837" y="723"/>
                </a:lnTo>
                <a:lnTo>
                  <a:pt x="837" y="723"/>
                </a:lnTo>
                <a:lnTo>
                  <a:pt x="805" y="782"/>
                </a:lnTo>
                <a:cubicBezTo>
                  <a:pt x="803" y="785"/>
                  <a:pt x="805" y="788"/>
                  <a:pt x="807" y="789"/>
                </a:cubicBezTo>
                <a:lnTo>
                  <a:pt x="840" y="808"/>
                </a:lnTo>
                <a:cubicBezTo>
                  <a:pt x="842" y="809"/>
                  <a:pt x="846" y="808"/>
                  <a:pt x="847" y="806"/>
                </a:cubicBezTo>
                <a:lnTo>
                  <a:pt x="867" y="772"/>
                </a:lnTo>
                <a:lnTo>
                  <a:pt x="877" y="777"/>
                </a:lnTo>
                <a:lnTo>
                  <a:pt x="864" y="801"/>
                </a:lnTo>
                <a:cubicBezTo>
                  <a:pt x="863" y="803"/>
                  <a:pt x="864" y="807"/>
                  <a:pt x="867" y="808"/>
                </a:cubicBezTo>
                <a:lnTo>
                  <a:pt x="899" y="827"/>
                </a:lnTo>
                <a:cubicBezTo>
                  <a:pt x="902" y="828"/>
                  <a:pt x="906" y="827"/>
                  <a:pt x="907" y="824"/>
                </a:cubicBezTo>
                <a:lnTo>
                  <a:pt x="919" y="801"/>
                </a:lnTo>
                <a:lnTo>
                  <a:pt x="929" y="806"/>
                </a:lnTo>
                <a:lnTo>
                  <a:pt x="909" y="839"/>
                </a:lnTo>
                <a:cubicBezTo>
                  <a:pt x="908" y="842"/>
                  <a:pt x="909" y="846"/>
                  <a:pt x="912" y="847"/>
                </a:cubicBezTo>
                <a:lnTo>
                  <a:pt x="944" y="866"/>
                </a:lnTo>
                <a:cubicBezTo>
                  <a:pt x="947" y="867"/>
                  <a:pt x="951" y="866"/>
                  <a:pt x="952" y="863"/>
                </a:cubicBezTo>
                <a:lnTo>
                  <a:pt x="984" y="806"/>
                </a:lnTo>
                <a:lnTo>
                  <a:pt x="984" y="804"/>
                </a:lnTo>
                <a:cubicBezTo>
                  <a:pt x="984" y="804"/>
                  <a:pt x="984" y="803"/>
                  <a:pt x="986" y="803"/>
                </a:cubicBezTo>
                <a:cubicBezTo>
                  <a:pt x="993" y="791"/>
                  <a:pt x="989" y="776"/>
                  <a:pt x="977" y="768"/>
                </a:cubicBezTo>
                <a:lnTo>
                  <a:pt x="1001" y="727"/>
                </a:lnTo>
                <a:lnTo>
                  <a:pt x="1019" y="737"/>
                </a:lnTo>
                <a:lnTo>
                  <a:pt x="1019" y="737"/>
                </a:lnTo>
                <a:cubicBezTo>
                  <a:pt x="1037" y="746"/>
                  <a:pt x="1058" y="740"/>
                  <a:pt x="1068" y="723"/>
                </a:cubicBezTo>
                <a:cubicBezTo>
                  <a:pt x="1073" y="706"/>
                  <a:pt x="1068" y="685"/>
                  <a:pt x="1051" y="675"/>
                </a:cubicBezTo>
                <a:close/>
                <a:moveTo>
                  <a:pt x="557" y="456"/>
                </a:moveTo>
                <a:cubicBezTo>
                  <a:pt x="550" y="461"/>
                  <a:pt x="542" y="465"/>
                  <a:pt x="535" y="466"/>
                </a:cubicBezTo>
                <a:cubicBezTo>
                  <a:pt x="530" y="455"/>
                  <a:pt x="525" y="443"/>
                  <a:pt x="517" y="433"/>
                </a:cubicBezTo>
                <a:cubicBezTo>
                  <a:pt x="526" y="419"/>
                  <a:pt x="535" y="405"/>
                  <a:pt x="541" y="389"/>
                </a:cubicBezTo>
                <a:cubicBezTo>
                  <a:pt x="553" y="391"/>
                  <a:pt x="566" y="391"/>
                  <a:pt x="578" y="389"/>
                </a:cubicBezTo>
                <a:cubicBezTo>
                  <a:pt x="586" y="413"/>
                  <a:pt x="578" y="440"/>
                  <a:pt x="557" y="456"/>
                </a:cubicBezTo>
                <a:close/>
                <a:moveTo>
                  <a:pt x="300" y="490"/>
                </a:moveTo>
                <a:cubicBezTo>
                  <a:pt x="298" y="497"/>
                  <a:pt x="298" y="503"/>
                  <a:pt x="298" y="511"/>
                </a:cubicBezTo>
                <a:cubicBezTo>
                  <a:pt x="292" y="512"/>
                  <a:pt x="286" y="512"/>
                  <a:pt x="281" y="512"/>
                </a:cubicBezTo>
                <a:cubicBezTo>
                  <a:pt x="266" y="512"/>
                  <a:pt x="251" y="511"/>
                  <a:pt x="237" y="508"/>
                </a:cubicBezTo>
                <a:cubicBezTo>
                  <a:pt x="252" y="490"/>
                  <a:pt x="276" y="482"/>
                  <a:pt x="300" y="490"/>
                </a:cubicBezTo>
                <a:close/>
                <a:moveTo>
                  <a:pt x="376" y="470"/>
                </a:moveTo>
                <a:cubicBezTo>
                  <a:pt x="383" y="461"/>
                  <a:pt x="395" y="455"/>
                  <a:pt x="407" y="452"/>
                </a:cubicBezTo>
                <a:cubicBezTo>
                  <a:pt x="410" y="458"/>
                  <a:pt x="412" y="463"/>
                  <a:pt x="415" y="470"/>
                </a:cubicBezTo>
                <a:cubicBezTo>
                  <a:pt x="406" y="476"/>
                  <a:pt x="397" y="482"/>
                  <a:pt x="387" y="487"/>
                </a:cubicBezTo>
                <a:cubicBezTo>
                  <a:pt x="385" y="480"/>
                  <a:pt x="381" y="475"/>
                  <a:pt x="376" y="470"/>
                </a:cubicBezTo>
                <a:close/>
                <a:moveTo>
                  <a:pt x="502" y="245"/>
                </a:moveTo>
                <a:cubicBezTo>
                  <a:pt x="503" y="241"/>
                  <a:pt x="505" y="238"/>
                  <a:pt x="507" y="236"/>
                </a:cubicBezTo>
                <a:cubicBezTo>
                  <a:pt x="510" y="251"/>
                  <a:pt x="512" y="266"/>
                  <a:pt x="512" y="281"/>
                </a:cubicBezTo>
                <a:lnTo>
                  <a:pt x="512" y="286"/>
                </a:lnTo>
                <a:cubicBezTo>
                  <a:pt x="508" y="286"/>
                  <a:pt x="504" y="287"/>
                  <a:pt x="501" y="287"/>
                </a:cubicBezTo>
                <a:cubicBezTo>
                  <a:pt x="496" y="273"/>
                  <a:pt x="496" y="260"/>
                  <a:pt x="502" y="245"/>
                </a:cubicBezTo>
                <a:close/>
                <a:moveTo>
                  <a:pt x="481" y="363"/>
                </a:moveTo>
                <a:cubicBezTo>
                  <a:pt x="485" y="366"/>
                  <a:pt x="488" y="370"/>
                  <a:pt x="493" y="372"/>
                </a:cubicBezTo>
                <a:cubicBezTo>
                  <a:pt x="490" y="382"/>
                  <a:pt x="483" y="392"/>
                  <a:pt x="478" y="401"/>
                </a:cubicBezTo>
                <a:cubicBezTo>
                  <a:pt x="473" y="398"/>
                  <a:pt x="468" y="396"/>
                  <a:pt x="463" y="395"/>
                </a:cubicBezTo>
                <a:cubicBezTo>
                  <a:pt x="466" y="383"/>
                  <a:pt x="471" y="372"/>
                  <a:pt x="481" y="363"/>
                </a:cubicBezTo>
                <a:close/>
                <a:moveTo>
                  <a:pt x="581" y="213"/>
                </a:moveTo>
                <a:cubicBezTo>
                  <a:pt x="611" y="226"/>
                  <a:pt x="626" y="262"/>
                  <a:pt x="612" y="292"/>
                </a:cubicBezTo>
                <a:cubicBezTo>
                  <a:pt x="608" y="300"/>
                  <a:pt x="603" y="307"/>
                  <a:pt x="597" y="312"/>
                </a:cubicBezTo>
                <a:cubicBezTo>
                  <a:pt x="586" y="303"/>
                  <a:pt x="573" y="296"/>
                  <a:pt x="561" y="292"/>
                </a:cubicBezTo>
                <a:lnTo>
                  <a:pt x="561" y="281"/>
                </a:lnTo>
                <a:cubicBezTo>
                  <a:pt x="561" y="256"/>
                  <a:pt x="557" y="232"/>
                  <a:pt x="552" y="210"/>
                </a:cubicBezTo>
                <a:cubicBezTo>
                  <a:pt x="562" y="208"/>
                  <a:pt x="571" y="210"/>
                  <a:pt x="581" y="213"/>
                </a:cubicBezTo>
                <a:close/>
                <a:moveTo>
                  <a:pt x="50" y="281"/>
                </a:moveTo>
                <a:cubicBezTo>
                  <a:pt x="50" y="153"/>
                  <a:pt x="153" y="50"/>
                  <a:pt x="281" y="50"/>
                </a:cubicBezTo>
                <a:cubicBezTo>
                  <a:pt x="368" y="50"/>
                  <a:pt x="445" y="98"/>
                  <a:pt x="485" y="171"/>
                </a:cubicBezTo>
                <a:cubicBezTo>
                  <a:pt x="468" y="183"/>
                  <a:pt x="455" y="200"/>
                  <a:pt x="446" y="221"/>
                </a:cubicBezTo>
                <a:cubicBezTo>
                  <a:pt x="433" y="252"/>
                  <a:pt x="433" y="284"/>
                  <a:pt x="445" y="313"/>
                </a:cubicBezTo>
                <a:cubicBezTo>
                  <a:pt x="421" y="333"/>
                  <a:pt x="406" y="360"/>
                  <a:pt x="402" y="388"/>
                </a:cubicBezTo>
                <a:cubicBezTo>
                  <a:pt x="372" y="393"/>
                  <a:pt x="345" y="410"/>
                  <a:pt x="327" y="432"/>
                </a:cubicBezTo>
                <a:cubicBezTo>
                  <a:pt x="271" y="411"/>
                  <a:pt x="207" y="433"/>
                  <a:pt x="177" y="486"/>
                </a:cubicBezTo>
                <a:cubicBezTo>
                  <a:pt x="101" y="448"/>
                  <a:pt x="50" y="371"/>
                  <a:pt x="50" y="281"/>
                </a:cubicBezTo>
                <a:close/>
                <a:moveTo>
                  <a:pt x="257" y="601"/>
                </a:moveTo>
                <a:cubicBezTo>
                  <a:pt x="238" y="592"/>
                  <a:pt x="226" y="575"/>
                  <a:pt x="222" y="556"/>
                </a:cubicBezTo>
                <a:cubicBezTo>
                  <a:pt x="241" y="560"/>
                  <a:pt x="260" y="562"/>
                  <a:pt x="280" y="562"/>
                </a:cubicBezTo>
                <a:cubicBezTo>
                  <a:pt x="290" y="562"/>
                  <a:pt x="298" y="562"/>
                  <a:pt x="308" y="561"/>
                </a:cubicBezTo>
                <a:cubicBezTo>
                  <a:pt x="313" y="571"/>
                  <a:pt x="318" y="580"/>
                  <a:pt x="325" y="587"/>
                </a:cubicBezTo>
                <a:cubicBezTo>
                  <a:pt x="308" y="605"/>
                  <a:pt x="282" y="612"/>
                  <a:pt x="257" y="601"/>
                </a:cubicBezTo>
                <a:close/>
                <a:moveTo>
                  <a:pt x="427" y="568"/>
                </a:moveTo>
                <a:cubicBezTo>
                  <a:pt x="418" y="570"/>
                  <a:pt x="410" y="568"/>
                  <a:pt x="402" y="566"/>
                </a:cubicBezTo>
                <a:cubicBezTo>
                  <a:pt x="403" y="555"/>
                  <a:pt x="405" y="544"/>
                  <a:pt x="403" y="533"/>
                </a:cubicBezTo>
                <a:cubicBezTo>
                  <a:pt x="419" y="526"/>
                  <a:pt x="435" y="516"/>
                  <a:pt x="448" y="506"/>
                </a:cubicBezTo>
                <a:cubicBezTo>
                  <a:pt x="457" y="512"/>
                  <a:pt x="467" y="518"/>
                  <a:pt x="478" y="522"/>
                </a:cubicBezTo>
                <a:cubicBezTo>
                  <a:pt x="473" y="546"/>
                  <a:pt x="453" y="566"/>
                  <a:pt x="427" y="568"/>
                </a:cubicBezTo>
                <a:close/>
              </a:path>
            </a:pathLst>
          </a:custGeom>
          <a:solidFill>
            <a:srgbClr val="FF0000"/>
          </a:solidFill>
          <a:ln w="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5" name="Rectangle 53"/>
          <p:cNvSpPr/>
          <p:nvPr/>
        </p:nvSpPr>
        <p:spPr bwMode="auto">
          <a:xfrm>
            <a:off x="8717898" y="4868875"/>
            <a:ext cx="2871797" cy="902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895" tIns="38098" rIns="88895" bIns="38098" rtlCol="0" anchor="ctr"/>
          <a:lstStyle/>
          <a:p>
            <a:pPr marL="0" lvl="1" algn="ctr" defTabSz="914388">
              <a:lnSpc>
                <a:spcPct val="90000"/>
              </a:lnSpc>
              <a:defRPr/>
            </a:pPr>
            <a:r>
              <a:rPr lang="en-US" sz="1400" b="1" kern="0" dirty="0" err="1" smtClean="0">
                <a:solidFill>
                  <a:srgbClr val="FF0000"/>
                </a:solidFill>
                <a:latin typeface="Calibri" panose="020F0502020204030204" pitchFamily="34" charset="0"/>
                <a:cs typeface="Arial" pitchFamily="34" charset="0"/>
              </a:rPr>
              <a:t>Kurulların</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değerlendirmesi</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neticesinde</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desteklenmesi</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kabul</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ve</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reddedilen</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başvurulara</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ilişkin</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gerekçeli</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kurul</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kararları</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komiteye</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arz</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edilir</a:t>
            </a:r>
            <a:r>
              <a:rPr lang="en-US" sz="1400" b="1" kern="0" dirty="0" smtClean="0">
                <a:solidFill>
                  <a:srgbClr val="FF0000"/>
                </a:solidFill>
                <a:latin typeface="Calibri" panose="020F0502020204030204" pitchFamily="34" charset="0"/>
                <a:cs typeface="Arial" pitchFamily="34" charset="0"/>
              </a:rPr>
              <a:t>. </a:t>
            </a:r>
            <a:r>
              <a:rPr lang="tr-TR" sz="1400" b="1" kern="0" dirty="0" smtClean="0">
                <a:solidFill>
                  <a:srgbClr val="FF0000"/>
                </a:solidFill>
                <a:latin typeface="Calibri" panose="020F0502020204030204" pitchFamily="34" charset="0"/>
                <a:cs typeface="Arial" pitchFamily="34" charset="0"/>
              </a:rPr>
              <a:t>Nihai destek kararını vermek üzere komite oluşturulur.</a:t>
            </a:r>
          </a:p>
          <a:p>
            <a:pPr marL="0" lvl="1" algn="ctr" defTabSz="914388">
              <a:lnSpc>
                <a:spcPct val="90000"/>
              </a:lnSpc>
              <a:defRPr/>
            </a:pPr>
            <a:r>
              <a:rPr lang="en-US" sz="1400" b="1" kern="0" dirty="0" err="1" smtClean="0">
                <a:solidFill>
                  <a:srgbClr val="FF0000"/>
                </a:solidFill>
                <a:latin typeface="Calibri" panose="020F0502020204030204" pitchFamily="34" charset="0"/>
                <a:cs typeface="Arial" pitchFamily="34" charset="0"/>
              </a:rPr>
              <a:t>Komite</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projenin</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desteklenmesini</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kabul</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edebilir</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reddedebilir</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veya</a:t>
            </a:r>
            <a:r>
              <a:rPr lang="en-US" sz="1400" b="1" kern="0" dirty="0" smtClean="0">
                <a:solidFill>
                  <a:srgbClr val="FF0000"/>
                </a:solidFill>
                <a:latin typeface="Calibri" panose="020F0502020204030204" pitchFamily="34" charset="0"/>
                <a:cs typeface="Arial" pitchFamily="34" charset="0"/>
              </a:rPr>
              <a:t> </a:t>
            </a:r>
            <a:r>
              <a:rPr lang="en-US" sz="1400" b="1" kern="0" dirty="0" err="1" smtClean="0">
                <a:solidFill>
                  <a:srgbClr val="FF0000"/>
                </a:solidFill>
                <a:latin typeface="Calibri" panose="020F0502020204030204" pitchFamily="34" charset="0"/>
                <a:cs typeface="Arial" pitchFamily="34" charset="0"/>
              </a:rPr>
              <a:t>projeyi</a:t>
            </a:r>
            <a:r>
              <a:rPr lang="en-US" sz="1400" b="1" kern="0" dirty="0" smtClean="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düzelterek</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desteklenmesinin</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kabulüne</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karar</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verebilir</a:t>
            </a:r>
            <a:r>
              <a:rPr lang="tr-TR"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Komite</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kararı</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nihai</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olup</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komite</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kararına</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itiraz</a:t>
            </a:r>
            <a:r>
              <a:rPr lang="en-US" sz="1400" b="1" kern="0" dirty="0">
                <a:solidFill>
                  <a:srgbClr val="FF0000"/>
                </a:solidFill>
                <a:latin typeface="Calibri" panose="020F0502020204030204" pitchFamily="34" charset="0"/>
                <a:cs typeface="Arial" pitchFamily="34" charset="0"/>
              </a:rPr>
              <a:t> </a:t>
            </a:r>
            <a:r>
              <a:rPr lang="en-US" sz="1400" b="1" kern="0" dirty="0" err="1">
                <a:solidFill>
                  <a:srgbClr val="FF0000"/>
                </a:solidFill>
                <a:latin typeface="Calibri" panose="020F0502020204030204" pitchFamily="34" charset="0"/>
                <a:cs typeface="Arial" pitchFamily="34" charset="0"/>
              </a:rPr>
              <a:t>edilemez</a:t>
            </a:r>
            <a:r>
              <a:rPr lang="en-US" sz="1400" b="1" kern="0" dirty="0">
                <a:solidFill>
                  <a:srgbClr val="FF0000"/>
                </a:solidFill>
                <a:latin typeface="Calibri" panose="020F0502020204030204" pitchFamily="34" charset="0"/>
                <a:cs typeface="Arial" pitchFamily="34" charset="0"/>
              </a:rPr>
              <a:t>.</a:t>
            </a:r>
          </a:p>
          <a:p>
            <a:pPr marL="0" lvl="1" algn="ctr" defTabSz="914388">
              <a:lnSpc>
                <a:spcPct val="90000"/>
              </a:lnSpc>
              <a:defRPr/>
            </a:pPr>
            <a:endParaRPr lang="en-US" sz="1400" b="1" kern="0" dirty="0">
              <a:solidFill>
                <a:srgbClr val="FF0000"/>
              </a:solidFill>
              <a:latin typeface="Calibri" panose="020F0502020204030204" pitchFamily="34" charset="0"/>
              <a:cs typeface="Arial" pitchFamily="34" charset="0"/>
            </a:endParaRPr>
          </a:p>
          <a:p>
            <a:pPr algn="ctr" defTabSz="914388">
              <a:lnSpc>
                <a:spcPct val="90000"/>
              </a:lnSpc>
              <a:defRPr/>
            </a:pPr>
            <a:endParaRPr lang="en-US" sz="1400" b="1" kern="0" dirty="0">
              <a:solidFill>
                <a:srgbClr val="FF0000"/>
              </a:solidFill>
              <a:latin typeface="Calibri" panose="020F0502020204030204" pitchFamily="34" charset="0"/>
              <a:cs typeface="Arial" pitchFamily="34" charset="0"/>
            </a:endParaRPr>
          </a:p>
        </p:txBody>
      </p:sp>
    </p:spTree>
    <p:custDataLst>
      <p:tags r:id="rId1"/>
    </p:custDataLst>
    <p:extLst>
      <p:ext uri="{BB962C8B-B14F-4D97-AF65-F5344CB8AC3E}">
        <p14:creationId xmlns:p14="http://schemas.microsoft.com/office/powerpoint/2010/main" val="7081976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a:spLocks/>
          </p:cNvSpPr>
          <p:nvPr/>
        </p:nvSpPr>
        <p:spPr bwMode="auto">
          <a:xfrm>
            <a:off x="1515698" y="2946486"/>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lvl="0" fontAlgn="base">
              <a:lnSpc>
                <a:spcPct val="90000"/>
              </a:lnSpc>
              <a:defRPr/>
            </a:pPr>
            <a:r>
              <a:rPr lang="en-US" sz="1600" kern="0" dirty="0" err="1">
                <a:solidFill>
                  <a:srgbClr val="000000"/>
                </a:solidFill>
                <a:latin typeface="Calibri" panose="020F0502020204030204" pitchFamily="34" charset="0"/>
                <a:cs typeface="Arial" pitchFamily="34" charset="0"/>
              </a:rPr>
              <a:t>Toplam</a:t>
            </a:r>
            <a:r>
              <a:rPr lang="en-US" sz="1600" kern="0" dirty="0">
                <a:solidFill>
                  <a:srgbClr val="000000"/>
                </a:solidFill>
                <a:latin typeface="Calibri" panose="020F0502020204030204" pitchFamily="34" charset="0"/>
                <a:cs typeface="Arial" pitchFamily="34" charset="0"/>
              </a:rPr>
              <a:t> </a:t>
            </a:r>
            <a:r>
              <a:rPr lang="en-US" sz="1600" kern="0" dirty="0" err="1">
                <a:solidFill>
                  <a:srgbClr val="000000"/>
                </a:solidFill>
                <a:latin typeface="Calibri" panose="020F0502020204030204" pitchFamily="34" charset="0"/>
                <a:cs typeface="Arial" pitchFamily="34" charset="0"/>
              </a:rPr>
              <a:t>Proje</a:t>
            </a:r>
            <a:r>
              <a:rPr lang="en-US" sz="1600" kern="0" dirty="0">
                <a:solidFill>
                  <a:srgbClr val="000000"/>
                </a:solidFill>
                <a:latin typeface="Calibri" panose="020F0502020204030204" pitchFamily="34" charset="0"/>
                <a:cs typeface="Arial" pitchFamily="34" charset="0"/>
              </a:rPr>
              <a:t> </a:t>
            </a:r>
            <a:r>
              <a:rPr lang="en-US" sz="1600" kern="0" dirty="0" err="1">
                <a:solidFill>
                  <a:srgbClr val="000000"/>
                </a:solidFill>
                <a:latin typeface="Calibri" panose="020F0502020204030204" pitchFamily="34" charset="0"/>
                <a:cs typeface="Arial" pitchFamily="34" charset="0"/>
              </a:rPr>
              <a:t>Bütçesi</a:t>
            </a:r>
            <a:r>
              <a:rPr lang="en-US" sz="1600" kern="0" dirty="0">
                <a:solidFill>
                  <a:srgbClr val="000000"/>
                </a:solidFill>
                <a:latin typeface="Calibri" panose="020F0502020204030204" pitchFamily="34" charset="0"/>
                <a:cs typeface="Arial" pitchFamily="34" charset="0"/>
              </a:rPr>
              <a:t>: </a:t>
            </a:r>
            <a:r>
              <a:rPr lang="en-US" b="1" kern="0" dirty="0" err="1">
                <a:solidFill>
                  <a:srgbClr val="000000"/>
                </a:solidFill>
                <a:latin typeface="Calibri" panose="020F0502020204030204" pitchFamily="34" charset="0"/>
                <a:cs typeface="Arial" pitchFamily="34" charset="0"/>
              </a:rPr>
              <a:t>yaklaşık</a:t>
            </a:r>
            <a:r>
              <a:rPr lang="en-US" b="1" kern="0" dirty="0">
                <a:solidFill>
                  <a:srgbClr val="000000"/>
                </a:solidFill>
                <a:latin typeface="Calibri" panose="020F0502020204030204" pitchFamily="34" charset="0"/>
                <a:cs typeface="Arial" pitchFamily="34" charset="0"/>
              </a:rPr>
              <a:t> 1 </a:t>
            </a:r>
            <a:r>
              <a:rPr lang="en-US" b="1" kern="0" dirty="0" err="1">
                <a:solidFill>
                  <a:srgbClr val="000000"/>
                </a:solidFill>
                <a:latin typeface="Calibri" panose="020F0502020204030204" pitchFamily="34" charset="0"/>
                <a:cs typeface="Arial" pitchFamily="34" charset="0"/>
              </a:rPr>
              <a:t>Milyar</a:t>
            </a:r>
            <a:r>
              <a:rPr lang="en-US" b="1" kern="0" dirty="0">
                <a:solidFill>
                  <a:srgbClr val="000000"/>
                </a:solidFill>
                <a:latin typeface="Calibri" panose="020F0502020204030204" pitchFamily="34" charset="0"/>
                <a:cs typeface="Arial" pitchFamily="34" charset="0"/>
              </a:rPr>
              <a:t> TL </a:t>
            </a:r>
          </a:p>
        </p:txBody>
      </p:sp>
      <p:sp>
        <p:nvSpPr>
          <p:cNvPr id="63" name="Pentagon 33"/>
          <p:cNvSpPr/>
          <p:nvPr/>
        </p:nvSpPr>
        <p:spPr bwMode="auto">
          <a:xfrm>
            <a:off x="631641" y="2936543"/>
            <a:ext cx="1046053" cy="696811"/>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7" name="Rectangle 66"/>
          <p:cNvSpPr>
            <a:spLocks/>
          </p:cNvSpPr>
          <p:nvPr/>
        </p:nvSpPr>
        <p:spPr bwMode="auto">
          <a:xfrm>
            <a:off x="1515698" y="2036905"/>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lvl="0" fontAlgn="base">
              <a:lnSpc>
                <a:spcPct val="90000"/>
              </a:lnSpc>
              <a:defRPr/>
            </a:pPr>
            <a:r>
              <a:rPr lang="en-US" sz="1600" kern="0" dirty="0" err="1">
                <a:solidFill>
                  <a:srgbClr val="000000"/>
                </a:solidFill>
                <a:latin typeface="Calibri" panose="020F0502020204030204" pitchFamily="34" charset="0"/>
                <a:cs typeface="Arial" pitchFamily="34" charset="0"/>
              </a:rPr>
              <a:t>Düşük</a:t>
            </a:r>
            <a:r>
              <a:rPr lang="en-US" sz="1600" kern="0" dirty="0">
                <a:solidFill>
                  <a:srgbClr val="000000"/>
                </a:solidFill>
                <a:latin typeface="Calibri" panose="020F0502020204030204" pitchFamily="34" charset="0"/>
                <a:cs typeface="Arial" pitchFamily="34" charset="0"/>
              </a:rPr>
              <a:t> ve </a:t>
            </a:r>
            <a:r>
              <a:rPr lang="en-US" sz="1600" kern="0" dirty="0" err="1">
                <a:solidFill>
                  <a:srgbClr val="000000"/>
                </a:solidFill>
                <a:latin typeface="Calibri" panose="020F0502020204030204" pitchFamily="34" charset="0"/>
                <a:cs typeface="Arial" pitchFamily="34" charset="0"/>
              </a:rPr>
              <a:t>Orta</a:t>
            </a:r>
            <a:r>
              <a:rPr lang="en-US" sz="1600" kern="0" dirty="0">
                <a:solidFill>
                  <a:srgbClr val="000000"/>
                </a:solidFill>
                <a:latin typeface="Calibri" panose="020F0502020204030204" pitchFamily="34" charset="0"/>
                <a:cs typeface="Arial" pitchFamily="34" charset="0"/>
              </a:rPr>
              <a:t> </a:t>
            </a:r>
            <a:r>
              <a:rPr lang="en-US" sz="1600" kern="0" dirty="0" err="1">
                <a:solidFill>
                  <a:srgbClr val="000000"/>
                </a:solidFill>
                <a:latin typeface="Calibri" panose="020F0502020204030204" pitchFamily="34" charset="0"/>
                <a:cs typeface="Arial" pitchFamily="34" charset="0"/>
              </a:rPr>
              <a:t>Düşük</a:t>
            </a:r>
            <a:r>
              <a:rPr lang="en-US" sz="1600" kern="0" dirty="0">
                <a:solidFill>
                  <a:srgbClr val="000000"/>
                </a:solidFill>
                <a:latin typeface="Calibri" panose="020F0502020204030204" pitchFamily="34" charset="0"/>
                <a:cs typeface="Arial" pitchFamily="34" charset="0"/>
              </a:rPr>
              <a:t> </a:t>
            </a:r>
            <a:r>
              <a:rPr lang="en-US" sz="1600" kern="0" dirty="0" err="1">
                <a:solidFill>
                  <a:srgbClr val="000000"/>
                </a:solidFill>
                <a:latin typeface="Calibri" panose="020F0502020204030204" pitchFamily="34" charset="0"/>
                <a:cs typeface="Arial" pitchFamily="34" charset="0"/>
              </a:rPr>
              <a:t>Teknoloji</a:t>
            </a:r>
            <a:r>
              <a:rPr lang="en-US" sz="1600" kern="0" dirty="0">
                <a:solidFill>
                  <a:srgbClr val="000000"/>
                </a:solidFill>
                <a:latin typeface="Calibri" panose="020F0502020204030204" pitchFamily="34" charset="0"/>
                <a:cs typeface="Arial" pitchFamily="34" charset="0"/>
              </a:rPr>
              <a:t>: 5</a:t>
            </a:r>
          </a:p>
          <a:p>
            <a:pPr lvl="0" fontAlgn="base">
              <a:lnSpc>
                <a:spcPct val="90000"/>
              </a:lnSpc>
              <a:defRPr/>
            </a:pPr>
            <a:r>
              <a:rPr lang="en-US" sz="1600" kern="0" dirty="0" err="1">
                <a:solidFill>
                  <a:srgbClr val="000000"/>
                </a:solidFill>
                <a:latin typeface="Calibri" panose="020F0502020204030204" pitchFamily="34" charset="0"/>
                <a:cs typeface="Arial" pitchFamily="34" charset="0"/>
              </a:rPr>
              <a:t>Orta</a:t>
            </a:r>
            <a:r>
              <a:rPr lang="en-US" sz="1600" kern="0" dirty="0">
                <a:solidFill>
                  <a:srgbClr val="000000"/>
                </a:solidFill>
                <a:latin typeface="Calibri" panose="020F0502020204030204" pitchFamily="34" charset="0"/>
                <a:cs typeface="Arial" pitchFamily="34" charset="0"/>
              </a:rPr>
              <a:t> </a:t>
            </a:r>
            <a:r>
              <a:rPr lang="en-US" sz="1600" kern="0" dirty="0" err="1">
                <a:solidFill>
                  <a:srgbClr val="000000"/>
                </a:solidFill>
                <a:latin typeface="Calibri" panose="020F0502020204030204" pitchFamily="34" charset="0"/>
                <a:cs typeface="Arial" pitchFamily="34" charset="0"/>
              </a:rPr>
              <a:t>Yüksek</a:t>
            </a:r>
            <a:r>
              <a:rPr lang="en-US" sz="1600" kern="0" dirty="0">
                <a:solidFill>
                  <a:srgbClr val="000000"/>
                </a:solidFill>
                <a:latin typeface="Calibri" panose="020F0502020204030204" pitchFamily="34" charset="0"/>
                <a:cs typeface="Arial" pitchFamily="34" charset="0"/>
              </a:rPr>
              <a:t> Teknoloji:113</a:t>
            </a:r>
          </a:p>
          <a:p>
            <a:pPr lvl="0" fontAlgn="base">
              <a:lnSpc>
                <a:spcPct val="90000"/>
              </a:lnSpc>
              <a:defRPr/>
            </a:pPr>
            <a:r>
              <a:rPr lang="en-US" sz="1600" kern="0" dirty="0" err="1">
                <a:solidFill>
                  <a:srgbClr val="000000"/>
                </a:solidFill>
                <a:latin typeface="Calibri" panose="020F0502020204030204" pitchFamily="34" charset="0"/>
                <a:cs typeface="Arial" pitchFamily="34" charset="0"/>
              </a:rPr>
              <a:t>Yüksek</a:t>
            </a:r>
            <a:r>
              <a:rPr lang="en-US" sz="1600" kern="0" dirty="0">
                <a:solidFill>
                  <a:srgbClr val="000000"/>
                </a:solidFill>
                <a:latin typeface="Calibri" panose="020F0502020204030204" pitchFamily="34" charset="0"/>
                <a:cs typeface="Arial" pitchFamily="34" charset="0"/>
              </a:rPr>
              <a:t> </a:t>
            </a:r>
            <a:r>
              <a:rPr lang="en-US" sz="1600" kern="0" dirty="0" err="1">
                <a:solidFill>
                  <a:srgbClr val="000000"/>
                </a:solidFill>
                <a:latin typeface="Calibri" panose="020F0502020204030204" pitchFamily="34" charset="0"/>
                <a:cs typeface="Arial" pitchFamily="34" charset="0"/>
              </a:rPr>
              <a:t>Teknoloji</a:t>
            </a:r>
            <a:r>
              <a:rPr lang="en-US" sz="1600" kern="0" dirty="0">
                <a:solidFill>
                  <a:srgbClr val="000000"/>
                </a:solidFill>
                <a:latin typeface="Calibri" panose="020F0502020204030204" pitchFamily="34" charset="0"/>
                <a:cs typeface="Arial" pitchFamily="34" charset="0"/>
              </a:rPr>
              <a:t>: 39</a:t>
            </a:r>
          </a:p>
        </p:txBody>
      </p:sp>
      <p:sp>
        <p:nvSpPr>
          <p:cNvPr id="68" name="Pentagon 19"/>
          <p:cNvSpPr/>
          <p:nvPr/>
        </p:nvSpPr>
        <p:spPr bwMode="auto">
          <a:xfrm>
            <a:off x="602369" y="2035609"/>
            <a:ext cx="1088601" cy="702574"/>
          </a:xfrm>
          <a:prstGeom prst="homePlate">
            <a:avLst>
              <a:gd name="adj" fmla="val 273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79" name="Rectangle 78"/>
          <p:cNvSpPr/>
          <p:nvPr/>
        </p:nvSpPr>
        <p:spPr bwMode="auto">
          <a:xfrm>
            <a:off x="1529986" y="1171423"/>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Ins="0" bIns="0" rtlCol="0" anchor="ctr"/>
          <a:lstStyle/>
          <a:p>
            <a:pPr lvl="0" fontAlgn="base">
              <a:lnSpc>
                <a:spcPct val="90000"/>
              </a:lnSpc>
              <a:defRPr/>
            </a:pPr>
            <a:r>
              <a:rPr lang="en-US" sz="1600" kern="0" dirty="0">
                <a:solidFill>
                  <a:srgbClr val="000000"/>
                </a:solidFill>
                <a:latin typeface="Calibri" panose="020F0502020204030204" pitchFamily="34" charset="0"/>
                <a:cs typeface="Arial" pitchFamily="34" charset="0"/>
              </a:rPr>
              <a:t>Kabul </a:t>
            </a:r>
            <a:r>
              <a:rPr lang="en-US" sz="1600" kern="0" dirty="0" err="1">
                <a:solidFill>
                  <a:srgbClr val="000000"/>
                </a:solidFill>
                <a:latin typeface="Calibri" panose="020F0502020204030204" pitchFamily="34" charset="0"/>
                <a:cs typeface="Arial" pitchFamily="34" charset="0"/>
              </a:rPr>
              <a:t>edilen</a:t>
            </a:r>
            <a:r>
              <a:rPr lang="en-US" sz="1600" kern="0" dirty="0">
                <a:solidFill>
                  <a:srgbClr val="000000"/>
                </a:solidFill>
                <a:latin typeface="Calibri" panose="020F0502020204030204" pitchFamily="34" charset="0"/>
                <a:cs typeface="Arial" pitchFamily="34" charset="0"/>
              </a:rPr>
              <a:t> </a:t>
            </a:r>
            <a:r>
              <a:rPr lang="en-US" sz="1600" kern="0" dirty="0" err="1">
                <a:solidFill>
                  <a:srgbClr val="000000"/>
                </a:solidFill>
                <a:latin typeface="Calibri" panose="020F0502020204030204" pitchFamily="34" charset="0"/>
                <a:cs typeface="Arial" pitchFamily="34" charset="0"/>
              </a:rPr>
              <a:t>toplam</a:t>
            </a:r>
            <a:r>
              <a:rPr lang="en-US" sz="1600" kern="0" dirty="0">
                <a:solidFill>
                  <a:srgbClr val="000000"/>
                </a:solidFill>
                <a:latin typeface="Calibri" panose="020F0502020204030204" pitchFamily="34" charset="0"/>
                <a:cs typeface="Arial" pitchFamily="34" charset="0"/>
              </a:rPr>
              <a:t> </a:t>
            </a:r>
            <a:r>
              <a:rPr lang="en-US" sz="1600" kern="0" dirty="0" err="1">
                <a:solidFill>
                  <a:srgbClr val="000000"/>
                </a:solidFill>
                <a:latin typeface="Calibri" panose="020F0502020204030204" pitchFamily="34" charset="0"/>
                <a:cs typeface="Arial" pitchFamily="34" charset="0"/>
              </a:rPr>
              <a:t>proje</a:t>
            </a:r>
            <a:r>
              <a:rPr lang="en-US" sz="1600" kern="0" dirty="0">
                <a:solidFill>
                  <a:srgbClr val="000000"/>
                </a:solidFill>
                <a:latin typeface="Calibri" panose="020F0502020204030204" pitchFamily="34" charset="0"/>
                <a:cs typeface="Arial" pitchFamily="34" charset="0"/>
              </a:rPr>
              <a:t> </a:t>
            </a:r>
            <a:r>
              <a:rPr lang="en-US" sz="1600" kern="0" dirty="0" err="1">
                <a:solidFill>
                  <a:srgbClr val="000000"/>
                </a:solidFill>
                <a:latin typeface="Calibri" panose="020F0502020204030204" pitchFamily="34" charset="0"/>
                <a:cs typeface="Arial" pitchFamily="34" charset="0"/>
              </a:rPr>
              <a:t>sayısı</a:t>
            </a:r>
            <a:r>
              <a:rPr lang="en-US" sz="1600" kern="0" dirty="0">
                <a:solidFill>
                  <a:srgbClr val="000000"/>
                </a:solidFill>
                <a:latin typeface="Calibri" panose="020F0502020204030204" pitchFamily="34" charset="0"/>
                <a:cs typeface="Arial" pitchFamily="34" charset="0"/>
              </a:rPr>
              <a:t>: </a:t>
            </a:r>
            <a:r>
              <a:rPr lang="en-US" b="1" kern="0" dirty="0">
                <a:solidFill>
                  <a:srgbClr val="000000"/>
                </a:solidFill>
                <a:latin typeface="Calibri" panose="020F0502020204030204" pitchFamily="34" charset="0"/>
                <a:cs typeface="Arial" pitchFamily="34" charset="0"/>
              </a:rPr>
              <a:t>157 </a:t>
            </a:r>
          </a:p>
          <a:p>
            <a:pPr lvl="0" fontAlgn="base">
              <a:lnSpc>
                <a:spcPct val="90000"/>
              </a:lnSpc>
              <a:defRPr/>
            </a:pPr>
            <a:r>
              <a:rPr lang="en-US" sz="1600" kern="0" dirty="0">
                <a:solidFill>
                  <a:srgbClr val="000000"/>
                </a:solidFill>
                <a:latin typeface="Calibri" panose="020F0502020204030204" pitchFamily="34" charset="0"/>
                <a:cs typeface="Arial" pitchFamily="34" charset="0"/>
              </a:rPr>
              <a:t>(1. </a:t>
            </a:r>
            <a:r>
              <a:rPr lang="en-US" sz="1600" kern="0" dirty="0" err="1">
                <a:solidFill>
                  <a:srgbClr val="000000"/>
                </a:solidFill>
                <a:latin typeface="Calibri" panose="020F0502020204030204" pitchFamily="34" charset="0"/>
                <a:cs typeface="Arial" pitchFamily="34" charset="0"/>
              </a:rPr>
              <a:t>Dönem</a:t>
            </a:r>
            <a:r>
              <a:rPr lang="en-US" sz="1600" kern="0" dirty="0">
                <a:solidFill>
                  <a:srgbClr val="000000"/>
                </a:solidFill>
                <a:latin typeface="Calibri" panose="020F0502020204030204" pitchFamily="34" charset="0"/>
                <a:cs typeface="Arial" pitchFamily="34" charset="0"/>
              </a:rPr>
              <a:t>: 74</a:t>
            </a:r>
          </a:p>
          <a:p>
            <a:pPr lvl="0" fontAlgn="base">
              <a:lnSpc>
                <a:spcPct val="90000"/>
              </a:lnSpc>
              <a:defRPr/>
            </a:pPr>
            <a:r>
              <a:rPr lang="en-US" sz="1600" kern="0" dirty="0">
                <a:solidFill>
                  <a:srgbClr val="000000"/>
                </a:solidFill>
                <a:latin typeface="Calibri" panose="020F0502020204030204" pitchFamily="34" charset="0"/>
                <a:cs typeface="Arial" pitchFamily="34" charset="0"/>
              </a:rPr>
              <a:t>2. </a:t>
            </a:r>
            <a:r>
              <a:rPr lang="en-US" sz="1600" kern="0" dirty="0" err="1">
                <a:solidFill>
                  <a:srgbClr val="000000"/>
                </a:solidFill>
                <a:latin typeface="Calibri" panose="020F0502020204030204" pitchFamily="34" charset="0"/>
                <a:cs typeface="Arial" pitchFamily="34" charset="0"/>
              </a:rPr>
              <a:t>Dönem</a:t>
            </a:r>
            <a:r>
              <a:rPr lang="en-US" sz="1600" kern="0" dirty="0">
                <a:solidFill>
                  <a:srgbClr val="000000"/>
                </a:solidFill>
                <a:latin typeface="Calibri" panose="020F0502020204030204" pitchFamily="34" charset="0"/>
                <a:cs typeface="Arial" pitchFamily="34" charset="0"/>
              </a:rPr>
              <a:t>: 83)</a:t>
            </a:r>
          </a:p>
        </p:txBody>
      </p:sp>
      <p:sp>
        <p:nvSpPr>
          <p:cNvPr id="80" name="Pentagon 26"/>
          <p:cNvSpPr/>
          <p:nvPr/>
        </p:nvSpPr>
        <p:spPr bwMode="auto">
          <a:xfrm>
            <a:off x="617440" y="1162897"/>
            <a:ext cx="1075482" cy="707864"/>
          </a:xfrm>
          <a:prstGeom prst="homePlate">
            <a:avLst>
              <a:gd name="adj" fmla="val 27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82" name="Rectangle 81"/>
          <p:cNvSpPr>
            <a:spLocks/>
          </p:cNvSpPr>
          <p:nvPr/>
        </p:nvSpPr>
        <p:spPr bwMode="auto">
          <a:xfrm>
            <a:off x="1499165" y="3734831"/>
            <a:ext cx="10110944" cy="7012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lvl="0" fontAlgn="base">
              <a:lnSpc>
                <a:spcPct val="90000"/>
              </a:lnSpc>
              <a:defRPr/>
            </a:pPr>
            <a:r>
              <a:rPr lang="en-US" sz="1600" kern="0" dirty="0" err="1">
                <a:solidFill>
                  <a:srgbClr val="000000"/>
                </a:solidFill>
                <a:latin typeface="Calibri" panose="020F0502020204030204" pitchFamily="34" charset="0"/>
                <a:cs typeface="Arial" pitchFamily="34" charset="0"/>
              </a:rPr>
              <a:t>Toplam</a:t>
            </a:r>
            <a:r>
              <a:rPr lang="en-US" sz="1600" kern="0" dirty="0">
                <a:solidFill>
                  <a:srgbClr val="000000"/>
                </a:solidFill>
                <a:latin typeface="Calibri" panose="020F0502020204030204" pitchFamily="34" charset="0"/>
                <a:cs typeface="Arial" pitchFamily="34" charset="0"/>
              </a:rPr>
              <a:t> KOSGEB Destek </a:t>
            </a:r>
            <a:r>
              <a:rPr lang="en-US" sz="1600" kern="0" dirty="0" err="1">
                <a:solidFill>
                  <a:srgbClr val="000000"/>
                </a:solidFill>
                <a:latin typeface="Calibri" panose="020F0502020204030204" pitchFamily="34" charset="0"/>
                <a:cs typeface="Arial" pitchFamily="34" charset="0"/>
              </a:rPr>
              <a:t>Tutarı</a:t>
            </a:r>
            <a:r>
              <a:rPr lang="en-US" sz="1600" kern="0" dirty="0">
                <a:solidFill>
                  <a:srgbClr val="000000"/>
                </a:solidFill>
                <a:latin typeface="Calibri" panose="020F0502020204030204" pitchFamily="34" charset="0"/>
                <a:cs typeface="Arial" pitchFamily="34" charset="0"/>
              </a:rPr>
              <a:t>: </a:t>
            </a:r>
            <a:r>
              <a:rPr lang="en-US" b="1" kern="0" dirty="0">
                <a:solidFill>
                  <a:srgbClr val="000000"/>
                </a:solidFill>
                <a:latin typeface="Calibri" panose="020F0502020204030204" pitchFamily="34" charset="0"/>
                <a:cs typeface="Arial" pitchFamily="34" charset="0"/>
              </a:rPr>
              <a:t>604.178.906,82</a:t>
            </a:r>
          </a:p>
        </p:txBody>
      </p:sp>
      <p:sp>
        <p:nvSpPr>
          <p:cNvPr id="83" name="Pentagon 47"/>
          <p:cNvSpPr/>
          <p:nvPr/>
        </p:nvSpPr>
        <p:spPr bwMode="auto">
          <a:xfrm>
            <a:off x="605033" y="3733046"/>
            <a:ext cx="1046053" cy="696811"/>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21" name="POWER_USER_ID_ICONS_Certificate"/>
          <p:cNvGrpSpPr>
            <a:grpSpLocks noChangeAspect="1"/>
          </p:cNvGrpSpPr>
          <p:nvPr>
            <p:custDataLst>
              <p:tags r:id="rId2"/>
            </p:custDataLst>
          </p:nvPr>
        </p:nvGrpSpPr>
        <p:grpSpPr bwMode="auto">
          <a:xfrm>
            <a:off x="768708" y="3030547"/>
            <a:ext cx="655638" cy="512763"/>
            <a:chOff x="44" y="66"/>
            <a:chExt cx="413" cy="323"/>
          </a:xfrm>
          <a:solidFill>
            <a:schemeClr val="bg1"/>
          </a:solidFill>
        </p:grpSpPr>
        <p:sp>
          <p:nvSpPr>
            <p:cNvPr id="22" name="POWER_USER_ID_ICONS_Certificate"/>
            <p:cNvSpPr>
              <a:spLocks noEditPoints="1"/>
            </p:cNvSpPr>
            <p:nvPr>
              <p:custDataLst>
                <p:tags r:id="rId17"/>
              </p:custDataLst>
            </p:nvPr>
          </p:nvSpPr>
          <p:spPr bwMode="auto">
            <a:xfrm>
              <a:off x="44" y="66"/>
              <a:ext cx="413" cy="323"/>
            </a:xfrm>
            <a:custGeom>
              <a:avLst/>
              <a:gdLst>
                <a:gd name="T0" fmla="*/ 0 w 896"/>
                <a:gd name="T1" fmla="*/ 0 h 698"/>
                <a:gd name="T2" fmla="*/ 0 w 896"/>
                <a:gd name="T3" fmla="*/ 37 h 698"/>
                <a:gd name="T4" fmla="*/ 0 w 896"/>
                <a:gd name="T5" fmla="*/ 661 h 698"/>
                <a:gd name="T6" fmla="*/ 0 w 896"/>
                <a:gd name="T7" fmla="*/ 698 h 698"/>
                <a:gd name="T8" fmla="*/ 36 w 896"/>
                <a:gd name="T9" fmla="*/ 698 h 698"/>
                <a:gd name="T10" fmla="*/ 860 w 896"/>
                <a:gd name="T11" fmla="*/ 698 h 698"/>
                <a:gd name="T12" fmla="*/ 896 w 896"/>
                <a:gd name="T13" fmla="*/ 698 h 698"/>
                <a:gd name="T14" fmla="*/ 896 w 896"/>
                <a:gd name="T15" fmla="*/ 661 h 698"/>
                <a:gd name="T16" fmla="*/ 896 w 896"/>
                <a:gd name="T17" fmla="*/ 37 h 698"/>
                <a:gd name="T18" fmla="*/ 896 w 896"/>
                <a:gd name="T19" fmla="*/ 0 h 698"/>
                <a:gd name="T20" fmla="*/ 860 w 896"/>
                <a:gd name="T21" fmla="*/ 0 h 698"/>
                <a:gd name="T22" fmla="*/ 36 w 896"/>
                <a:gd name="T23" fmla="*/ 0 h 698"/>
                <a:gd name="T24" fmla="*/ 0 w 896"/>
                <a:gd name="T25" fmla="*/ 0 h 698"/>
                <a:gd name="T26" fmla="*/ 72 w 896"/>
                <a:gd name="T27" fmla="*/ 74 h 698"/>
                <a:gd name="T28" fmla="*/ 824 w 896"/>
                <a:gd name="T29" fmla="*/ 74 h 698"/>
                <a:gd name="T30" fmla="*/ 824 w 896"/>
                <a:gd name="T31" fmla="*/ 624 h 698"/>
                <a:gd name="T32" fmla="*/ 72 w 896"/>
                <a:gd name="T33" fmla="*/ 624 h 698"/>
                <a:gd name="T34" fmla="*/ 72 w 896"/>
                <a:gd name="T35" fmla="*/ 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6" h="698">
                  <a:moveTo>
                    <a:pt x="0" y="0"/>
                  </a:moveTo>
                  <a:lnTo>
                    <a:pt x="0" y="37"/>
                  </a:lnTo>
                  <a:lnTo>
                    <a:pt x="0" y="661"/>
                  </a:lnTo>
                  <a:lnTo>
                    <a:pt x="0" y="698"/>
                  </a:lnTo>
                  <a:lnTo>
                    <a:pt x="36" y="698"/>
                  </a:lnTo>
                  <a:lnTo>
                    <a:pt x="860" y="698"/>
                  </a:lnTo>
                  <a:lnTo>
                    <a:pt x="896" y="698"/>
                  </a:lnTo>
                  <a:lnTo>
                    <a:pt x="896" y="661"/>
                  </a:lnTo>
                  <a:lnTo>
                    <a:pt x="896" y="37"/>
                  </a:lnTo>
                  <a:lnTo>
                    <a:pt x="896" y="0"/>
                  </a:lnTo>
                  <a:lnTo>
                    <a:pt x="860" y="0"/>
                  </a:lnTo>
                  <a:lnTo>
                    <a:pt x="36" y="0"/>
                  </a:lnTo>
                  <a:lnTo>
                    <a:pt x="0" y="0"/>
                  </a:lnTo>
                  <a:close/>
                  <a:moveTo>
                    <a:pt x="72" y="74"/>
                  </a:moveTo>
                  <a:lnTo>
                    <a:pt x="824" y="74"/>
                  </a:lnTo>
                  <a:lnTo>
                    <a:pt x="824" y="624"/>
                  </a:lnTo>
                  <a:lnTo>
                    <a:pt x="72" y="624"/>
                  </a:lnTo>
                  <a:lnTo>
                    <a:pt x="72" y="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3" name="POWER_USER_ID_ICONS_Certificate"/>
            <p:cNvSpPr>
              <a:spLocks noEditPoints="1"/>
            </p:cNvSpPr>
            <p:nvPr>
              <p:custDataLst>
                <p:tags r:id="rId18"/>
              </p:custDataLst>
            </p:nvPr>
          </p:nvSpPr>
          <p:spPr bwMode="auto">
            <a:xfrm>
              <a:off x="100" y="121"/>
              <a:ext cx="303" cy="213"/>
            </a:xfrm>
            <a:custGeom>
              <a:avLst/>
              <a:gdLst>
                <a:gd name="T0" fmla="*/ 0 w 657"/>
                <a:gd name="T1" fmla="*/ 0 h 462"/>
                <a:gd name="T2" fmla="*/ 0 w 657"/>
                <a:gd name="T3" fmla="*/ 6 h 462"/>
                <a:gd name="T4" fmla="*/ 0 w 657"/>
                <a:gd name="T5" fmla="*/ 456 h 462"/>
                <a:gd name="T6" fmla="*/ 0 w 657"/>
                <a:gd name="T7" fmla="*/ 462 h 462"/>
                <a:gd name="T8" fmla="*/ 5 w 657"/>
                <a:gd name="T9" fmla="*/ 462 h 462"/>
                <a:gd name="T10" fmla="*/ 651 w 657"/>
                <a:gd name="T11" fmla="*/ 462 h 462"/>
                <a:gd name="T12" fmla="*/ 657 w 657"/>
                <a:gd name="T13" fmla="*/ 462 h 462"/>
                <a:gd name="T14" fmla="*/ 657 w 657"/>
                <a:gd name="T15" fmla="*/ 456 h 462"/>
                <a:gd name="T16" fmla="*/ 657 w 657"/>
                <a:gd name="T17" fmla="*/ 6 h 462"/>
                <a:gd name="T18" fmla="*/ 657 w 657"/>
                <a:gd name="T19" fmla="*/ 0 h 462"/>
                <a:gd name="T20" fmla="*/ 651 w 657"/>
                <a:gd name="T21" fmla="*/ 0 h 462"/>
                <a:gd name="T22" fmla="*/ 5 w 657"/>
                <a:gd name="T23" fmla="*/ 0 h 462"/>
                <a:gd name="T24" fmla="*/ 0 w 657"/>
                <a:gd name="T25" fmla="*/ 0 h 462"/>
                <a:gd name="T26" fmla="*/ 11 w 657"/>
                <a:gd name="T27" fmla="*/ 12 h 462"/>
                <a:gd name="T28" fmla="*/ 645 w 657"/>
                <a:gd name="T29" fmla="*/ 12 h 462"/>
                <a:gd name="T30" fmla="*/ 645 w 657"/>
                <a:gd name="T31" fmla="*/ 450 h 462"/>
                <a:gd name="T32" fmla="*/ 11 w 657"/>
                <a:gd name="T33" fmla="*/ 450 h 462"/>
                <a:gd name="T34" fmla="*/ 11 w 657"/>
                <a:gd name="T35" fmla="*/ 12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7" h="462">
                  <a:moveTo>
                    <a:pt x="0" y="0"/>
                  </a:moveTo>
                  <a:lnTo>
                    <a:pt x="0" y="6"/>
                  </a:lnTo>
                  <a:lnTo>
                    <a:pt x="0" y="456"/>
                  </a:lnTo>
                  <a:lnTo>
                    <a:pt x="0" y="462"/>
                  </a:lnTo>
                  <a:lnTo>
                    <a:pt x="5" y="462"/>
                  </a:lnTo>
                  <a:lnTo>
                    <a:pt x="651" y="462"/>
                  </a:lnTo>
                  <a:lnTo>
                    <a:pt x="657" y="462"/>
                  </a:lnTo>
                  <a:lnTo>
                    <a:pt x="657" y="456"/>
                  </a:lnTo>
                  <a:lnTo>
                    <a:pt x="657" y="6"/>
                  </a:lnTo>
                  <a:lnTo>
                    <a:pt x="657" y="0"/>
                  </a:lnTo>
                  <a:lnTo>
                    <a:pt x="651" y="0"/>
                  </a:lnTo>
                  <a:lnTo>
                    <a:pt x="5" y="0"/>
                  </a:lnTo>
                  <a:lnTo>
                    <a:pt x="0" y="0"/>
                  </a:lnTo>
                  <a:close/>
                  <a:moveTo>
                    <a:pt x="11" y="12"/>
                  </a:moveTo>
                  <a:lnTo>
                    <a:pt x="645" y="12"/>
                  </a:lnTo>
                  <a:lnTo>
                    <a:pt x="645" y="450"/>
                  </a:lnTo>
                  <a:lnTo>
                    <a:pt x="11" y="450"/>
                  </a:lnTo>
                  <a:lnTo>
                    <a:pt x="11"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4" name="POWER_USER_ID_ICONS_Certificate"/>
            <p:cNvSpPr>
              <a:spLocks noEditPoints="1"/>
            </p:cNvSpPr>
            <p:nvPr>
              <p:custDataLst>
                <p:tags r:id="rId19"/>
              </p:custDataLst>
            </p:nvPr>
          </p:nvSpPr>
          <p:spPr bwMode="auto">
            <a:xfrm>
              <a:off x="331" y="221"/>
              <a:ext cx="60" cy="93"/>
            </a:xfrm>
            <a:custGeom>
              <a:avLst/>
              <a:gdLst>
                <a:gd name="T0" fmla="*/ 57 w 130"/>
                <a:gd name="T1" fmla="*/ 13 h 202"/>
                <a:gd name="T2" fmla="*/ 65 w 130"/>
                <a:gd name="T3" fmla="*/ 0 h 202"/>
                <a:gd name="T4" fmla="*/ 73 w 130"/>
                <a:gd name="T5" fmla="*/ 13 h 202"/>
                <a:gd name="T6" fmla="*/ 85 w 130"/>
                <a:gd name="T7" fmla="*/ 3 h 202"/>
                <a:gd name="T8" fmla="*/ 89 w 130"/>
                <a:gd name="T9" fmla="*/ 18 h 202"/>
                <a:gd name="T10" fmla="*/ 103 w 130"/>
                <a:gd name="T11" fmla="*/ 12 h 202"/>
                <a:gd name="T12" fmla="*/ 102 w 130"/>
                <a:gd name="T13" fmla="*/ 28 h 202"/>
                <a:gd name="T14" fmla="*/ 118 w 130"/>
                <a:gd name="T15" fmla="*/ 26 h 202"/>
                <a:gd name="T16" fmla="*/ 111 w 130"/>
                <a:gd name="T17" fmla="*/ 41 h 202"/>
                <a:gd name="T18" fmla="*/ 127 w 130"/>
                <a:gd name="T19" fmla="*/ 44 h 202"/>
                <a:gd name="T20" fmla="*/ 117 w 130"/>
                <a:gd name="T21" fmla="*/ 57 h 202"/>
                <a:gd name="T22" fmla="*/ 130 w 130"/>
                <a:gd name="T23" fmla="*/ 65 h 202"/>
                <a:gd name="T24" fmla="*/ 116 w 130"/>
                <a:gd name="T25" fmla="*/ 73 h 202"/>
                <a:gd name="T26" fmla="*/ 127 w 130"/>
                <a:gd name="T27" fmla="*/ 85 h 202"/>
                <a:gd name="T28" fmla="*/ 111 w 130"/>
                <a:gd name="T29" fmla="*/ 88 h 202"/>
                <a:gd name="T30" fmla="*/ 118 w 130"/>
                <a:gd name="T31" fmla="*/ 103 h 202"/>
                <a:gd name="T32" fmla="*/ 102 w 130"/>
                <a:gd name="T33" fmla="*/ 101 h 202"/>
                <a:gd name="T34" fmla="*/ 103 w 130"/>
                <a:gd name="T35" fmla="*/ 117 h 202"/>
                <a:gd name="T36" fmla="*/ 89 w 130"/>
                <a:gd name="T37" fmla="*/ 111 h 202"/>
                <a:gd name="T38" fmla="*/ 88 w 130"/>
                <a:gd name="T39" fmla="*/ 118 h 202"/>
                <a:gd name="T40" fmla="*/ 114 w 130"/>
                <a:gd name="T41" fmla="*/ 194 h 202"/>
                <a:gd name="T42" fmla="*/ 93 w 130"/>
                <a:gd name="T43" fmla="*/ 182 h 202"/>
                <a:gd name="T44" fmla="*/ 83 w 130"/>
                <a:gd name="T45" fmla="*/ 202 h 202"/>
                <a:gd name="T46" fmla="*/ 82 w 130"/>
                <a:gd name="T47" fmla="*/ 198 h 202"/>
                <a:gd name="T48" fmla="*/ 66 w 130"/>
                <a:gd name="T49" fmla="*/ 129 h 202"/>
                <a:gd name="T50" fmla="*/ 65 w 130"/>
                <a:gd name="T51" fmla="*/ 129 h 202"/>
                <a:gd name="T52" fmla="*/ 52 w 130"/>
                <a:gd name="T53" fmla="*/ 183 h 202"/>
                <a:gd name="T54" fmla="*/ 48 w 130"/>
                <a:gd name="T55" fmla="*/ 202 h 202"/>
                <a:gd name="T56" fmla="*/ 37 w 130"/>
                <a:gd name="T57" fmla="*/ 182 h 202"/>
                <a:gd name="T58" fmla="*/ 17 w 130"/>
                <a:gd name="T59" fmla="*/ 194 h 202"/>
                <a:gd name="T60" fmla="*/ 42 w 130"/>
                <a:gd name="T61" fmla="*/ 118 h 202"/>
                <a:gd name="T62" fmla="*/ 42 w 130"/>
                <a:gd name="T63" fmla="*/ 111 h 202"/>
                <a:gd name="T64" fmla="*/ 27 w 130"/>
                <a:gd name="T65" fmla="*/ 117 h 202"/>
                <a:gd name="T66" fmla="*/ 28 w 130"/>
                <a:gd name="T67" fmla="*/ 101 h 202"/>
                <a:gd name="T68" fmla="*/ 13 w 130"/>
                <a:gd name="T69" fmla="*/ 103 h 202"/>
                <a:gd name="T70" fmla="*/ 19 w 130"/>
                <a:gd name="T71" fmla="*/ 88 h 202"/>
                <a:gd name="T72" fmla="*/ 4 w 130"/>
                <a:gd name="T73" fmla="*/ 85 h 202"/>
                <a:gd name="T74" fmla="*/ 14 w 130"/>
                <a:gd name="T75" fmla="*/ 73 h 202"/>
                <a:gd name="T76" fmla="*/ 0 w 130"/>
                <a:gd name="T77" fmla="*/ 65 h 202"/>
                <a:gd name="T78" fmla="*/ 14 w 130"/>
                <a:gd name="T79" fmla="*/ 57 h 202"/>
                <a:gd name="T80" fmla="*/ 4 w 130"/>
                <a:gd name="T81" fmla="*/ 44 h 202"/>
                <a:gd name="T82" fmla="*/ 19 w 130"/>
                <a:gd name="T83" fmla="*/ 41 h 202"/>
                <a:gd name="T84" fmla="*/ 13 w 130"/>
                <a:gd name="T85" fmla="*/ 26 h 202"/>
                <a:gd name="T86" fmla="*/ 28 w 130"/>
                <a:gd name="T87" fmla="*/ 28 h 202"/>
                <a:gd name="T88" fmla="*/ 27 w 130"/>
                <a:gd name="T89" fmla="*/ 12 h 202"/>
                <a:gd name="T90" fmla="*/ 42 w 130"/>
                <a:gd name="T91" fmla="*/ 18 h 202"/>
                <a:gd name="T92" fmla="*/ 45 w 130"/>
                <a:gd name="T93" fmla="*/ 3 h 202"/>
                <a:gd name="T94" fmla="*/ 57 w 130"/>
                <a:gd name="T95" fmla="*/ 13 h 202"/>
                <a:gd name="T96" fmla="*/ 63 w 130"/>
                <a:gd name="T97" fmla="*/ 22 h 202"/>
                <a:gd name="T98" fmla="*/ 31 w 130"/>
                <a:gd name="T99" fmla="*/ 39 h 202"/>
                <a:gd name="T100" fmla="*/ 26 w 130"/>
                <a:gd name="T101" fmla="*/ 78 h 202"/>
                <a:gd name="T102" fmla="*/ 45 w 130"/>
                <a:gd name="T103" fmla="*/ 100 h 202"/>
                <a:gd name="T104" fmla="*/ 84 w 130"/>
                <a:gd name="T105" fmla="*/ 101 h 202"/>
                <a:gd name="T106" fmla="*/ 100 w 130"/>
                <a:gd name="T107" fmla="*/ 86 h 202"/>
                <a:gd name="T108" fmla="*/ 99 w 130"/>
                <a:gd name="T109" fmla="*/ 39 h 202"/>
                <a:gd name="T110" fmla="*/ 63 w 130"/>
                <a:gd name="T111" fmla="*/ 2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202">
                  <a:moveTo>
                    <a:pt x="57" y="13"/>
                  </a:moveTo>
                  <a:cubicBezTo>
                    <a:pt x="60" y="9"/>
                    <a:pt x="62" y="4"/>
                    <a:pt x="65" y="0"/>
                  </a:cubicBezTo>
                  <a:cubicBezTo>
                    <a:pt x="68" y="4"/>
                    <a:pt x="71" y="9"/>
                    <a:pt x="73" y="13"/>
                  </a:cubicBezTo>
                  <a:cubicBezTo>
                    <a:pt x="77" y="10"/>
                    <a:pt x="81" y="6"/>
                    <a:pt x="85" y="3"/>
                  </a:cubicBezTo>
                  <a:cubicBezTo>
                    <a:pt x="86" y="8"/>
                    <a:pt x="88" y="13"/>
                    <a:pt x="89" y="18"/>
                  </a:cubicBezTo>
                  <a:cubicBezTo>
                    <a:pt x="94" y="16"/>
                    <a:pt x="98" y="14"/>
                    <a:pt x="103" y="12"/>
                  </a:cubicBezTo>
                  <a:cubicBezTo>
                    <a:pt x="103" y="17"/>
                    <a:pt x="102" y="23"/>
                    <a:pt x="102" y="28"/>
                  </a:cubicBezTo>
                  <a:cubicBezTo>
                    <a:pt x="107" y="27"/>
                    <a:pt x="112" y="27"/>
                    <a:pt x="118" y="26"/>
                  </a:cubicBezTo>
                  <a:cubicBezTo>
                    <a:pt x="116" y="31"/>
                    <a:pt x="113" y="36"/>
                    <a:pt x="111" y="41"/>
                  </a:cubicBezTo>
                  <a:cubicBezTo>
                    <a:pt x="117" y="42"/>
                    <a:pt x="122" y="43"/>
                    <a:pt x="127" y="44"/>
                  </a:cubicBezTo>
                  <a:cubicBezTo>
                    <a:pt x="123" y="49"/>
                    <a:pt x="120" y="52"/>
                    <a:pt x="117" y="57"/>
                  </a:cubicBezTo>
                  <a:cubicBezTo>
                    <a:pt x="121" y="59"/>
                    <a:pt x="126" y="62"/>
                    <a:pt x="130" y="65"/>
                  </a:cubicBezTo>
                  <a:cubicBezTo>
                    <a:pt x="126" y="67"/>
                    <a:pt x="121" y="70"/>
                    <a:pt x="116" y="73"/>
                  </a:cubicBezTo>
                  <a:cubicBezTo>
                    <a:pt x="120" y="77"/>
                    <a:pt x="123" y="81"/>
                    <a:pt x="127" y="85"/>
                  </a:cubicBezTo>
                  <a:cubicBezTo>
                    <a:pt x="122" y="86"/>
                    <a:pt x="117" y="87"/>
                    <a:pt x="111" y="88"/>
                  </a:cubicBezTo>
                  <a:cubicBezTo>
                    <a:pt x="113" y="93"/>
                    <a:pt x="116" y="98"/>
                    <a:pt x="118" y="103"/>
                  </a:cubicBezTo>
                  <a:cubicBezTo>
                    <a:pt x="112" y="102"/>
                    <a:pt x="107" y="102"/>
                    <a:pt x="102" y="101"/>
                  </a:cubicBezTo>
                  <a:cubicBezTo>
                    <a:pt x="102" y="107"/>
                    <a:pt x="103" y="112"/>
                    <a:pt x="103" y="117"/>
                  </a:cubicBezTo>
                  <a:cubicBezTo>
                    <a:pt x="98" y="115"/>
                    <a:pt x="94" y="113"/>
                    <a:pt x="89" y="111"/>
                  </a:cubicBezTo>
                  <a:cubicBezTo>
                    <a:pt x="88" y="113"/>
                    <a:pt x="87" y="116"/>
                    <a:pt x="88" y="118"/>
                  </a:cubicBezTo>
                  <a:cubicBezTo>
                    <a:pt x="97" y="144"/>
                    <a:pt x="105" y="169"/>
                    <a:pt x="114" y="194"/>
                  </a:cubicBezTo>
                  <a:cubicBezTo>
                    <a:pt x="107" y="190"/>
                    <a:pt x="100" y="186"/>
                    <a:pt x="93" y="182"/>
                  </a:cubicBezTo>
                  <a:cubicBezTo>
                    <a:pt x="90" y="189"/>
                    <a:pt x="87" y="196"/>
                    <a:pt x="83" y="202"/>
                  </a:cubicBezTo>
                  <a:cubicBezTo>
                    <a:pt x="82" y="201"/>
                    <a:pt x="82" y="199"/>
                    <a:pt x="82" y="198"/>
                  </a:cubicBezTo>
                  <a:cubicBezTo>
                    <a:pt x="76" y="175"/>
                    <a:pt x="71" y="152"/>
                    <a:pt x="66" y="129"/>
                  </a:cubicBezTo>
                  <a:lnTo>
                    <a:pt x="65" y="129"/>
                  </a:lnTo>
                  <a:cubicBezTo>
                    <a:pt x="61" y="147"/>
                    <a:pt x="56" y="165"/>
                    <a:pt x="52" y="183"/>
                  </a:cubicBezTo>
                  <a:cubicBezTo>
                    <a:pt x="51" y="189"/>
                    <a:pt x="49" y="196"/>
                    <a:pt x="48" y="202"/>
                  </a:cubicBezTo>
                  <a:cubicBezTo>
                    <a:pt x="44" y="195"/>
                    <a:pt x="41" y="188"/>
                    <a:pt x="37" y="182"/>
                  </a:cubicBezTo>
                  <a:cubicBezTo>
                    <a:pt x="30" y="186"/>
                    <a:pt x="23" y="190"/>
                    <a:pt x="17" y="194"/>
                  </a:cubicBezTo>
                  <a:cubicBezTo>
                    <a:pt x="25" y="169"/>
                    <a:pt x="33" y="144"/>
                    <a:pt x="42" y="118"/>
                  </a:cubicBezTo>
                  <a:cubicBezTo>
                    <a:pt x="43" y="116"/>
                    <a:pt x="42" y="113"/>
                    <a:pt x="42" y="111"/>
                  </a:cubicBezTo>
                  <a:cubicBezTo>
                    <a:pt x="37" y="113"/>
                    <a:pt x="32" y="115"/>
                    <a:pt x="27" y="117"/>
                  </a:cubicBezTo>
                  <a:cubicBezTo>
                    <a:pt x="27" y="112"/>
                    <a:pt x="28" y="107"/>
                    <a:pt x="28" y="101"/>
                  </a:cubicBezTo>
                  <a:cubicBezTo>
                    <a:pt x="23" y="102"/>
                    <a:pt x="18" y="102"/>
                    <a:pt x="13" y="103"/>
                  </a:cubicBezTo>
                  <a:cubicBezTo>
                    <a:pt x="15" y="98"/>
                    <a:pt x="17" y="93"/>
                    <a:pt x="19" y="88"/>
                  </a:cubicBezTo>
                  <a:cubicBezTo>
                    <a:pt x="14" y="87"/>
                    <a:pt x="9" y="86"/>
                    <a:pt x="4" y="85"/>
                  </a:cubicBezTo>
                  <a:cubicBezTo>
                    <a:pt x="7" y="81"/>
                    <a:pt x="11" y="77"/>
                    <a:pt x="14" y="73"/>
                  </a:cubicBezTo>
                  <a:cubicBezTo>
                    <a:pt x="9" y="70"/>
                    <a:pt x="5" y="67"/>
                    <a:pt x="0" y="65"/>
                  </a:cubicBezTo>
                  <a:cubicBezTo>
                    <a:pt x="5" y="62"/>
                    <a:pt x="9" y="59"/>
                    <a:pt x="14" y="57"/>
                  </a:cubicBezTo>
                  <a:cubicBezTo>
                    <a:pt x="11" y="52"/>
                    <a:pt x="7" y="49"/>
                    <a:pt x="4" y="44"/>
                  </a:cubicBezTo>
                  <a:cubicBezTo>
                    <a:pt x="9" y="43"/>
                    <a:pt x="14" y="42"/>
                    <a:pt x="19" y="41"/>
                  </a:cubicBezTo>
                  <a:cubicBezTo>
                    <a:pt x="17" y="36"/>
                    <a:pt x="15" y="31"/>
                    <a:pt x="13" y="26"/>
                  </a:cubicBezTo>
                  <a:cubicBezTo>
                    <a:pt x="18" y="27"/>
                    <a:pt x="23" y="27"/>
                    <a:pt x="28" y="28"/>
                  </a:cubicBezTo>
                  <a:cubicBezTo>
                    <a:pt x="28" y="23"/>
                    <a:pt x="28" y="17"/>
                    <a:pt x="27" y="12"/>
                  </a:cubicBezTo>
                  <a:cubicBezTo>
                    <a:pt x="32" y="14"/>
                    <a:pt x="37" y="16"/>
                    <a:pt x="42" y="18"/>
                  </a:cubicBezTo>
                  <a:cubicBezTo>
                    <a:pt x="43" y="13"/>
                    <a:pt x="44" y="8"/>
                    <a:pt x="45" y="3"/>
                  </a:cubicBezTo>
                  <a:cubicBezTo>
                    <a:pt x="49" y="6"/>
                    <a:pt x="53" y="10"/>
                    <a:pt x="57" y="13"/>
                  </a:cubicBezTo>
                  <a:close/>
                  <a:moveTo>
                    <a:pt x="63" y="22"/>
                  </a:moveTo>
                  <a:cubicBezTo>
                    <a:pt x="51" y="22"/>
                    <a:pt x="39" y="29"/>
                    <a:pt x="31" y="39"/>
                  </a:cubicBezTo>
                  <a:cubicBezTo>
                    <a:pt x="23" y="50"/>
                    <a:pt x="22" y="65"/>
                    <a:pt x="26" y="78"/>
                  </a:cubicBezTo>
                  <a:cubicBezTo>
                    <a:pt x="29" y="87"/>
                    <a:pt x="36" y="95"/>
                    <a:pt x="45" y="100"/>
                  </a:cubicBezTo>
                  <a:cubicBezTo>
                    <a:pt x="56" y="106"/>
                    <a:pt x="71" y="107"/>
                    <a:pt x="84" y="101"/>
                  </a:cubicBezTo>
                  <a:cubicBezTo>
                    <a:pt x="90" y="98"/>
                    <a:pt x="96" y="92"/>
                    <a:pt x="100" y="86"/>
                  </a:cubicBezTo>
                  <a:cubicBezTo>
                    <a:pt x="109" y="72"/>
                    <a:pt x="109" y="53"/>
                    <a:pt x="99" y="39"/>
                  </a:cubicBezTo>
                  <a:cubicBezTo>
                    <a:pt x="91" y="28"/>
                    <a:pt x="77" y="21"/>
                    <a:pt x="63"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 name="POWER_USER_ID_ICONS_Certificate"/>
            <p:cNvSpPr>
              <a:spLocks/>
            </p:cNvSpPr>
            <p:nvPr>
              <p:custDataLst>
                <p:tags r:id="rId20"/>
              </p:custDataLst>
            </p:nvPr>
          </p:nvSpPr>
          <p:spPr bwMode="auto">
            <a:xfrm>
              <a:off x="342" y="232"/>
              <a:ext cx="37" cy="37"/>
            </a:xfrm>
            <a:custGeom>
              <a:avLst/>
              <a:gdLst>
                <a:gd name="T0" fmla="*/ 39 w 80"/>
                <a:gd name="T1" fmla="*/ 1 h 80"/>
                <a:gd name="T2" fmla="*/ 75 w 80"/>
                <a:gd name="T3" fmla="*/ 21 h 80"/>
                <a:gd name="T4" fmla="*/ 80 w 80"/>
                <a:gd name="T5" fmla="*/ 42 h 80"/>
                <a:gd name="T6" fmla="*/ 48 w 80"/>
                <a:gd name="T7" fmla="*/ 77 h 80"/>
                <a:gd name="T8" fmla="*/ 9 w 80"/>
                <a:gd name="T9" fmla="*/ 60 h 80"/>
                <a:gd name="T10" fmla="*/ 10 w 80"/>
                <a:gd name="T11" fmla="*/ 16 h 80"/>
                <a:gd name="T12" fmla="*/ 39 w 80"/>
                <a:gd name="T13" fmla="*/ 1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39" y="1"/>
                  </a:moveTo>
                  <a:cubicBezTo>
                    <a:pt x="53" y="0"/>
                    <a:pt x="69" y="8"/>
                    <a:pt x="75" y="21"/>
                  </a:cubicBezTo>
                  <a:cubicBezTo>
                    <a:pt x="79" y="28"/>
                    <a:pt x="80" y="35"/>
                    <a:pt x="80" y="42"/>
                  </a:cubicBezTo>
                  <a:cubicBezTo>
                    <a:pt x="79" y="59"/>
                    <a:pt x="65" y="75"/>
                    <a:pt x="48" y="77"/>
                  </a:cubicBezTo>
                  <a:cubicBezTo>
                    <a:pt x="33" y="80"/>
                    <a:pt x="17" y="73"/>
                    <a:pt x="9" y="60"/>
                  </a:cubicBezTo>
                  <a:cubicBezTo>
                    <a:pt x="0" y="47"/>
                    <a:pt x="1" y="29"/>
                    <a:pt x="10" y="16"/>
                  </a:cubicBezTo>
                  <a:cubicBezTo>
                    <a:pt x="17" y="7"/>
                    <a:pt x="27" y="2"/>
                    <a:pt x="39"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6" name="POWER_USER_ID_ICONS_Certificate"/>
            <p:cNvSpPr>
              <a:spLocks noEditPoints="1"/>
            </p:cNvSpPr>
            <p:nvPr>
              <p:custDataLst>
                <p:tags r:id="rId21"/>
              </p:custDataLst>
            </p:nvPr>
          </p:nvSpPr>
          <p:spPr bwMode="auto">
            <a:xfrm>
              <a:off x="132" y="165"/>
              <a:ext cx="236" cy="32"/>
            </a:xfrm>
            <a:custGeom>
              <a:avLst/>
              <a:gdLst>
                <a:gd name="T0" fmla="*/ 265 w 511"/>
                <a:gd name="T1" fmla="*/ 0 h 68"/>
                <a:gd name="T2" fmla="*/ 265 w 511"/>
                <a:gd name="T3" fmla="*/ 20 h 68"/>
                <a:gd name="T4" fmla="*/ 443 w 511"/>
                <a:gd name="T5" fmla="*/ 44 h 68"/>
                <a:gd name="T6" fmla="*/ 500 w 511"/>
                <a:gd name="T7" fmla="*/ 68 h 68"/>
                <a:gd name="T8" fmla="*/ 511 w 511"/>
                <a:gd name="T9" fmla="*/ 52 h 68"/>
                <a:gd name="T10" fmla="*/ 449 w 511"/>
                <a:gd name="T11" fmla="*/ 26 h 68"/>
                <a:gd name="T12" fmla="*/ 265 w 511"/>
                <a:gd name="T13" fmla="*/ 0 h 68"/>
                <a:gd name="T14" fmla="*/ 224 w 511"/>
                <a:gd name="T15" fmla="*/ 0 h 68"/>
                <a:gd name="T16" fmla="*/ 125 w 511"/>
                <a:gd name="T17" fmla="*/ 11 h 68"/>
                <a:gd name="T18" fmla="*/ 129 w 511"/>
                <a:gd name="T19" fmla="*/ 30 h 68"/>
                <a:gd name="T20" fmla="*/ 226 w 511"/>
                <a:gd name="T21" fmla="*/ 21 h 68"/>
                <a:gd name="T22" fmla="*/ 226 w 511"/>
                <a:gd name="T23" fmla="*/ 0 h 68"/>
                <a:gd name="T24" fmla="*/ 224 w 511"/>
                <a:gd name="T25" fmla="*/ 0 h 68"/>
                <a:gd name="T26" fmla="*/ 87 w 511"/>
                <a:gd name="T27" fmla="*/ 19 h 68"/>
                <a:gd name="T28" fmla="*/ 63 w 511"/>
                <a:gd name="T29" fmla="*/ 26 h 68"/>
                <a:gd name="T30" fmla="*/ 0 w 511"/>
                <a:gd name="T31" fmla="*/ 52 h 68"/>
                <a:gd name="T32" fmla="*/ 11 w 511"/>
                <a:gd name="T33" fmla="*/ 68 h 68"/>
                <a:gd name="T34" fmla="*/ 68 w 511"/>
                <a:gd name="T35" fmla="*/ 44 h 68"/>
                <a:gd name="T36" fmla="*/ 91 w 511"/>
                <a:gd name="T37" fmla="*/ 38 h 68"/>
                <a:gd name="T38" fmla="*/ 87 w 511"/>
                <a:gd name="T39"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1" h="68">
                  <a:moveTo>
                    <a:pt x="265" y="0"/>
                  </a:moveTo>
                  <a:lnTo>
                    <a:pt x="265" y="20"/>
                  </a:lnTo>
                  <a:cubicBezTo>
                    <a:pt x="346" y="21"/>
                    <a:pt x="404" y="33"/>
                    <a:pt x="443" y="44"/>
                  </a:cubicBezTo>
                  <a:cubicBezTo>
                    <a:pt x="483" y="57"/>
                    <a:pt x="500" y="68"/>
                    <a:pt x="500" y="68"/>
                  </a:cubicBezTo>
                  <a:lnTo>
                    <a:pt x="511" y="52"/>
                  </a:lnTo>
                  <a:cubicBezTo>
                    <a:pt x="511" y="52"/>
                    <a:pt x="490" y="38"/>
                    <a:pt x="449" y="26"/>
                  </a:cubicBezTo>
                  <a:cubicBezTo>
                    <a:pt x="409" y="13"/>
                    <a:pt x="348" y="1"/>
                    <a:pt x="265" y="0"/>
                  </a:cubicBezTo>
                  <a:close/>
                  <a:moveTo>
                    <a:pt x="224" y="0"/>
                  </a:moveTo>
                  <a:cubicBezTo>
                    <a:pt x="185" y="2"/>
                    <a:pt x="153" y="6"/>
                    <a:pt x="125" y="11"/>
                  </a:cubicBezTo>
                  <a:lnTo>
                    <a:pt x="129" y="30"/>
                  </a:lnTo>
                  <a:cubicBezTo>
                    <a:pt x="156" y="26"/>
                    <a:pt x="188" y="22"/>
                    <a:pt x="226" y="21"/>
                  </a:cubicBezTo>
                  <a:lnTo>
                    <a:pt x="226" y="0"/>
                  </a:lnTo>
                  <a:cubicBezTo>
                    <a:pt x="225" y="0"/>
                    <a:pt x="224" y="0"/>
                    <a:pt x="224" y="0"/>
                  </a:cubicBezTo>
                  <a:close/>
                  <a:moveTo>
                    <a:pt x="87" y="19"/>
                  </a:moveTo>
                  <a:cubicBezTo>
                    <a:pt x="78" y="21"/>
                    <a:pt x="70" y="23"/>
                    <a:pt x="63" y="26"/>
                  </a:cubicBezTo>
                  <a:cubicBezTo>
                    <a:pt x="21" y="38"/>
                    <a:pt x="0" y="52"/>
                    <a:pt x="0" y="52"/>
                  </a:cubicBezTo>
                  <a:lnTo>
                    <a:pt x="11" y="68"/>
                  </a:lnTo>
                  <a:cubicBezTo>
                    <a:pt x="11" y="68"/>
                    <a:pt x="28" y="57"/>
                    <a:pt x="68" y="44"/>
                  </a:cubicBezTo>
                  <a:cubicBezTo>
                    <a:pt x="75" y="42"/>
                    <a:pt x="83" y="40"/>
                    <a:pt x="91" y="38"/>
                  </a:cubicBezTo>
                  <a:lnTo>
                    <a:pt x="87" y="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7" name="POWER_USER_ID_ICONS_Certificate"/>
            <p:cNvSpPr>
              <a:spLocks noChangeArrowheads="1"/>
            </p:cNvSpPr>
            <p:nvPr>
              <p:custDataLst>
                <p:tags r:id="rId22"/>
              </p:custDataLst>
            </p:nvPr>
          </p:nvSpPr>
          <p:spPr bwMode="auto">
            <a:xfrm>
              <a:off x="123" y="283"/>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8" name="POWER_USER_ID_ICONS_Certificate"/>
            <p:cNvSpPr>
              <a:spLocks noChangeArrowheads="1"/>
            </p:cNvSpPr>
            <p:nvPr>
              <p:custDataLst>
                <p:tags r:id="rId23"/>
              </p:custDataLst>
            </p:nvPr>
          </p:nvSpPr>
          <p:spPr bwMode="auto">
            <a:xfrm>
              <a:off x="123" y="306"/>
              <a:ext cx="69" cy="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0" name="POWER_USER_ID_ICONS_Equality2"/>
          <p:cNvGrpSpPr>
            <a:grpSpLocks noChangeAspect="1"/>
          </p:cNvGrpSpPr>
          <p:nvPr>
            <p:custDataLst>
              <p:tags r:id="rId3"/>
            </p:custDataLst>
          </p:nvPr>
        </p:nvGrpSpPr>
        <p:grpSpPr bwMode="auto">
          <a:xfrm>
            <a:off x="710835" y="2131967"/>
            <a:ext cx="722313" cy="469900"/>
            <a:chOff x="15" y="183"/>
            <a:chExt cx="455" cy="296"/>
          </a:xfrm>
          <a:solidFill>
            <a:schemeClr val="bg1"/>
          </a:solidFill>
        </p:grpSpPr>
        <p:sp>
          <p:nvSpPr>
            <p:cNvPr id="31" name="POWER_USER_ID_ICONS_Equality2"/>
            <p:cNvSpPr>
              <a:spLocks noEditPoints="1"/>
            </p:cNvSpPr>
            <p:nvPr>
              <p:custDataLst>
                <p:tags r:id="rId13"/>
              </p:custDataLst>
            </p:nvPr>
          </p:nvSpPr>
          <p:spPr bwMode="auto">
            <a:xfrm>
              <a:off x="25" y="183"/>
              <a:ext cx="104" cy="104"/>
            </a:xfrm>
            <a:custGeom>
              <a:avLst/>
              <a:gdLst>
                <a:gd name="T0" fmla="*/ 139 w 278"/>
                <a:gd name="T1" fmla="*/ 25 h 278"/>
                <a:gd name="T2" fmla="*/ 253 w 278"/>
                <a:gd name="T3" fmla="*/ 139 h 278"/>
                <a:gd name="T4" fmla="*/ 139 w 278"/>
                <a:gd name="T5" fmla="*/ 253 h 278"/>
                <a:gd name="T6" fmla="*/ 25 w 278"/>
                <a:gd name="T7" fmla="*/ 139 h 278"/>
                <a:gd name="T8" fmla="*/ 58 w 278"/>
                <a:gd name="T9" fmla="*/ 59 h 278"/>
                <a:gd name="T10" fmla="*/ 139 w 278"/>
                <a:gd name="T11" fmla="*/ 25 h 278"/>
                <a:gd name="T12" fmla="*/ 139 w 278"/>
                <a:gd name="T13" fmla="*/ 0 h 278"/>
                <a:gd name="T14" fmla="*/ 0 w 278"/>
                <a:gd name="T15" fmla="*/ 139 h 278"/>
                <a:gd name="T16" fmla="*/ 139 w 278"/>
                <a:gd name="T17" fmla="*/ 278 h 278"/>
                <a:gd name="T18" fmla="*/ 278 w 278"/>
                <a:gd name="T19" fmla="*/ 139 h 278"/>
                <a:gd name="T20" fmla="*/ 139 w 278"/>
                <a:gd name="T2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78">
                  <a:moveTo>
                    <a:pt x="139" y="25"/>
                  </a:moveTo>
                  <a:cubicBezTo>
                    <a:pt x="202" y="25"/>
                    <a:pt x="253" y="76"/>
                    <a:pt x="253" y="139"/>
                  </a:cubicBezTo>
                  <a:cubicBezTo>
                    <a:pt x="253" y="202"/>
                    <a:pt x="202" y="253"/>
                    <a:pt x="139" y="253"/>
                  </a:cubicBezTo>
                  <a:cubicBezTo>
                    <a:pt x="76" y="253"/>
                    <a:pt x="25" y="202"/>
                    <a:pt x="25" y="139"/>
                  </a:cubicBezTo>
                  <a:cubicBezTo>
                    <a:pt x="25" y="109"/>
                    <a:pt x="37" y="80"/>
                    <a:pt x="58" y="59"/>
                  </a:cubicBezTo>
                  <a:cubicBezTo>
                    <a:pt x="80" y="37"/>
                    <a:pt x="109" y="25"/>
                    <a:pt x="139" y="25"/>
                  </a:cubicBezTo>
                  <a:close/>
                  <a:moveTo>
                    <a:pt x="139" y="0"/>
                  </a:moveTo>
                  <a:cubicBezTo>
                    <a:pt x="62" y="0"/>
                    <a:pt x="0" y="63"/>
                    <a:pt x="0" y="139"/>
                  </a:cubicBezTo>
                  <a:cubicBezTo>
                    <a:pt x="0" y="216"/>
                    <a:pt x="62" y="278"/>
                    <a:pt x="139" y="278"/>
                  </a:cubicBezTo>
                  <a:cubicBezTo>
                    <a:pt x="215" y="278"/>
                    <a:pt x="278" y="216"/>
                    <a:pt x="278" y="139"/>
                  </a:cubicBezTo>
                  <a:cubicBezTo>
                    <a:pt x="278" y="63"/>
                    <a:pt x="215" y="0"/>
                    <a:pt x="13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2" name="POWER_USER_ID_ICONS_Equality2"/>
            <p:cNvSpPr>
              <a:spLocks noChangeArrowheads="1"/>
            </p:cNvSpPr>
            <p:nvPr>
              <p:custDataLst>
                <p:tags r:id="rId14"/>
              </p:custDataLst>
            </p:nvPr>
          </p:nvSpPr>
          <p:spPr bwMode="auto">
            <a:xfrm>
              <a:off x="357" y="183"/>
              <a:ext cx="104" cy="104"/>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3" name="POWER_USER_ID_ICONS_Equality2"/>
            <p:cNvSpPr>
              <a:spLocks noEditPoints="1"/>
            </p:cNvSpPr>
            <p:nvPr>
              <p:custDataLst>
                <p:tags r:id="rId15"/>
              </p:custDataLst>
            </p:nvPr>
          </p:nvSpPr>
          <p:spPr bwMode="auto">
            <a:xfrm>
              <a:off x="15" y="299"/>
              <a:ext cx="209" cy="180"/>
            </a:xfrm>
            <a:custGeom>
              <a:avLst/>
              <a:gdLst>
                <a:gd name="T0" fmla="*/ 201 w 557"/>
                <a:gd name="T1" fmla="*/ 25 h 476"/>
                <a:gd name="T2" fmla="*/ 265 w 557"/>
                <a:gd name="T3" fmla="*/ 49 h 476"/>
                <a:gd name="T4" fmla="*/ 272 w 557"/>
                <a:gd name="T5" fmla="*/ 53 h 476"/>
                <a:gd name="T6" fmla="*/ 330 w 557"/>
                <a:gd name="T7" fmla="*/ 113 h 476"/>
                <a:gd name="T8" fmla="*/ 516 w 557"/>
                <a:gd name="T9" fmla="*/ 245 h 476"/>
                <a:gd name="T10" fmla="*/ 505 w 557"/>
                <a:gd name="T11" fmla="*/ 309 h 476"/>
                <a:gd name="T12" fmla="*/ 505 w 557"/>
                <a:gd name="T13" fmla="*/ 315 h 476"/>
                <a:gd name="T14" fmla="*/ 344 w 557"/>
                <a:gd name="T15" fmla="*/ 231 h 476"/>
                <a:gd name="T16" fmla="*/ 303 w 557"/>
                <a:gd name="T17" fmla="*/ 195 h 476"/>
                <a:gd name="T18" fmla="*/ 303 w 557"/>
                <a:gd name="T19" fmla="*/ 250 h 476"/>
                <a:gd name="T20" fmla="*/ 303 w 557"/>
                <a:gd name="T21" fmla="*/ 451 h 476"/>
                <a:gd name="T22" fmla="*/ 25 w 557"/>
                <a:gd name="T23" fmla="*/ 451 h 476"/>
                <a:gd name="T24" fmla="*/ 25 w 557"/>
                <a:gd name="T25" fmla="*/ 126 h 476"/>
                <a:gd name="T26" fmla="*/ 126 w 557"/>
                <a:gd name="T27" fmla="*/ 25 h 476"/>
                <a:gd name="T28" fmla="*/ 201 w 557"/>
                <a:gd name="T29" fmla="*/ 25 h 476"/>
                <a:gd name="T30" fmla="*/ 201 w 557"/>
                <a:gd name="T31" fmla="*/ 0 h 476"/>
                <a:gd name="T32" fmla="*/ 126 w 557"/>
                <a:gd name="T33" fmla="*/ 0 h 476"/>
                <a:gd name="T34" fmla="*/ 0 w 557"/>
                <a:gd name="T35" fmla="*/ 126 h 476"/>
                <a:gd name="T36" fmla="*/ 0 w 557"/>
                <a:gd name="T37" fmla="*/ 476 h 476"/>
                <a:gd name="T38" fmla="*/ 328 w 557"/>
                <a:gd name="T39" fmla="*/ 476 h 476"/>
                <a:gd name="T40" fmla="*/ 328 w 557"/>
                <a:gd name="T41" fmla="*/ 250 h 476"/>
                <a:gd name="T42" fmla="*/ 547 w 557"/>
                <a:gd name="T43" fmla="*/ 349 h 476"/>
                <a:gd name="T44" fmla="*/ 529 w 557"/>
                <a:gd name="T45" fmla="*/ 306 h 476"/>
                <a:gd name="T46" fmla="*/ 557 w 557"/>
                <a:gd name="T47" fmla="*/ 229 h 476"/>
                <a:gd name="T48" fmla="*/ 350 w 557"/>
                <a:gd name="T49" fmla="*/ 98 h 476"/>
                <a:gd name="T50" fmla="*/ 284 w 557"/>
                <a:gd name="T51" fmla="*/ 31 h 476"/>
                <a:gd name="T52" fmla="*/ 282 w 557"/>
                <a:gd name="T53" fmla="*/ 30 h 476"/>
                <a:gd name="T54" fmla="*/ 201 w 557"/>
                <a:gd name="T55"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7" h="476">
                  <a:moveTo>
                    <a:pt x="201" y="25"/>
                  </a:moveTo>
                  <a:cubicBezTo>
                    <a:pt x="230" y="25"/>
                    <a:pt x="252" y="38"/>
                    <a:pt x="265" y="49"/>
                  </a:cubicBezTo>
                  <a:cubicBezTo>
                    <a:pt x="268" y="51"/>
                    <a:pt x="270" y="52"/>
                    <a:pt x="272" y="53"/>
                  </a:cubicBezTo>
                  <a:cubicBezTo>
                    <a:pt x="294" y="68"/>
                    <a:pt x="311" y="90"/>
                    <a:pt x="330" y="113"/>
                  </a:cubicBezTo>
                  <a:cubicBezTo>
                    <a:pt x="366" y="157"/>
                    <a:pt x="413" y="216"/>
                    <a:pt x="516" y="245"/>
                  </a:cubicBezTo>
                  <a:cubicBezTo>
                    <a:pt x="506" y="265"/>
                    <a:pt x="502" y="287"/>
                    <a:pt x="505" y="309"/>
                  </a:cubicBezTo>
                  <a:cubicBezTo>
                    <a:pt x="505" y="311"/>
                    <a:pt x="505" y="313"/>
                    <a:pt x="505" y="315"/>
                  </a:cubicBezTo>
                  <a:cubicBezTo>
                    <a:pt x="442" y="298"/>
                    <a:pt x="389" y="271"/>
                    <a:pt x="344" y="231"/>
                  </a:cubicBezTo>
                  <a:lnTo>
                    <a:pt x="303" y="195"/>
                  </a:lnTo>
                  <a:lnTo>
                    <a:pt x="303" y="250"/>
                  </a:lnTo>
                  <a:lnTo>
                    <a:pt x="303" y="451"/>
                  </a:lnTo>
                  <a:lnTo>
                    <a:pt x="25" y="451"/>
                  </a:lnTo>
                  <a:lnTo>
                    <a:pt x="25" y="126"/>
                  </a:lnTo>
                  <a:cubicBezTo>
                    <a:pt x="25" y="71"/>
                    <a:pt x="71" y="25"/>
                    <a:pt x="126" y="25"/>
                  </a:cubicBezTo>
                  <a:lnTo>
                    <a:pt x="201" y="25"/>
                  </a:lnTo>
                  <a:moveTo>
                    <a:pt x="201" y="0"/>
                  </a:moveTo>
                  <a:lnTo>
                    <a:pt x="126" y="0"/>
                  </a:lnTo>
                  <a:cubicBezTo>
                    <a:pt x="57" y="0"/>
                    <a:pt x="0" y="57"/>
                    <a:pt x="0" y="126"/>
                  </a:cubicBezTo>
                  <a:lnTo>
                    <a:pt x="0" y="476"/>
                  </a:lnTo>
                  <a:lnTo>
                    <a:pt x="328" y="476"/>
                  </a:lnTo>
                  <a:lnTo>
                    <a:pt x="328" y="250"/>
                  </a:lnTo>
                  <a:cubicBezTo>
                    <a:pt x="375" y="292"/>
                    <a:pt x="443" y="332"/>
                    <a:pt x="547" y="349"/>
                  </a:cubicBezTo>
                  <a:cubicBezTo>
                    <a:pt x="538" y="336"/>
                    <a:pt x="531" y="322"/>
                    <a:pt x="529" y="306"/>
                  </a:cubicBezTo>
                  <a:cubicBezTo>
                    <a:pt x="526" y="276"/>
                    <a:pt x="538" y="249"/>
                    <a:pt x="557" y="229"/>
                  </a:cubicBezTo>
                  <a:cubicBezTo>
                    <a:pt x="439" y="207"/>
                    <a:pt x="391" y="149"/>
                    <a:pt x="350" y="98"/>
                  </a:cubicBezTo>
                  <a:cubicBezTo>
                    <a:pt x="329" y="72"/>
                    <a:pt x="310" y="48"/>
                    <a:pt x="284" y="31"/>
                  </a:cubicBezTo>
                  <a:cubicBezTo>
                    <a:pt x="283" y="31"/>
                    <a:pt x="282" y="31"/>
                    <a:pt x="282" y="30"/>
                  </a:cubicBezTo>
                  <a:cubicBezTo>
                    <a:pt x="260" y="12"/>
                    <a:pt x="232" y="0"/>
                    <a:pt x="20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4" name="POWER_USER_ID_ICONS_Equality2"/>
            <p:cNvSpPr>
              <a:spLocks/>
            </p:cNvSpPr>
            <p:nvPr>
              <p:custDataLst>
                <p:tags r:id="rId16"/>
              </p:custDataLst>
            </p:nvPr>
          </p:nvSpPr>
          <p:spPr bwMode="auto">
            <a:xfrm>
              <a:off x="226" y="299"/>
              <a:ext cx="244" cy="180"/>
            </a:xfrm>
            <a:custGeom>
              <a:avLst/>
              <a:gdLst>
                <a:gd name="T0" fmla="*/ 524 w 650"/>
                <a:gd name="T1" fmla="*/ 0 h 476"/>
                <a:gd name="T2" fmla="*/ 449 w 650"/>
                <a:gd name="T3" fmla="*/ 0 h 476"/>
                <a:gd name="T4" fmla="*/ 368 w 650"/>
                <a:gd name="T5" fmla="*/ 30 h 476"/>
                <a:gd name="T6" fmla="*/ 366 w 650"/>
                <a:gd name="T7" fmla="*/ 31 h 476"/>
                <a:gd name="T8" fmla="*/ 301 w 650"/>
                <a:gd name="T9" fmla="*/ 98 h 476"/>
                <a:gd name="T10" fmla="*/ 57 w 650"/>
                <a:gd name="T11" fmla="*/ 235 h 476"/>
                <a:gd name="T12" fmla="*/ 4 w 650"/>
                <a:gd name="T13" fmla="*/ 302 h 476"/>
                <a:gd name="T14" fmla="*/ 64 w 650"/>
                <a:gd name="T15" fmla="*/ 355 h 476"/>
                <a:gd name="T16" fmla="*/ 70 w 650"/>
                <a:gd name="T17" fmla="*/ 355 h 476"/>
                <a:gd name="T18" fmla="*/ 323 w 650"/>
                <a:gd name="T19" fmla="*/ 251 h 476"/>
                <a:gd name="T20" fmla="*/ 323 w 650"/>
                <a:gd name="T21" fmla="*/ 476 h 476"/>
                <a:gd name="T22" fmla="*/ 650 w 650"/>
                <a:gd name="T23" fmla="*/ 476 h 476"/>
                <a:gd name="T24" fmla="*/ 650 w 650"/>
                <a:gd name="T25" fmla="*/ 126 h 476"/>
                <a:gd name="T26" fmla="*/ 524 w 650"/>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76">
                  <a:moveTo>
                    <a:pt x="524" y="0"/>
                  </a:moveTo>
                  <a:lnTo>
                    <a:pt x="449" y="0"/>
                  </a:lnTo>
                  <a:cubicBezTo>
                    <a:pt x="418" y="0"/>
                    <a:pt x="390" y="12"/>
                    <a:pt x="368" y="30"/>
                  </a:cubicBezTo>
                  <a:cubicBezTo>
                    <a:pt x="368" y="31"/>
                    <a:pt x="367" y="31"/>
                    <a:pt x="366" y="31"/>
                  </a:cubicBezTo>
                  <a:cubicBezTo>
                    <a:pt x="340" y="48"/>
                    <a:pt x="321" y="72"/>
                    <a:pt x="301" y="98"/>
                  </a:cubicBezTo>
                  <a:cubicBezTo>
                    <a:pt x="255" y="154"/>
                    <a:pt x="203" y="219"/>
                    <a:pt x="57" y="235"/>
                  </a:cubicBezTo>
                  <a:cubicBezTo>
                    <a:pt x="24" y="239"/>
                    <a:pt x="0" y="269"/>
                    <a:pt x="4" y="302"/>
                  </a:cubicBezTo>
                  <a:cubicBezTo>
                    <a:pt x="7" y="332"/>
                    <a:pt x="33" y="355"/>
                    <a:pt x="64" y="355"/>
                  </a:cubicBezTo>
                  <a:cubicBezTo>
                    <a:pt x="66" y="355"/>
                    <a:pt x="68" y="355"/>
                    <a:pt x="70" y="355"/>
                  </a:cubicBezTo>
                  <a:cubicBezTo>
                    <a:pt x="194" y="341"/>
                    <a:pt x="270" y="297"/>
                    <a:pt x="323" y="251"/>
                  </a:cubicBezTo>
                  <a:lnTo>
                    <a:pt x="323" y="476"/>
                  </a:lnTo>
                  <a:lnTo>
                    <a:pt x="650" y="476"/>
                  </a:lnTo>
                  <a:lnTo>
                    <a:pt x="650" y="126"/>
                  </a:lnTo>
                  <a:cubicBezTo>
                    <a:pt x="650" y="57"/>
                    <a:pt x="593" y="0"/>
                    <a:pt x="52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5" name="POWER_USER_ID_ICONS_Flag"/>
          <p:cNvGrpSpPr>
            <a:grpSpLocks noChangeAspect="1"/>
          </p:cNvGrpSpPr>
          <p:nvPr>
            <p:custDataLst>
              <p:tags r:id="rId4"/>
            </p:custDataLst>
          </p:nvPr>
        </p:nvGrpSpPr>
        <p:grpSpPr bwMode="auto">
          <a:xfrm>
            <a:off x="887186" y="3802634"/>
            <a:ext cx="356235" cy="543084"/>
            <a:chOff x="142" y="90"/>
            <a:chExt cx="204" cy="311"/>
          </a:xfrm>
          <a:solidFill>
            <a:schemeClr val="bg1"/>
          </a:solidFill>
        </p:grpSpPr>
        <p:sp>
          <p:nvSpPr>
            <p:cNvPr id="36" name="POWER_USER_ID_ICONS_Flag"/>
            <p:cNvSpPr>
              <a:spLocks noChangeArrowheads="1"/>
            </p:cNvSpPr>
            <p:nvPr>
              <p:custDataLst>
                <p:tags r:id="rId11"/>
              </p:custDataLst>
            </p:nvPr>
          </p:nvSpPr>
          <p:spPr bwMode="auto">
            <a:xfrm>
              <a:off x="142" y="90"/>
              <a:ext cx="19" cy="31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7" name="POWER_USER_ID_ICONS_Flag"/>
            <p:cNvSpPr>
              <a:spLocks/>
            </p:cNvSpPr>
            <p:nvPr>
              <p:custDataLst>
                <p:tags r:id="rId12"/>
              </p:custDataLst>
            </p:nvPr>
          </p:nvSpPr>
          <p:spPr bwMode="auto">
            <a:xfrm>
              <a:off x="179" y="128"/>
              <a:ext cx="167" cy="118"/>
            </a:xfrm>
            <a:custGeom>
              <a:avLst/>
              <a:gdLst>
                <a:gd name="T0" fmla="*/ 444 w 444"/>
                <a:gd name="T1" fmla="*/ 312 h 312"/>
                <a:gd name="T2" fmla="*/ 0 w 444"/>
                <a:gd name="T3" fmla="*/ 312 h 312"/>
                <a:gd name="T4" fmla="*/ 0 w 444"/>
                <a:gd name="T5" fmla="*/ 0 h 312"/>
                <a:gd name="T6" fmla="*/ 444 w 444"/>
                <a:gd name="T7" fmla="*/ 0 h 312"/>
                <a:gd name="T8" fmla="*/ 263 w 444"/>
                <a:gd name="T9" fmla="*/ 156 h 312"/>
                <a:gd name="T10" fmla="*/ 444 w 444"/>
                <a:gd name="T11" fmla="*/ 312 h 312"/>
              </a:gdLst>
              <a:ahLst/>
              <a:cxnLst>
                <a:cxn ang="0">
                  <a:pos x="T0" y="T1"/>
                </a:cxn>
                <a:cxn ang="0">
                  <a:pos x="T2" y="T3"/>
                </a:cxn>
                <a:cxn ang="0">
                  <a:pos x="T4" y="T5"/>
                </a:cxn>
                <a:cxn ang="0">
                  <a:pos x="T6" y="T7"/>
                </a:cxn>
                <a:cxn ang="0">
                  <a:pos x="T8" y="T9"/>
                </a:cxn>
                <a:cxn ang="0">
                  <a:pos x="T10" y="T11"/>
                </a:cxn>
              </a:cxnLst>
              <a:rect l="0" t="0" r="r" b="b"/>
              <a:pathLst>
                <a:path w="444" h="312">
                  <a:moveTo>
                    <a:pt x="444" y="312"/>
                  </a:moveTo>
                  <a:lnTo>
                    <a:pt x="0" y="312"/>
                  </a:lnTo>
                  <a:lnTo>
                    <a:pt x="0" y="0"/>
                  </a:lnTo>
                  <a:lnTo>
                    <a:pt x="444" y="0"/>
                  </a:lnTo>
                  <a:lnTo>
                    <a:pt x="263" y="156"/>
                  </a:lnTo>
                  <a:lnTo>
                    <a:pt x="444" y="3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8" name="POWER_USER_ID_ICONS_Fossil_Fuel"/>
          <p:cNvGrpSpPr>
            <a:grpSpLocks noChangeAspect="1"/>
          </p:cNvGrpSpPr>
          <p:nvPr>
            <p:custDataLst>
              <p:tags r:id="rId5"/>
            </p:custDataLst>
          </p:nvPr>
        </p:nvGrpSpPr>
        <p:grpSpPr bwMode="auto">
          <a:xfrm>
            <a:off x="717392" y="4519979"/>
            <a:ext cx="666750" cy="671513"/>
            <a:chOff x="29" y="32"/>
            <a:chExt cx="420" cy="423"/>
          </a:xfrm>
          <a:solidFill>
            <a:schemeClr val="bg1"/>
          </a:solidFill>
        </p:grpSpPr>
        <p:sp>
          <p:nvSpPr>
            <p:cNvPr id="39" name="POWER_USER_ID_ICONS_Fossil_Fuel"/>
            <p:cNvSpPr>
              <a:spLocks noEditPoints="1"/>
            </p:cNvSpPr>
            <p:nvPr>
              <p:custDataLst>
                <p:tags r:id="rId7"/>
              </p:custDataLst>
            </p:nvPr>
          </p:nvSpPr>
          <p:spPr bwMode="auto">
            <a:xfrm>
              <a:off x="29" y="190"/>
              <a:ext cx="420" cy="265"/>
            </a:xfrm>
            <a:custGeom>
              <a:avLst/>
              <a:gdLst>
                <a:gd name="T0" fmla="*/ 833 w 1117"/>
                <a:gd name="T1" fmla="*/ 317 h 704"/>
                <a:gd name="T2" fmla="*/ 833 w 1117"/>
                <a:gd name="T3" fmla="*/ 155 h 704"/>
                <a:gd name="T4" fmla="*/ 548 w 1117"/>
                <a:gd name="T5" fmla="*/ 317 h 704"/>
                <a:gd name="T6" fmla="*/ 548 w 1117"/>
                <a:gd name="T7" fmla="*/ 155 h 704"/>
                <a:gd name="T8" fmla="*/ 268 w 1117"/>
                <a:gd name="T9" fmla="*/ 317 h 704"/>
                <a:gd name="T10" fmla="*/ 227 w 1117"/>
                <a:gd name="T11" fmla="*/ 0 h 704"/>
                <a:gd name="T12" fmla="*/ 77 w 1117"/>
                <a:gd name="T13" fmla="*/ 0 h 704"/>
                <a:gd name="T14" fmla="*/ 0 w 1117"/>
                <a:gd name="T15" fmla="*/ 704 h 704"/>
                <a:gd name="T16" fmla="*/ 1117 w 1117"/>
                <a:gd name="T17" fmla="*/ 704 h 704"/>
                <a:gd name="T18" fmla="*/ 1117 w 1117"/>
                <a:gd name="T19" fmla="*/ 155 h 704"/>
                <a:gd name="T20" fmla="*/ 833 w 1117"/>
                <a:gd name="T21" fmla="*/ 317 h 704"/>
                <a:gd name="T22" fmla="*/ 452 w 1117"/>
                <a:gd name="T23" fmla="*/ 494 h 704"/>
                <a:gd name="T24" fmla="*/ 369 w 1117"/>
                <a:gd name="T25" fmla="*/ 494 h 704"/>
                <a:gd name="T26" fmla="*/ 369 w 1117"/>
                <a:gd name="T27" fmla="*/ 382 h 704"/>
                <a:gd name="T28" fmla="*/ 452 w 1117"/>
                <a:gd name="T29" fmla="*/ 382 h 704"/>
                <a:gd name="T30" fmla="*/ 452 w 1117"/>
                <a:gd name="T31" fmla="*/ 494 h 704"/>
                <a:gd name="T32" fmla="*/ 733 w 1117"/>
                <a:gd name="T33" fmla="*/ 494 h 704"/>
                <a:gd name="T34" fmla="*/ 651 w 1117"/>
                <a:gd name="T35" fmla="*/ 494 h 704"/>
                <a:gd name="T36" fmla="*/ 651 w 1117"/>
                <a:gd name="T37" fmla="*/ 382 h 704"/>
                <a:gd name="T38" fmla="*/ 733 w 1117"/>
                <a:gd name="T39" fmla="*/ 382 h 704"/>
                <a:gd name="T40" fmla="*/ 733 w 1117"/>
                <a:gd name="T41" fmla="*/ 494 h 704"/>
                <a:gd name="T42" fmla="*/ 1016 w 1117"/>
                <a:gd name="T43" fmla="*/ 494 h 704"/>
                <a:gd name="T44" fmla="*/ 933 w 1117"/>
                <a:gd name="T45" fmla="*/ 494 h 704"/>
                <a:gd name="T46" fmla="*/ 933 w 1117"/>
                <a:gd name="T47" fmla="*/ 382 h 704"/>
                <a:gd name="T48" fmla="*/ 1016 w 1117"/>
                <a:gd name="T49" fmla="*/ 382 h 704"/>
                <a:gd name="T50" fmla="*/ 1016 w 1117"/>
                <a:gd name="T51" fmla="*/ 494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7" h="704">
                  <a:moveTo>
                    <a:pt x="833" y="317"/>
                  </a:moveTo>
                  <a:lnTo>
                    <a:pt x="833" y="155"/>
                  </a:lnTo>
                  <a:lnTo>
                    <a:pt x="548" y="317"/>
                  </a:lnTo>
                  <a:lnTo>
                    <a:pt x="548" y="155"/>
                  </a:lnTo>
                  <a:lnTo>
                    <a:pt x="268" y="317"/>
                  </a:lnTo>
                  <a:lnTo>
                    <a:pt x="227" y="0"/>
                  </a:lnTo>
                  <a:lnTo>
                    <a:pt x="77" y="0"/>
                  </a:lnTo>
                  <a:lnTo>
                    <a:pt x="0" y="704"/>
                  </a:lnTo>
                  <a:lnTo>
                    <a:pt x="1117" y="704"/>
                  </a:lnTo>
                  <a:lnTo>
                    <a:pt x="1117" y="155"/>
                  </a:lnTo>
                  <a:lnTo>
                    <a:pt x="833" y="317"/>
                  </a:lnTo>
                  <a:close/>
                  <a:moveTo>
                    <a:pt x="452" y="494"/>
                  </a:moveTo>
                  <a:lnTo>
                    <a:pt x="369" y="494"/>
                  </a:lnTo>
                  <a:lnTo>
                    <a:pt x="369" y="382"/>
                  </a:lnTo>
                  <a:lnTo>
                    <a:pt x="452" y="382"/>
                  </a:lnTo>
                  <a:lnTo>
                    <a:pt x="452" y="494"/>
                  </a:lnTo>
                  <a:close/>
                  <a:moveTo>
                    <a:pt x="733" y="494"/>
                  </a:moveTo>
                  <a:lnTo>
                    <a:pt x="651" y="494"/>
                  </a:lnTo>
                  <a:lnTo>
                    <a:pt x="651" y="382"/>
                  </a:lnTo>
                  <a:lnTo>
                    <a:pt x="733" y="382"/>
                  </a:lnTo>
                  <a:lnTo>
                    <a:pt x="733" y="494"/>
                  </a:lnTo>
                  <a:close/>
                  <a:moveTo>
                    <a:pt x="1016" y="494"/>
                  </a:moveTo>
                  <a:lnTo>
                    <a:pt x="933" y="494"/>
                  </a:lnTo>
                  <a:lnTo>
                    <a:pt x="933" y="382"/>
                  </a:lnTo>
                  <a:lnTo>
                    <a:pt x="1016" y="382"/>
                  </a:lnTo>
                  <a:lnTo>
                    <a:pt x="1016" y="49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0" name="POWER_USER_ID_ICONS_Fossil_Fuel"/>
            <p:cNvSpPr>
              <a:spLocks/>
            </p:cNvSpPr>
            <p:nvPr>
              <p:custDataLst>
                <p:tags r:id="rId8"/>
              </p:custDataLst>
            </p:nvPr>
          </p:nvSpPr>
          <p:spPr bwMode="auto">
            <a:xfrm>
              <a:off x="112" y="102"/>
              <a:ext cx="0" cy="1"/>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2"/>
                    <a:pt x="0" y="2"/>
                    <a:pt x="0" y="2"/>
                  </a:cubicBezTo>
                  <a:cubicBezTo>
                    <a:pt x="0" y="2"/>
                    <a:pt x="2" y="2"/>
                    <a:pt x="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1" name="POWER_USER_ID_ICONS_Fossil_Fuel"/>
            <p:cNvSpPr>
              <a:spLocks/>
            </p:cNvSpPr>
            <p:nvPr>
              <p:custDataLst>
                <p:tags r:id="rId9"/>
              </p:custDataLst>
            </p:nvPr>
          </p:nvSpPr>
          <p:spPr bwMode="auto">
            <a:xfrm>
              <a:off x="38" y="44"/>
              <a:ext cx="98" cy="138"/>
            </a:xfrm>
            <a:custGeom>
              <a:avLst/>
              <a:gdLst>
                <a:gd name="T0" fmla="*/ 256 w 261"/>
                <a:gd name="T1" fmla="*/ 120 h 365"/>
                <a:gd name="T2" fmla="*/ 256 w 261"/>
                <a:gd name="T3" fmla="*/ 120 h 365"/>
                <a:gd name="T4" fmla="*/ 196 w 261"/>
                <a:gd name="T5" fmla="*/ 155 h 365"/>
                <a:gd name="T6" fmla="*/ 195 w 261"/>
                <a:gd name="T7" fmla="*/ 157 h 365"/>
                <a:gd name="T8" fmla="*/ 196 w 261"/>
                <a:gd name="T9" fmla="*/ 155 h 365"/>
                <a:gd name="T10" fmla="*/ 159 w 261"/>
                <a:gd name="T11" fmla="*/ 57 h 365"/>
                <a:gd name="T12" fmla="*/ 127 w 261"/>
                <a:gd name="T13" fmla="*/ 4 h 365"/>
                <a:gd name="T14" fmla="*/ 125 w 261"/>
                <a:gd name="T15" fmla="*/ 0 h 365"/>
                <a:gd name="T16" fmla="*/ 123 w 261"/>
                <a:gd name="T17" fmla="*/ 2 h 365"/>
                <a:gd name="T18" fmla="*/ 109 w 261"/>
                <a:gd name="T19" fmla="*/ 83 h 365"/>
                <a:gd name="T20" fmla="*/ 91 w 261"/>
                <a:gd name="T21" fmla="*/ 103 h 365"/>
                <a:gd name="T22" fmla="*/ 69 w 261"/>
                <a:gd name="T23" fmla="*/ 69 h 365"/>
                <a:gd name="T24" fmla="*/ 65 w 261"/>
                <a:gd name="T25" fmla="*/ 65 h 365"/>
                <a:gd name="T26" fmla="*/ 64 w 261"/>
                <a:gd name="T27" fmla="*/ 65 h 365"/>
                <a:gd name="T28" fmla="*/ 59 w 261"/>
                <a:gd name="T29" fmla="*/ 183 h 365"/>
                <a:gd name="T30" fmla="*/ 41 w 261"/>
                <a:gd name="T31" fmla="*/ 200 h 365"/>
                <a:gd name="T32" fmla="*/ 19 w 261"/>
                <a:gd name="T33" fmla="*/ 181 h 365"/>
                <a:gd name="T34" fmla="*/ 15 w 261"/>
                <a:gd name="T35" fmla="*/ 179 h 365"/>
                <a:gd name="T36" fmla="*/ 12 w 261"/>
                <a:gd name="T37" fmla="*/ 180 h 365"/>
                <a:gd name="T38" fmla="*/ 2 w 261"/>
                <a:gd name="T39" fmla="*/ 244 h 365"/>
                <a:gd name="T40" fmla="*/ 99 w 261"/>
                <a:gd name="T41" fmla="*/ 361 h 365"/>
                <a:gd name="T42" fmla="*/ 70 w 261"/>
                <a:gd name="T43" fmla="*/ 323 h 365"/>
                <a:gd name="T44" fmla="*/ 70 w 261"/>
                <a:gd name="T45" fmla="*/ 323 h 365"/>
                <a:gd name="T46" fmla="*/ 94 w 261"/>
                <a:gd name="T47" fmla="*/ 253 h 365"/>
                <a:gd name="T48" fmla="*/ 104 w 261"/>
                <a:gd name="T49" fmla="*/ 290 h 365"/>
                <a:gd name="T50" fmla="*/ 117 w 261"/>
                <a:gd name="T51" fmla="*/ 269 h 365"/>
                <a:gd name="T52" fmla="*/ 139 w 261"/>
                <a:gd name="T53" fmla="*/ 218 h 365"/>
                <a:gd name="T54" fmla="*/ 152 w 261"/>
                <a:gd name="T55" fmla="*/ 263 h 365"/>
                <a:gd name="T56" fmla="*/ 175 w 261"/>
                <a:gd name="T57" fmla="*/ 323 h 365"/>
                <a:gd name="T58" fmla="*/ 145 w 261"/>
                <a:gd name="T59" fmla="*/ 363 h 365"/>
                <a:gd name="T60" fmla="*/ 143 w 261"/>
                <a:gd name="T61" fmla="*/ 365 h 365"/>
                <a:gd name="T62" fmla="*/ 241 w 261"/>
                <a:gd name="T63" fmla="*/ 260 h 365"/>
                <a:gd name="T64" fmla="*/ 241 w 261"/>
                <a:gd name="T65" fmla="*/ 260 h 365"/>
                <a:gd name="T66" fmla="*/ 241 w 261"/>
                <a:gd name="T67" fmla="*/ 260 h 365"/>
                <a:gd name="T68" fmla="*/ 243 w 261"/>
                <a:gd name="T69" fmla="*/ 247 h 365"/>
                <a:gd name="T70" fmla="*/ 235 w 261"/>
                <a:gd name="T71" fmla="*/ 205 h 365"/>
                <a:gd name="T72" fmla="*/ 234 w 261"/>
                <a:gd name="T73" fmla="*/ 199 h 365"/>
                <a:gd name="T74" fmla="*/ 233 w 261"/>
                <a:gd name="T75" fmla="*/ 193 h 365"/>
                <a:gd name="T76" fmla="*/ 233 w 261"/>
                <a:gd name="T77" fmla="*/ 193 h 365"/>
                <a:gd name="T78" fmla="*/ 256 w 261"/>
                <a:gd name="T79" fmla="*/ 124 h 365"/>
                <a:gd name="T80" fmla="*/ 256 w 261"/>
                <a:gd name="T81" fmla="*/ 12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1" h="365">
                  <a:moveTo>
                    <a:pt x="256" y="120"/>
                  </a:moveTo>
                  <a:lnTo>
                    <a:pt x="256" y="120"/>
                  </a:lnTo>
                  <a:cubicBezTo>
                    <a:pt x="215" y="120"/>
                    <a:pt x="200" y="148"/>
                    <a:pt x="196" y="155"/>
                  </a:cubicBezTo>
                  <a:cubicBezTo>
                    <a:pt x="196" y="155"/>
                    <a:pt x="196" y="157"/>
                    <a:pt x="195" y="157"/>
                  </a:cubicBezTo>
                  <a:lnTo>
                    <a:pt x="196" y="155"/>
                  </a:lnTo>
                  <a:cubicBezTo>
                    <a:pt x="209" y="124"/>
                    <a:pt x="201" y="72"/>
                    <a:pt x="159" y="57"/>
                  </a:cubicBezTo>
                  <a:cubicBezTo>
                    <a:pt x="127" y="45"/>
                    <a:pt x="126" y="18"/>
                    <a:pt x="127" y="4"/>
                  </a:cubicBezTo>
                  <a:cubicBezTo>
                    <a:pt x="127" y="2"/>
                    <a:pt x="126" y="0"/>
                    <a:pt x="125" y="0"/>
                  </a:cubicBezTo>
                  <a:cubicBezTo>
                    <a:pt x="124" y="0"/>
                    <a:pt x="124" y="0"/>
                    <a:pt x="123" y="2"/>
                  </a:cubicBezTo>
                  <a:cubicBezTo>
                    <a:pt x="89" y="30"/>
                    <a:pt x="109" y="64"/>
                    <a:pt x="109" y="83"/>
                  </a:cubicBezTo>
                  <a:cubicBezTo>
                    <a:pt x="109" y="92"/>
                    <a:pt x="104" y="103"/>
                    <a:pt x="91" y="103"/>
                  </a:cubicBezTo>
                  <a:cubicBezTo>
                    <a:pt x="71" y="103"/>
                    <a:pt x="69" y="80"/>
                    <a:pt x="69" y="69"/>
                  </a:cubicBezTo>
                  <a:cubicBezTo>
                    <a:pt x="69" y="68"/>
                    <a:pt x="68" y="65"/>
                    <a:pt x="65" y="65"/>
                  </a:cubicBezTo>
                  <a:lnTo>
                    <a:pt x="64" y="65"/>
                  </a:lnTo>
                  <a:cubicBezTo>
                    <a:pt x="16" y="100"/>
                    <a:pt x="56" y="154"/>
                    <a:pt x="59" y="183"/>
                  </a:cubicBezTo>
                  <a:cubicBezTo>
                    <a:pt x="60" y="194"/>
                    <a:pt x="51" y="200"/>
                    <a:pt x="41" y="200"/>
                  </a:cubicBezTo>
                  <a:cubicBezTo>
                    <a:pt x="26" y="200"/>
                    <a:pt x="21" y="189"/>
                    <a:pt x="19" y="181"/>
                  </a:cubicBezTo>
                  <a:cubicBezTo>
                    <a:pt x="19" y="180"/>
                    <a:pt x="17" y="179"/>
                    <a:pt x="15" y="179"/>
                  </a:cubicBezTo>
                  <a:cubicBezTo>
                    <a:pt x="14" y="179"/>
                    <a:pt x="12" y="179"/>
                    <a:pt x="12" y="180"/>
                  </a:cubicBezTo>
                  <a:cubicBezTo>
                    <a:pt x="0" y="204"/>
                    <a:pt x="2" y="244"/>
                    <a:pt x="2" y="244"/>
                  </a:cubicBezTo>
                  <a:cubicBezTo>
                    <a:pt x="2" y="303"/>
                    <a:pt x="45" y="350"/>
                    <a:pt x="99" y="361"/>
                  </a:cubicBezTo>
                  <a:cubicBezTo>
                    <a:pt x="84" y="354"/>
                    <a:pt x="74" y="339"/>
                    <a:pt x="70" y="323"/>
                  </a:cubicBezTo>
                  <a:lnTo>
                    <a:pt x="70" y="323"/>
                  </a:lnTo>
                  <a:cubicBezTo>
                    <a:pt x="69" y="295"/>
                    <a:pt x="79" y="265"/>
                    <a:pt x="94" y="253"/>
                  </a:cubicBezTo>
                  <a:cubicBezTo>
                    <a:pt x="94" y="253"/>
                    <a:pt x="84" y="289"/>
                    <a:pt x="104" y="290"/>
                  </a:cubicBezTo>
                  <a:cubicBezTo>
                    <a:pt x="115" y="291"/>
                    <a:pt x="119" y="280"/>
                    <a:pt x="117" y="269"/>
                  </a:cubicBezTo>
                  <a:cubicBezTo>
                    <a:pt x="110" y="230"/>
                    <a:pt x="140" y="215"/>
                    <a:pt x="139" y="218"/>
                  </a:cubicBezTo>
                  <a:cubicBezTo>
                    <a:pt x="135" y="228"/>
                    <a:pt x="132" y="245"/>
                    <a:pt x="152" y="263"/>
                  </a:cubicBezTo>
                  <a:cubicBezTo>
                    <a:pt x="174" y="281"/>
                    <a:pt x="178" y="310"/>
                    <a:pt x="175" y="323"/>
                  </a:cubicBezTo>
                  <a:cubicBezTo>
                    <a:pt x="173" y="340"/>
                    <a:pt x="161" y="355"/>
                    <a:pt x="145" y="363"/>
                  </a:cubicBezTo>
                  <a:cubicBezTo>
                    <a:pt x="145" y="364"/>
                    <a:pt x="144" y="364"/>
                    <a:pt x="143" y="365"/>
                  </a:cubicBezTo>
                  <a:cubicBezTo>
                    <a:pt x="194" y="356"/>
                    <a:pt x="235" y="313"/>
                    <a:pt x="241" y="260"/>
                  </a:cubicBezTo>
                  <a:lnTo>
                    <a:pt x="241" y="260"/>
                  </a:lnTo>
                  <a:lnTo>
                    <a:pt x="241" y="260"/>
                  </a:lnTo>
                  <a:cubicBezTo>
                    <a:pt x="241" y="257"/>
                    <a:pt x="243" y="252"/>
                    <a:pt x="243" y="247"/>
                  </a:cubicBezTo>
                  <a:cubicBezTo>
                    <a:pt x="243" y="232"/>
                    <a:pt x="240" y="218"/>
                    <a:pt x="235" y="205"/>
                  </a:cubicBezTo>
                  <a:cubicBezTo>
                    <a:pt x="234" y="203"/>
                    <a:pt x="234" y="200"/>
                    <a:pt x="234" y="199"/>
                  </a:cubicBezTo>
                  <a:cubicBezTo>
                    <a:pt x="234" y="197"/>
                    <a:pt x="233" y="195"/>
                    <a:pt x="233" y="193"/>
                  </a:cubicBezTo>
                  <a:lnTo>
                    <a:pt x="233" y="193"/>
                  </a:lnTo>
                  <a:cubicBezTo>
                    <a:pt x="228" y="157"/>
                    <a:pt x="246" y="133"/>
                    <a:pt x="256" y="124"/>
                  </a:cubicBezTo>
                  <a:cubicBezTo>
                    <a:pt x="261" y="124"/>
                    <a:pt x="260" y="120"/>
                    <a:pt x="256" y="12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2" name="POWER_USER_ID_ICONS_Fossil_Fuel"/>
            <p:cNvSpPr>
              <a:spLocks/>
            </p:cNvSpPr>
            <p:nvPr>
              <p:custDataLst>
                <p:tags r:id="rId10"/>
              </p:custDataLst>
            </p:nvPr>
          </p:nvSpPr>
          <p:spPr bwMode="auto">
            <a:xfrm>
              <a:off x="130" y="32"/>
              <a:ext cx="319" cy="137"/>
            </a:xfrm>
            <a:custGeom>
              <a:avLst/>
              <a:gdLst>
                <a:gd name="T0" fmla="*/ 735 w 849"/>
                <a:gd name="T1" fmla="*/ 8 h 366"/>
                <a:gd name="T2" fmla="*/ 679 w 849"/>
                <a:gd name="T3" fmla="*/ 23 h 366"/>
                <a:gd name="T4" fmla="*/ 653 w 849"/>
                <a:gd name="T5" fmla="*/ 23 h 366"/>
                <a:gd name="T6" fmla="*/ 573 w 849"/>
                <a:gd name="T7" fmla="*/ 0 h 366"/>
                <a:gd name="T8" fmla="*/ 485 w 849"/>
                <a:gd name="T9" fmla="*/ 27 h 366"/>
                <a:gd name="T10" fmla="*/ 461 w 849"/>
                <a:gd name="T11" fmla="*/ 30 h 366"/>
                <a:gd name="T12" fmla="*/ 390 w 849"/>
                <a:gd name="T13" fmla="*/ 15 h 366"/>
                <a:gd name="T14" fmla="*/ 267 w 849"/>
                <a:gd name="T15" fmla="*/ 63 h 366"/>
                <a:gd name="T16" fmla="*/ 244 w 849"/>
                <a:gd name="T17" fmla="*/ 68 h 366"/>
                <a:gd name="T18" fmla="*/ 204 w 849"/>
                <a:gd name="T19" fmla="*/ 62 h 366"/>
                <a:gd name="T20" fmla="*/ 74 w 849"/>
                <a:gd name="T21" fmla="*/ 156 h 366"/>
                <a:gd name="T22" fmla="*/ 64 w 849"/>
                <a:gd name="T23" fmla="*/ 165 h 366"/>
                <a:gd name="T24" fmla="*/ 4 w 849"/>
                <a:gd name="T25" fmla="*/ 200 h 366"/>
                <a:gd name="T26" fmla="*/ 5 w 849"/>
                <a:gd name="T27" fmla="*/ 237 h 366"/>
                <a:gd name="T28" fmla="*/ 13 w 849"/>
                <a:gd name="T29" fmla="*/ 282 h 366"/>
                <a:gd name="T30" fmla="*/ 10 w 849"/>
                <a:gd name="T31" fmla="*/ 308 h 366"/>
                <a:gd name="T32" fmla="*/ 75 w 849"/>
                <a:gd name="T33" fmla="*/ 336 h 366"/>
                <a:gd name="T34" fmla="*/ 118 w 849"/>
                <a:gd name="T35" fmla="*/ 323 h 366"/>
                <a:gd name="T36" fmla="*/ 141 w 849"/>
                <a:gd name="T37" fmla="*/ 322 h 366"/>
                <a:gd name="T38" fmla="*/ 205 w 849"/>
                <a:gd name="T39" fmla="*/ 338 h 366"/>
                <a:gd name="T40" fmla="*/ 259 w 849"/>
                <a:gd name="T41" fmla="*/ 327 h 366"/>
                <a:gd name="T42" fmla="*/ 284 w 849"/>
                <a:gd name="T43" fmla="*/ 330 h 366"/>
                <a:gd name="T44" fmla="*/ 390 w 849"/>
                <a:gd name="T45" fmla="*/ 366 h 366"/>
                <a:gd name="T46" fmla="*/ 521 w 849"/>
                <a:gd name="T47" fmla="*/ 307 h 366"/>
                <a:gd name="T48" fmla="*/ 544 w 849"/>
                <a:gd name="T49" fmla="*/ 300 h 366"/>
                <a:gd name="T50" fmla="*/ 572 w 849"/>
                <a:gd name="T51" fmla="*/ 302 h 366"/>
                <a:gd name="T52" fmla="*/ 696 w 849"/>
                <a:gd name="T53" fmla="*/ 238 h 366"/>
                <a:gd name="T54" fmla="*/ 720 w 849"/>
                <a:gd name="T55" fmla="*/ 227 h 366"/>
                <a:gd name="T56" fmla="*/ 735 w 849"/>
                <a:gd name="T57" fmla="*/ 228 h 366"/>
                <a:gd name="T58" fmla="*/ 846 w 849"/>
                <a:gd name="T59" fmla="*/ 113 h 366"/>
                <a:gd name="T60" fmla="*/ 735 w 849"/>
                <a:gd name="T61" fmla="*/ 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9" h="366">
                  <a:moveTo>
                    <a:pt x="735" y="8"/>
                  </a:moveTo>
                  <a:cubicBezTo>
                    <a:pt x="715" y="8"/>
                    <a:pt x="695" y="13"/>
                    <a:pt x="679" y="23"/>
                  </a:cubicBezTo>
                  <a:cubicBezTo>
                    <a:pt x="670" y="28"/>
                    <a:pt x="660" y="28"/>
                    <a:pt x="653" y="23"/>
                  </a:cubicBezTo>
                  <a:cubicBezTo>
                    <a:pt x="630" y="8"/>
                    <a:pt x="603" y="0"/>
                    <a:pt x="573" y="0"/>
                  </a:cubicBezTo>
                  <a:cubicBezTo>
                    <a:pt x="540" y="0"/>
                    <a:pt x="510" y="10"/>
                    <a:pt x="485" y="27"/>
                  </a:cubicBezTo>
                  <a:cubicBezTo>
                    <a:pt x="478" y="32"/>
                    <a:pt x="469" y="33"/>
                    <a:pt x="461" y="30"/>
                  </a:cubicBezTo>
                  <a:cubicBezTo>
                    <a:pt x="440" y="20"/>
                    <a:pt x="415" y="15"/>
                    <a:pt x="390" y="15"/>
                  </a:cubicBezTo>
                  <a:cubicBezTo>
                    <a:pt x="343" y="15"/>
                    <a:pt x="300" y="33"/>
                    <a:pt x="267" y="63"/>
                  </a:cubicBezTo>
                  <a:cubicBezTo>
                    <a:pt x="261" y="70"/>
                    <a:pt x="252" y="72"/>
                    <a:pt x="244" y="68"/>
                  </a:cubicBezTo>
                  <a:cubicBezTo>
                    <a:pt x="231" y="64"/>
                    <a:pt x="217" y="62"/>
                    <a:pt x="204" y="62"/>
                  </a:cubicBezTo>
                  <a:cubicBezTo>
                    <a:pt x="142" y="62"/>
                    <a:pt x="91" y="102"/>
                    <a:pt x="74" y="156"/>
                  </a:cubicBezTo>
                  <a:cubicBezTo>
                    <a:pt x="72" y="161"/>
                    <a:pt x="67" y="163"/>
                    <a:pt x="64" y="165"/>
                  </a:cubicBezTo>
                  <a:cubicBezTo>
                    <a:pt x="39" y="167"/>
                    <a:pt x="17" y="179"/>
                    <a:pt x="4" y="200"/>
                  </a:cubicBezTo>
                  <a:cubicBezTo>
                    <a:pt x="0" y="211"/>
                    <a:pt x="0" y="223"/>
                    <a:pt x="5" y="237"/>
                  </a:cubicBezTo>
                  <a:cubicBezTo>
                    <a:pt x="10" y="250"/>
                    <a:pt x="13" y="266"/>
                    <a:pt x="13" y="282"/>
                  </a:cubicBezTo>
                  <a:cubicBezTo>
                    <a:pt x="13" y="291"/>
                    <a:pt x="11" y="300"/>
                    <a:pt x="10" y="308"/>
                  </a:cubicBezTo>
                  <a:cubicBezTo>
                    <a:pt x="26" y="326"/>
                    <a:pt x="50" y="337"/>
                    <a:pt x="75" y="336"/>
                  </a:cubicBezTo>
                  <a:cubicBezTo>
                    <a:pt x="90" y="336"/>
                    <a:pt x="105" y="331"/>
                    <a:pt x="118" y="323"/>
                  </a:cubicBezTo>
                  <a:cubicBezTo>
                    <a:pt x="125" y="318"/>
                    <a:pt x="134" y="318"/>
                    <a:pt x="141" y="322"/>
                  </a:cubicBezTo>
                  <a:cubicBezTo>
                    <a:pt x="160" y="332"/>
                    <a:pt x="182" y="338"/>
                    <a:pt x="205" y="338"/>
                  </a:cubicBezTo>
                  <a:cubicBezTo>
                    <a:pt x="224" y="338"/>
                    <a:pt x="243" y="335"/>
                    <a:pt x="259" y="327"/>
                  </a:cubicBezTo>
                  <a:cubicBezTo>
                    <a:pt x="268" y="323"/>
                    <a:pt x="276" y="325"/>
                    <a:pt x="284" y="330"/>
                  </a:cubicBezTo>
                  <a:cubicBezTo>
                    <a:pt x="314" y="352"/>
                    <a:pt x="350" y="366"/>
                    <a:pt x="390" y="366"/>
                  </a:cubicBezTo>
                  <a:cubicBezTo>
                    <a:pt x="443" y="366"/>
                    <a:pt x="489" y="343"/>
                    <a:pt x="521" y="307"/>
                  </a:cubicBezTo>
                  <a:cubicBezTo>
                    <a:pt x="527" y="301"/>
                    <a:pt x="536" y="298"/>
                    <a:pt x="544" y="300"/>
                  </a:cubicBezTo>
                  <a:cubicBezTo>
                    <a:pt x="554" y="302"/>
                    <a:pt x="562" y="302"/>
                    <a:pt x="572" y="302"/>
                  </a:cubicBezTo>
                  <a:cubicBezTo>
                    <a:pt x="624" y="302"/>
                    <a:pt x="669" y="277"/>
                    <a:pt x="696" y="238"/>
                  </a:cubicBezTo>
                  <a:cubicBezTo>
                    <a:pt x="701" y="231"/>
                    <a:pt x="710" y="226"/>
                    <a:pt x="720" y="227"/>
                  </a:cubicBezTo>
                  <a:cubicBezTo>
                    <a:pt x="725" y="228"/>
                    <a:pt x="730" y="228"/>
                    <a:pt x="735" y="228"/>
                  </a:cubicBezTo>
                  <a:cubicBezTo>
                    <a:pt x="798" y="228"/>
                    <a:pt x="849" y="177"/>
                    <a:pt x="846" y="113"/>
                  </a:cubicBezTo>
                  <a:cubicBezTo>
                    <a:pt x="845" y="57"/>
                    <a:pt x="795" y="8"/>
                    <a:pt x="735" y="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44" name="Text Box 2"/>
          <p:cNvSpPr txBox="1">
            <a:spLocks noChangeArrowheads="1"/>
          </p:cNvSpPr>
          <p:nvPr/>
        </p:nvSpPr>
        <p:spPr bwMode="auto">
          <a:xfrm>
            <a:off x="72167" y="90020"/>
            <a:ext cx="11279313" cy="886397"/>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270864">
              <a:lnSpc>
                <a:spcPct val="90000"/>
              </a:lnSpc>
              <a:buClr>
                <a:srgbClr val="F9A91C"/>
              </a:buClr>
              <a:buSzPct val="125000"/>
              <a:defRPr/>
            </a:pPr>
            <a:r>
              <a:rPr lang="tr-TR" sz="3200" b="1" dirty="0" smtClean="0">
                <a:solidFill>
                  <a:srgbClr val="00A3CA"/>
                </a:solidFill>
                <a:effectLst>
                  <a:outerShdw blurRad="38100" dist="38100" dir="2700000" algn="tl">
                    <a:srgbClr val="000000">
                      <a:alpha val="43137"/>
                    </a:srgbClr>
                  </a:outerShdw>
                </a:effectLst>
                <a:latin typeface="Calibri" pitchFamily="34" charset="0"/>
                <a:cs typeface="+mn-cs"/>
              </a:rPr>
              <a:t>Geçmiş Dönem KOBİ </a:t>
            </a:r>
            <a:r>
              <a:rPr lang="tr-TR" sz="3200" b="1" dirty="0" err="1" smtClean="0">
                <a:solidFill>
                  <a:srgbClr val="00A3CA"/>
                </a:solidFill>
                <a:effectLst>
                  <a:outerShdw blurRad="38100" dist="38100" dir="2700000" algn="tl">
                    <a:srgbClr val="000000">
                      <a:alpha val="43137"/>
                    </a:srgbClr>
                  </a:outerShdw>
                </a:effectLst>
                <a:latin typeface="Calibri" pitchFamily="34" charset="0"/>
                <a:cs typeface="+mn-cs"/>
              </a:rPr>
              <a:t>Teknoyatırım</a:t>
            </a:r>
            <a:r>
              <a:rPr lang="tr-TR" sz="3200" b="1" dirty="0" smtClean="0">
                <a:solidFill>
                  <a:srgbClr val="00A3CA"/>
                </a:solidFill>
                <a:effectLst>
                  <a:outerShdw blurRad="38100" dist="38100" dir="2700000" algn="tl">
                    <a:srgbClr val="000000">
                      <a:alpha val="43137"/>
                    </a:srgbClr>
                  </a:outerShdw>
                </a:effectLst>
                <a:latin typeface="Calibri" pitchFamily="34" charset="0"/>
                <a:cs typeface="+mn-cs"/>
              </a:rPr>
              <a:t> Destek Programı Versiyonları (Birinci ve İkinci Dönem)</a:t>
            </a:r>
            <a:endParaRPr lang="tr-TR" sz="3200" b="1" dirty="0">
              <a:solidFill>
                <a:srgbClr val="00A3CA"/>
              </a:solidFill>
              <a:effectLst>
                <a:outerShdw blurRad="38100" dist="38100" dir="2700000" algn="tl">
                  <a:srgbClr val="000000">
                    <a:alpha val="43137"/>
                  </a:srgbClr>
                </a:outerShdw>
              </a:effectLst>
              <a:latin typeface="Calibri" pitchFamily="34" charset="0"/>
              <a:cs typeface="+mn-cs"/>
            </a:endParaRPr>
          </a:p>
        </p:txBody>
      </p:sp>
      <p:pic>
        <p:nvPicPr>
          <p:cNvPr id="45" name="Picture 3"/>
          <p:cNvPicPr>
            <a:picLocks noChangeAspect="1" noChangeArrowheads="1"/>
          </p:cNvPicPr>
          <p:nvPr/>
        </p:nvPicPr>
        <p:blipFill>
          <a:blip r:embed="rId26" cstate="print"/>
          <a:srcRect/>
          <a:stretch>
            <a:fillRect/>
          </a:stretch>
        </p:blipFill>
        <p:spPr bwMode="auto">
          <a:xfrm>
            <a:off x="11227655" y="141284"/>
            <a:ext cx="722715" cy="509772"/>
          </a:xfrm>
          <a:prstGeom prst="rect">
            <a:avLst/>
          </a:prstGeom>
          <a:noFill/>
          <a:ln w="9525">
            <a:noFill/>
            <a:miter lim="800000"/>
            <a:headEnd/>
            <a:tailEnd/>
          </a:ln>
        </p:spPr>
      </p:pic>
      <p:sp>
        <p:nvSpPr>
          <p:cNvPr id="47" name="Rectangle 63"/>
          <p:cNvSpPr>
            <a:spLocks/>
          </p:cNvSpPr>
          <p:nvPr/>
        </p:nvSpPr>
        <p:spPr bwMode="auto">
          <a:xfrm>
            <a:off x="1499165" y="4623567"/>
            <a:ext cx="10110944" cy="5764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576000" rtlCol="0" anchor="ctr">
            <a:noAutofit/>
          </a:bodyPr>
          <a:lstStyle/>
          <a:p>
            <a:pPr lvl="0" fontAlgn="base">
              <a:lnSpc>
                <a:spcPct val="90000"/>
              </a:lnSpc>
              <a:defRPr/>
            </a:pPr>
            <a:r>
              <a:rPr kumimoji="0" lang="tr-TR" sz="1600" b="0" i="0" u="none" strike="noStrike" kern="0" cap="none" spc="0" normalizeH="0" baseline="0" noProof="0" dirty="0" smtClean="0">
                <a:ln>
                  <a:noFill/>
                </a:ln>
                <a:solidFill>
                  <a:srgbClr val="000000"/>
                </a:solidFill>
                <a:effectLst/>
                <a:uLnTx/>
                <a:uFillTx/>
                <a:latin typeface="Calibri" panose="020F0502020204030204" pitchFamily="34" charset="0"/>
                <a:ea typeface="+mn-ea"/>
                <a:cs typeface="Arial" pitchFamily="34" charset="0"/>
              </a:rPr>
              <a:t>İstihdam katkısı</a:t>
            </a:r>
            <a:r>
              <a:rPr lang="tr-TR" sz="1600" kern="0" dirty="0">
                <a:solidFill>
                  <a:srgbClr val="000000"/>
                </a:solidFill>
                <a:latin typeface="Calibri" panose="020F0502020204030204" pitchFamily="34" charset="0"/>
                <a:cs typeface="Arial" pitchFamily="34" charset="0"/>
              </a:rPr>
              <a:t>: Yatırım projeleri kapsamında </a:t>
            </a:r>
            <a:r>
              <a:rPr lang="tr-TR" sz="1600" b="1" kern="0" dirty="0">
                <a:solidFill>
                  <a:srgbClr val="000000"/>
                </a:solidFill>
                <a:latin typeface="Calibri" panose="020F0502020204030204" pitchFamily="34" charset="0"/>
                <a:cs typeface="Arial" pitchFamily="34" charset="0"/>
              </a:rPr>
              <a:t>toplam </a:t>
            </a:r>
            <a:r>
              <a:rPr lang="tr-TR" sz="1600" b="1" kern="0" dirty="0" smtClean="0">
                <a:solidFill>
                  <a:srgbClr val="000000"/>
                </a:solidFill>
                <a:latin typeface="Calibri" panose="020F0502020204030204" pitchFamily="34" charset="0"/>
                <a:cs typeface="Arial" pitchFamily="34" charset="0"/>
              </a:rPr>
              <a:t>670 </a:t>
            </a:r>
            <a:r>
              <a:rPr lang="tr-TR" sz="1600" b="1" kern="0" dirty="0">
                <a:solidFill>
                  <a:srgbClr val="000000"/>
                </a:solidFill>
                <a:latin typeface="Calibri" panose="020F0502020204030204" pitchFamily="34" charset="0"/>
                <a:cs typeface="Arial" pitchFamily="34" charset="0"/>
              </a:rPr>
              <a:t>kişinin </a:t>
            </a:r>
            <a:r>
              <a:rPr lang="tr-TR" sz="1600" kern="0" dirty="0">
                <a:solidFill>
                  <a:srgbClr val="000000"/>
                </a:solidFill>
                <a:latin typeface="Calibri" panose="020F0502020204030204" pitchFamily="34" charset="0"/>
                <a:cs typeface="Arial" pitchFamily="34" charset="0"/>
              </a:rPr>
              <a:t>istihdamına destek verilecektir </a:t>
            </a: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itchFamily="34" charset="0"/>
            </a:endParaRPr>
          </a:p>
        </p:txBody>
      </p:sp>
      <p:sp>
        <p:nvSpPr>
          <p:cNvPr id="46" name="Pentagon 26"/>
          <p:cNvSpPr/>
          <p:nvPr/>
        </p:nvSpPr>
        <p:spPr bwMode="auto">
          <a:xfrm>
            <a:off x="601720" y="4623568"/>
            <a:ext cx="1075482" cy="576443"/>
          </a:xfrm>
          <a:prstGeom prst="homePlate">
            <a:avLst>
              <a:gd name="adj" fmla="val 27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48" name="POWER_USER_ID_ICONS_Brain"/>
          <p:cNvSpPr>
            <a:spLocks noChangeAspect="1"/>
          </p:cNvSpPr>
          <p:nvPr>
            <p:custDataLst>
              <p:tags r:id="rId6"/>
            </p:custDataLst>
          </p:nvPr>
        </p:nvSpPr>
        <p:spPr bwMode="auto">
          <a:xfrm>
            <a:off x="695377" y="4617316"/>
            <a:ext cx="658377" cy="562960"/>
          </a:xfrm>
          <a:custGeom>
            <a:avLst/>
            <a:gdLst>
              <a:gd name="T0" fmla="*/ 1195 w 1250"/>
              <a:gd name="T1" fmla="*/ 671 h 1068"/>
              <a:gd name="T2" fmla="*/ 1074 w 1250"/>
              <a:gd name="T3" fmla="*/ 841 h 1068"/>
              <a:gd name="T4" fmla="*/ 853 w 1250"/>
              <a:gd name="T5" fmla="*/ 1068 h 1068"/>
              <a:gd name="T6" fmla="*/ 922 w 1250"/>
              <a:gd name="T7" fmla="*/ 697 h 1068"/>
              <a:gd name="T8" fmla="*/ 1052 w 1250"/>
              <a:gd name="T9" fmla="*/ 735 h 1068"/>
              <a:gd name="T10" fmla="*/ 1081 w 1250"/>
              <a:gd name="T11" fmla="*/ 743 h 1068"/>
              <a:gd name="T12" fmla="*/ 1089 w 1250"/>
              <a:gd name="T13" fmla="*/ 714 h 1068"/>
              <a:gd name="T14" fmla="*/ 1026 w 1250"/>
              <a:gd name="T15" fmla="*/ 522 h 1068"/>
              <a:gd name="T16" fmla="*/ 1018 w 1250"/>
              <a:gd name="T17" fmla="*/ 466 h 1068"/>
              <a:gd name="T18" fmla="*/ 1129 w 1250"/>
              <a:gd name="T19" fmla="*/ 374 h 1068"/>
              <a:gd name="T20" fmla="*/ 1002 w 1250"/>
              <a:gd name="T21" fmla="*/ 426 h 1068"/>
              <a:gd name="T22" fmla="*/ 892 w 1250"/>
              <a:gd name="T23" fmla="*/ 228 h 1068"/>
              <a:gd name="T24" fmla="*/ 862 w 1250"/>
              <a:gd name="T25" fmla="*/ 198 h 1068"/>
              <a:gd name="T26" fmla="*/ 665 w 1250"/>
              <a:gd name="T27" fmla="*/ 160 h 1068"/>
              <a:gd name="T28" fmla="*/ 622 w 1250"/>
              <a:gd name="T29" fmla="*/ 160 h 1068"/>
              <a:gd name="T30" fmla="*/ 522 w 1250"/>
              <a:gd name="T31" fmla="*/ 239 h 1068"/>
              <a:gd name="T32" fmla="*/ 467 w 1250"/>
              <a:gd name="T33" fmla="*/ 229 h 1068"/>
              <a:gd name="T34" fmla="*/ 379 w 1250"/>
              <a:gd name="T35" fmla="*/ 192 h 1068"/>
              <a:gd name="T36" fmla="*/ 437 w 1250"/>
              <a:gd name="T37" fmla="*/ 262 h 1068"/>
              <a:gd name="T38" fmla="*/ 251 w 1250"/>
              <a:gd name="T39" fmla="*/ 304 h 1068"/>
              <a:gd name="T40" fmla="*/ 238 w 1250"/>
              <a:gd name="T41" fmla="*/ 344 h 1068"/>
              <a:gd name="T42" fmla="*/ 278 w 1250"/>
              <a:gd name="T43" fmla="*/ 408 h 1068"/>
              <a:gd name="T44" fmla="*/ 276 w 1250"/>
              <a:gd name="T45" fmla="*/ 408 h 1068"/>
              <a:gd name="T46" fmla="*/ 135 w 1250"/>
              <a:gd name="T47" fmla="*/ 495 h 1068"/>
              <a:gd name="T48" fmla="*/ 164 w 1250"/>
              <a:gd name="T49" fmla="*/ 496 h 1068"/>
              <a:gd name="T50" fmla="*/ 278 w 1250"/>
              <a:gd name="T51" fmla="*/ 450 h 1068"/>
              <a:gd name="T52" fmla="*/ 278 w 1250"/>
              <a:gd name="T53" fmla="*/ 450 h 1068"/>
              <a:gd name="T54" fmla="*/ 522 w 1250"/>
              <a:gd name="T55" fmla="*/ 281 h 1068"/>
              <a:gd name="T56" fmla="*/ 698 w 1250"/>
              <a:gd name="T57" fmla="*/ 318 h 1068"/>
              <a:gd name="T58" fmla="*/ 621 w 1250"/>
              <a:gd name="T59" fmla="*/ 420 h 1068"/>
              <a:gd name="T60" fmla="*/ 518 w 1250"/>
              <a:gd name="T61" fmla="*/ 473 h 1068"/>
              <a:gd name="T62" fmla="*/ 546 w 1250"/>
              <a:gd name="T63" fmla="*/ 481 h 1068"/>
              <a:gd name="T64" fmla="*/ 654 w 1250"/>
              <a:gd name="T65" fmla="*/ 466 h 1068"/>
              <a:gd name="T66" fmla="*/ 724 w 1250"/>
              <a:gd name="T67" fmla="*/ 591 h 1068"/>
              <a:gd name="T68" fmla="*/ 740 w 1250"/>
              <a:gd name="T69" fmla="*/ 555 h 1068"/>
              <a:gd name="T70" fmla="*/ 695 w 1250"/>
              <a:gd name="T71" fmla="*/ 449 h 1068"/>
              <a:gd name="T72" fmla="*/ 695 w 1250"/>
              <a:gd name="T73" fmla="*/ 445 h 1068"/>
              <a:gd name="T74" fmla="*/ 824 w 1250"/>
              <a:gd name="T75" fmla="*/ 362 h 1068"/>
              <a:gd name="T76" fmla="*/ 825 w 1250"/>
              <a:gd name="T77" fmla="*/ 362 h 1068"/>
              <a:gd name="T78" fmla="*/ 932 w 1250"/>
              <a:gd name="T79" fmla="*/ 514 h 1068"/>
              <a:gd name="T80" fmla="*/ 845 w 1250"/>
              <a:gd name="T81" fmla="*/ 557 h 1068"/>
              <a:gd name="T82" fmla="*/ 932 w 1250"/>
              <a:gd name="T83" fmla="*/ 557 h 1068"/>
              <a:gd name="T84" fmla="*/ 948 w 1250"/>
              <a:gd name="T85" fmla="*/ 623 h 1068"/>
              <a:gd name="T86" fmla="*/ 900 w 1250"/>
              <a:gd name="T87" fmla="*/ 661 h 1068"/>
              <a:gd name="T88" fmla="*/ 810 w 1250"/>
              <a:gd name="T89" fmla="*/ 1068 h 1068"/>
              <a:gd name="T90" fmla="*/ 738 w 1250"/>
              <a:gd name="T91" fmla="*/ 852 h 1068"/>
              <a:gd name="T92" fmla="*/ 542 w 1250"/>
              <a:gd name="T93" fmla="*/ 615 h 1068"/>
              <a:gd name="T94" fmla="*/ 317 w 1250"/>
              <a:gd name="T95" fmla="*/ 615 h 1068"/>
              <a:gd name="T96" fmla="*/ 0 w 1250"/>
              <a:gd name="T97" fmla="*/ 443 h 1068"/>
              <a:gd name="T98" fmla="*/ 321 w 1250"/>
              <a:gd name="T99" fmla="*/ 97 h 1068"/>
              <a:gd name="T100" fmla="*/ 501 w 1250"/>
              <a:gd name="T101" fmla="*/ 10 h 1068"/>
              <a:gd name="T102" fmla="*/ 707 w 1250"/>
              <a:gd name="T103" fmla="*/ 0 h 1068"/>
              <a:gd name="T104" fmla="*/ 890 w 1250"/>
              <a:gd name="T105" fmla="*/ 48 h 1068"/>
              <a:gd name="T106" fmla="*/ 1216 w 1250"/>
              <a:gd name="T107" fmla="*/ 359 h 1068"/>
              <a:gd name="T108" fmla="*/ 1250 w 1250"/>
              <a:gd name="T109" fmla="*/ 533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0" h="1068">
                <a:moveTo>
                  <a:pt x="1250" y="533"/>
                </a:moveTo>
                <a:cubicBezTo>
                  <a:pt x="1250" y="587"/>
                  <a:pt x="1229" y="635"/>
                  <a:pt x="1195" y="671"/>
                </a:cubicBezTo>
                <a:cubicBezTo>
                  <a:pt x="1189" y="747"/>
                  <a:pt x="1141" y="811"/>
                  <a:pt x="1074" y="840"/>
                </a:cubicBezTo>
                <a:lnTo>
                  <a:pt x="1074" y="841"/>
                </a:lnTo>
                <a:cubicBezTo>
                  <a:pt x="992" y="888"/>
                  <a:pt x="943" y="970"/>
                  <a:pt x="928" y="1068"/>
                </a:cubicBezTo>
                <a:lnTo>
                  <a:pt x="853" y="1068"/>
                </a:lnTo>
                <a:lnTo>
                  <a:pt x="853" y="841"/>
                </a:lnTo>
                <a:cubicBezTo>
                  <a:pt x="853" y="770"/>
                  <a:pt x="875" y="725"/>
                  <a:pt x="922" y="697"/>
                </a:cubicBezTo>
                <a:cubicBezTo>
                  <a:pt x="939" y="687"/>
                  <a:pt x="954" y="676"/>
                  <a:pt x="968" y="664"/>
                </a:cubicBezTo>
                <a:cubicBezTo>
                  <a:pt x="1002" y="676"/>
                  <a:pt x="1033" y="700"/>
                  <a:pt x="1052" y="735"/>
                </a:cubicBezTo>
                <a:cubicBezTo>
                  <a:pt x="1056" y="742"/>
                  <a:pt x="1063" y="746"/>
                  <a:pt x="1071" y="746"/>
                </a:cubicBezTo>
                <a:cubicBezTo>
                  <a:pt x="1074" y="746"/>
                  <a:pt x="1078" y="745"/>
                  <a:pt x="1081" y="743"/>
                </a:cubicBezTo>
                <a:cubicBezTo>
                  <a:pt x="1091" y="737"/>
                  <a:pt x="1095" y="724"/>
                  <a:pt x="1089" y="714"/>
                </a:cubicBezTo>
                <a:lnTo>
                  <a:pt x="1089" y="714"/>
                </a:lnTo>
                <a:cubicBezTo>
                  <a:pt x="1067" y="675"/>
                  <a:pt x="1034" y="647"/>
                  <a:pt x="997" y="630"/>
                </a:cubicBezTo>
                <a:cubicBezTo>
                  <a:pt x="1016" y="600"/>
                  <a:pt x="1027" y="565"/>
                  <a:pt x="1026" y="522"/>
                </a:cubicBezTo>
                <a:cubicBezTo>
                  <a:pt x="1026" y="522"/>
                  <a:pt x="1026" y="522"/>
                  <a:pt x="1026" y="522"/>
                </a:cubicBezTo>
                <a:cubicBezTo>
                  <a:pt x="1026" y="502"/>
                  <a:pt x="1024" y="484"/>
                  <a:pt x="1018" y="466"/>
                </a:cubicBezTo>
                <a:cubicBezTo>
                  <a:pt x="1063" y="458"/>
                  <a:pt x="1102" y="435"/>
                  <a:pt x="1130" y="404"/>
                </a:cubicBezTo>
                <a:cubicBezTo>
                  <a:pt x="1138" y="395"/>
                  <a:pt x="1138" y="382"/>
                  <a:pt x="1129" y="374"/>
                </a:cubicBezTo>
                <a:cubicBezTo>
                  <a:pt x="1120" y="366"/>
                  <a:pt x="1107" y="367"/>
                  <a:pt x="1099" y="375"/>
                </a:cubicBezTo>
                <a:cubicBezTo>
                  <a:pt x="1074" y="402"/>
                  <a:pt x="1040" y="421"/>
                  <a:pt x="1002" y="426"/>
                </a:cubicBezTo>
                <a:cubicBezTo>
                  <a:pt x="971" y="369"/>
                  <a:pt x="914" y="328"/>
                  <a:pt x="847" y="321"/>
                </a:cubicBezTo>
                <a:cubicBezTo>
                  <a:pt x="851" y="285"/>
                  <a:pt x="868" y="252"/>
                  <a:pt x="892" y="228"/>
                </a:cubicBezTo>
                <a:cubicBezTo>
                  <a:pt x="900" y="220"/>
                  <a:pt x="900" y="206"/>
                  <a:pt x="892" y="198"/>
                </a:cubicBezTo>
                <a:cubicBezTo>
                  <a:pt x="884" y="190"/>
                  <a:pt x="870" y="190"/>
                  <a:pt x="862" y="198"/>
                </a:cubicBezTo>
                <a:cubicBezTo>
                  <a:pt x="831" y="229"/>
                  <a:pt x="810" y="272"/>
                  <a:pt x="804" y="318"/>
                </a:cubicBezTo>
                <a:cubicBezTo>
                  <a:pt x="725" y="308"/>
                  <a:pt x="665" y="241"/>
                  <a:pt x="665" y="160"/>
                </a:cubicBezTo>
                <a:cubicBezTo>
                  <a:pt x="665" y="148"/>
                  <a:pt x="655" y="139"/>
                  <a:pt x="644" y="139"/>
                </a:cubicBezTo>
                <a:cubicBezTo>
                  <a:pt x="632" y="139"/>
                  <a:pt x="622" y="148"/>
                  <a:pt x="622" y="160"/>
                </a:cubicBezTo>
                <a:cubicBezTo>
                  <a:pt x="622" y="174"/>
                  <a:pt x="624" y="187"/>
                  <a:pt x="626" y="200"/>
                </a:cubicBezTo>
                <a:cubicBezTo>
                  <a:pt x="596" y="226"/>
                  <a:pt x="559" y="239"/>
                  <a:pt x="522" y="239"/>
                </a:cubicBezTo>
                <a:cubicBezTo>
                  <a:pt x="503" y="239"/>
                  <a:pt x="485" y="235"/>
                  <a:pt x="468" y="229"/>
                </a:cubicBezTo>
                <a:cubicBezTo>
                  <a:pt x="468" y="229"/>
                  <a:pt x="467" y="229"/>
                  <a:pt x="467" y="229"/>
                </a:cubicBezTo>
                <a:cubicBezTo>
                  <a:pt x="446" y="221"/>
                  <a:pt x="426" y="209"/>
                  <a:pt x="409" y="192"/>
                </a:cubicBezTo>
                <a:cubicBezTo>
                  <a:pt x="401" y="184"/>
                  <a:pt x="387" y="184"/>
                  <a:pt x="379" y="192"/>
                </a:cubicBezTo>
                <a:cubicBezTo>
                  <a:pt x="371" y="200"/>
                  <a:pt x="371" y="213"/>
                  <a:pt x="379" y="222"/>
                </a:cubicBezTo>
                <a:cubicBezTo>
                  <a:pt x="396" y="239"/>
                  <a:pt x="416" y="253"/>
                  <a:pt x="437" y="262"/>
                </a:cubicBezTo>
                <a:cubicBezTo>
                  <a:pt x="433" y="315"/>
                  <a:pt x="402" y="360"/>
                  <a:pt x="359" y="386"/>
                </a:cubicBezTo>
                <a:cubicBezTo>
                  <a:pt x="335" y="348"/>
                  <a:pt x="297" y="319"/>
                  <a:pt x="251" y="304"/>
                </a:cubicBezTo>
                <a:cubicBezTo>
                  <a:pt x="240" y="300"/>
                  <a:pt x="228" y="307"/>
                  <a:pt x="225" y="318"/>
                </a:cubicBezTo>
                <a:cubicBezTo>
                  <a:pt x="221" y="329"/>
                  <a:pt x="227" y="341"/>
                  <a:pt x="238" y="344"/>
                </a:cubicBezTo>
                <a:cubicBezTo>
                  <a:pt x="272" y="355"/>
                  <a:pt x="300" y="376"/>
                  <a:pt x="319" y="403"/>
                </a:cubicBezTo>
                <a:cubicBezTo>
                  <a:pt x="306" y="406"/>
                  <a:pt x="293" y="408"/>
                  <a:pt x="278" y="408"/>
                </a:cubicBezTo>
                <a:lnTo>
                  <a:pt x="278" y="408"/>
                </a:lnTo>
                <a:lnTo>
                  <a:pt x="276" y="408"/>
                </a:lnTo>
                <a:cubicBezTo>
                  <a:pt x="221" y="408"/>
                  <a:pt x="171" y="430"/>
                  <a:pt x="135" y="465"/>
                </a:cubicBezTo>
                <a:cubicBezTo>
                  <a:pt x="126" y="473"/>
                  <a:pt x="126" y="487"/>
                  <a:pt x="135" y="495"/>
                </a:cubicBezTo>
                <a:cubicBezTo>
                  <a:pt x="139" y="499"/>
                  <a:pt x="144" y="502"/>
                  <a:pt x="150" y="502"/>
                </a:cubicBezTo>
                <a:cubicBezTo>
                  <a:pt x="155" y="502"/>
                  <a:pt x="160" y="500"/>
                  <a:pt x="164" y="496"/>
                </a:cubicBezTo>
                <a:cubicBezTo>
                  <a:pt x="193" y="467"/>
                  <a:pt x="232" y="450"/>
                  <a:pt x="276" y="450"/>
                </a:cubicBezTo>
                <a:lnTo>
                  <a:pt x="278" y="450"/>
                </a:lnTo>
                <a:lnTo>
                  <a:pt x="278" y="450"/>
                </a:lnTo>
                <a:lnTo>
                  <a:pt x="278" y="450"/>
                </a:lnTo>
                <a:cubicBezTo>
                  <a:pt x="380" y="450"/>
                  <a:pt x="465" y="375"/>
                  <a:pt x="478" y="276"/>
                </a:cubicBezTo>
                <a:cubicBezTo>
                  <a:pt x="493" y="279"/>
                  <a:pt x="507" y="281"/>
                  <a:pt x="522" y="281"/>
                </a:cubicBezTo>
                <a:cubicBezTo>
                  <a:pt x="563" y="281"/>
                  <a:pt x="605" y="268"/>
                  <a:pt x="640" y="243"/>
                </a:cubicBezTo>
                <a:cubicBezTo>
                  <a:pt x="653" y="272"/>
                  <a:pt x="673" y="298"/>
                  <a:pt x="698" y="318"/>
                </a:cubicBezTo>
                <a:cubicBezTo>
                  <a:pt x="673" y="348"/>
                  <a:pt x="658" y="385"/>
                  <a:pt x="654" y="423"/>
                </a:cubicBezTo>
                <a:cubicBezTo>
                  <a:pt x="644" y="421"/>
                  <a:pt x="632" y="420"/>
                  <a:pt x="621" y="420"/>
                </a:cubicBezTo>
                <a:cubicBezTo>
                  <a:pt x="589" y="420"/>
                  <a:pt x="557" y="428"/>
                  <a:pt x="527" y="444"/>
                </a:cubicBezTo>
                <a:cubicBezTo>
                  <a:pt x="516" y="449"/>
                  <a:pt x="512" y="462"/>
                  <a:pt x="518" y="473"/>
                </a:cubicBezTo>
                <a:cubicBezTo>
                  <a:pt x="522" y="480"/>
                  <a:pt x="529" y="484"/>
                  <a:pt x="537" y="484"/>
                </a:cubicBezTo>
                <a:cubicBezTo>
                  <a:pt x="540" y="484"/>
                  <a:pt x="543" y="483"/>
                  <a:pt x="546" y="481"/>
                </a:cubicBezTo>
                <a:cubicBezTo>
                  <a:pt x="571" y="469"/>
                  <a:pt x="596" y="463"/>
                  <a:pt x="621" y="463"/>
                </a:cubicBezTo>
                <a:cubicBezTo>
                  <a:pt x="632" y="463"/>
                  <a:pt x="644" y="464"/>
                  <a:pt x="654" y="466"/>
                </a:cubicBezTo>
                <a:cubicBezTo>
                  <a:pt x="659" y="509"/>
                  <a:pt x="677" y="551"/>
                  <a:pt x="709" y="584"/>
                </a:cubicBezTo>
                <a:cubicBezTo>
                  <a:pt x="713" y="589"/>
                  <a:pt x="719" y="591"/>
                  <a:pt x="724" y="591"/>
                </a:cubicBezTo>
                <a:cubicBezTo>
                  <a:pt x="730" y="591"/>
                  <a:pt x="735" y="589"/>
                  <a:pt x="739" y="585"/>
                </a:cubicBezTo>
                <a:cubicBezTo>
                  <a:pt x="748" y="577"/>
                  <a:pt x="748" y="563"/>
                  <a:pt x="740" y="555"/>
                </a:cubicBezTo>
                <a:lnTo>
                  <a:pt x="740" y="555"/>
                </a:lnTo>
                <a:cubicBezTo>
                  <a:pt x="711" y="525"/>
                  <a:pt x="696" y="487"/>
                  <a:pt x="695" y="449"/>
                </a:cubicBezTo>
                <a:cubicBezTo>
                  <a:pt x="695" y="448"/>
                  <a:pt x="695" y="448"/>
                  <a:pt x="695" y="447"/>
                </a:cubicBezTo>
                <a:lnTo>
                  <a:pt x="695" y="445"/>
                </a:lnTo>
                <a:cubicBezTo>
                  <a:pt x="695" y="407"/>
                  <a:pt x="708" y="370"/>
                  <a:pt x="734" y="341"/>
                </a:cubicBezTo>
                <a:cubicBezTo>
                  <a:pt x="761" y="354"/>
                  <a:pt x="791" y="362"/>
                  <a:pt x="824" y="362"/>
                </a:cubicBezTo>
                <a:cubicBezTo>
                  <a:pt x="824" y="362"/>
                  <a:pt x="824" y="362"/>
                  <a:pt x="824" y="362"/>
                </a:cubicBezTo>
                <a:lnTo>
                  <a:pt x="825" y="362"/>
                </a:lnTo>
                <a:cubicBezTo>
                  <a:pt x="912" y="362"/>
                  <a:pt x="984" y="433"/>
                  <a:pt x="984" y="521"/>
                </a:cubicBezTo>
                <a:cubicBezTo>
                  <a:pt x="967" y="517"/>
                  <a:pt x="950" y="514"/>
                  <a:pt x="932" y="514"/>
                </a:cubicBezTo>
                <a:cubicBezTo>
                  <a:pt x="907" y="514"/>
                  <a:pt x="882" y="519"/>
                  <a:pt x="857" y="529"/>
                </a:cubicBezTo>
                <a:cubicBezTo>
                  <a:pt x="846" y="534"/>
                  <a:pt x="841" y="546"/>
                  <a:pt x="845" y="557"/>
                </a:cubicBezTo>
                <a:cubicBezTo>
                  <a:pt x="850" y="568"/>
                  <a:pt x="862" y="573"/>
                  <a:pt x="873" y="568"/>
                </a:cubicBezTo>
                <a:cubicBezTo>
                  <a:pt x="893" y="561"/>
                  <a:pt x="913" y="557"/>
                  <a:pt x="932" y="557"/>
                </a:cubicBezTo>
                <a:cubicBezTo>
                  <a:pt x="948" y="557"/>
                  <a:pt x="964" y="559"/>
                  <a:pt x="979" y="564"/>
                </a:cubicBezTo>
                <a:cubicBezTo>
                  <a:pt x="974" y="587"/>
                  <a:pt x="964" y="606"/>
                  <a:pt x="948" y="623"/>
                </a:cubicBezTo>
                <a:cubicBezTo>
                  <a:pt x="947" y="624"/>
                  <a:pt x="946" y="626"/>
                  <a:pt x="945" y="627"/>
                </a:cubicBezTo>
                <a:cubicBezTo>
                  <a:pt x="933" y="639"/>
                  <a:pt x="918" y="650"/>
                  <a:pt x="900" y="661"/>
                </a:cubicBezTo>
                <a:cubicBezTo>
                  <a:pt x="839" y="696"/>
                  <a:pt x="810" y="761"/>
                  <a:pt x="810" y="841"/>
                </a:cubicBezTo>
                <a:lnTo>
                  <a:pt x="810" y="1068"/>
                </a:lnTo>
                <a:lnTo>
                  <a:pt x="738" y="1068"/>
                </a:lnTo>
                <a:lnTo>
                  <a:pt x="738" y="852"/>
                </a:lnTo>
                <a:cubicBezTo>
                  <a:pt x="738" y="773"/>
                  <a:pt x="688" y="698"/>
                  <a:pt x="626" y="671"/>
                </a:cubicBezTo>
                <a:cubicBezTo>
                  <a:pt x="596" y="660"/>
                  <a:pt x="565" y="640"/>
                  <a:pt x="542" y="615"/>
                </a:cubicBezTo>
                <a:cubicBezTo>
                  <a:pt x="510" y="637"/>
                  <a:pt x="471" y="650"/>
                  <a:pt x="430" y="650"/>
                </a:cubicBezTo>
                <a:cubicBezTo>
                  <a:pt x="388" y="650"/>
                  <a:pt x="349" y="637"/>
                  <a:pt x="317" y="615"/>
                </a:cubicBezTo>
                <a:cubicBezTo>
                  <a:pt x="285" y="636"/>
                  <a:pt x="246" y="648"/>
                  <a:pt x="205" y="648"/>
                </a:cubicBezTo>
                <a:cubicBezTo>
                  <a:pt x="92" y="648"/>
                  <a:pt x="0" y="557"/>
                  <a:pt x="0" y="443"/>
                </a:cubicBezTo>
                <a:cubicBezTo>
                  <a:pt x="0" y="359"/>
                  <a:pt x="51" y="286"/>
                  <a:pt x="124" y="255"/>
                </a:cubicBezTo>
                <a:cubicBezTo>
                  <a:pt x="144" y="164"/>
                  <a:pt x="224" y="97"/>
                  <a:pt x="321" y="97"/>
                </a:cubicBezTo>
                <a:cubicBezTo>
                  <a:pt x="326" y="97"/>
                  <a:pt x="330" y="97"/>
                  <a:pt x="335" y="98"/>
                </a:cubicBezTo>
                <a:cubicBezTo>
                  <a:pt x="371" y="45"/>
                  <a:pt x="432" y="10"/>
                  <a:pt x="501" y="10"/>
                </a:cubicBezTo>
                <a:cubicBezTo>
                  <a:pt x="536" y="10"/>
                  <a:pt x="568" y="18"/>
                  <a:pt x="596" y="33"/>
                </a:cubicBezTo>
                <a:cubicBezTo>
                  <a:pt x="628" y="12"/>
                  <a:pt x="666" y="0"/>
                  <a:pt x="707" y="0"/>
                </a:cubicBezTo>
                <a:cubicBezTo>
                  <a:pt x="759" y="0"/>
                  <a:pt x="807" y="21"/>
                  <a:pt x="843" y="54"/>
                </a:cubicBezTo>
                <a:cubicBezTo>
                  <a:pt x="858" y="50"/>
                  <a:pt x="874" y="48"/>
                  <a:pt x="890" y="48"/>
                </a:cubicBezTo>
                <a:cubicBezTo>
                  <a:pt x="971" y="48"/>
                  <a:pt x="1042" y="97"/>
                  <a:pt x="1073" y="167"/>
                </a:cubicBezTo>
                <a:cubicBezTo>
                  <a:pt x="1156" y="192"/>
                  <a:pt x="1216" y="269"/>
                  <a:pt x="1216" y="359"/>
                </a:cubicBezTo>
                <a:cubicBezTo>
                  <a:pt x="1216" y="377"/>
                  <a:pt x="1213" y="395"/>
                  <a:pt x="1209" y="412"/>
                </a:cubicBezTo>
                <a:cubicBezTo>
                  <a:pt x="1235" y="445"/>
                  <a:pt x="1250" y="488"/>
                  <a:pt x="1250" y="53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pic>
        <p:nvPicPr>
          <p:cNvPr id="4" name="Resim 3"/>
          <p:cNvPicPr>
            <a:picLocks noChangeAspect="1"/>
          </p:cNvPicPr>
          <p:nvPr/>
        </p:nvPicPr>
        <p:blipFill>
          <a:blip r:embed="rId27"/>
          <a:stretch>
            <a:fillRect/>
          </a:stretch>
        </p:blipFill>
        <p:spPr>
          <a:xfrm>
            <a:off x="771922" y="1207197"/>
            <a:ext cx="612220" cy="602184"/>
          </a:xfrm>
          <a:prstGeom prst="rect">
            <a:avLst/>
          </a:prstGeom>
        </p:spPr>
      </p:pic>
    </p:spTree>
    <p:custDataLst>
      <p:tags r:id="rId1"/>
    </p:custDataLst>
    <p:extLst>
      <p:ext uri="{BB962C8B-B14F-4D97-AF65-F5344CB8AC3E}">
        <p14:creationId xmlns:p14="http://schemas.microsoft.com/office/powerpoint/2010/main" val="25329078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Metin kutusu 50"/>
          <p:cNvSpPr txBox="1"/>
          <p:nvPr/>
        </p:nvSpPr>
        <p:spPr>
          <a:xfrm>
            <a:off x="2781528" y="881359"/>
            <a:ext cx="6913455" cy="1463154"/>
          </a:xfrm>
          <a:prstGeom prst="rect">
            <a:avLst/>
          </a:prstGeom>
          <a:noFill/>
        </p:spPr>
        <p:txBody>
          <a:bodyPr wrap="square" lIns="89309" tIns="44654" rIns="89309" bIns="44654" rtlCol="0">
            <a:noAutofit/>
          </a:bodyPr>
          <a:lstStyle/>
          <a:p>
            <a:pPr algn="ctr" defTabSz="893126" fontAlgn="base">
              <a:spcBef>
                <a:spcPct val="0"/>
              </a:spcBef>
              <a:spcAft>
                <a:spcPct val="0"/>
              </a:spcAft>
              <a:buClr>
                <a:srgbClr val="52AADF"/>
              </a:buClr>
            </a:pPr>
            <a:r>
              <a:rPr lang="tr-TR" sz="2481" b="1" dirty="0" smtClean="0">
                <a:solidFill>
                  <a:srgbClr val="FF0000"/>
                </a:solidFill>
                <a:latin typeface="Calibri"/>
                <a:ea typeface="ヒラギノ角ゴ Pro W3" pitchFamily="1" charset="-128"/>
              </a:rPr>
              <a:t>«</a:t>
            </a:r>
            <a:r>
              <a:rPr lang="tr-TR" sz="2481" b="1" dirty="0">
                <a:solidFill>
                  <a:srgbClr val="FF0000"/>
                </a:solidFill>
                <a:latin typeface="Calibri"/>
                <a:ea typeface="ヒラギノ角ゴ Pro W3" pitchFamily="1" charset="-128"/>
              </a:rPr>
              <a:t>Enerji Tasarruflu Endüstriyel Çamaşır Kurutma Makinelerinin Üretiminde İleri Teknoloji Kullanımı»</a:t>
            </a:r>
          </a:p>
        </p:txBody>
      </p:sp>
      <p:graphicFrame>
        <p:nvGraphicFramePr>
          <p:cNvPr id="8" name="Tablo 7"/>
          <p:cNvGraphicFramePr>
            <a:graphicFrameLocks noGrp="1"/>
          </p:cNvGraphicFramePr>
          <p:nvPr>
            <p:extLst/>
          </p:nvPr>
        </p:nvGraphicFramePr>
        <p:xfrm>
          <a:off x="1710146" y="1961753"/>
          <a:ext cx="8771708" cy="1029157"/>
        </p:xfrm>
        <a:graphic>
          <a:graphicData uri="http://schemas.openxmlformats.org/drawingml/2006/table">
            <a:tbl>
              <a:tblPr firstRow="1" bandRow="1"/>
              <a:tblGrid>
                <a:gridCol w="287033">
                  <a:extLst>
                    <a:ext uri="{9D8B030D-6E8A-4147-A177-3AD203B41FA5}">
                      <a16:colId xmlns:a16="http://schemas.microsoft.com/office/drawing/2014/main" val="20000"/>
                    </a:ext>
                  </a:extLst>
                </a:gridCol>
                <a:gridCol w="2831716">
                  <a:extLst>
                    <a:ext uri="{9D8B030D-6E8A-4147-A177-3AD203B41FA5}">
                      <a16:colId xmlns:a16="http://schemas.microsoft.com/office/drawing/2014/main" val="20001"/>
                    </a:ext>
                  </a:extLst>
                </a:gridCol>
                <a:gridCol w="287033">
                  <a:extLst>
                    <a:ext uri="{9D8B030D-6E8A-4147-A177-3AD203B41FA5}">
                      <a16:colId xmlns:a16="http://schemas.microsoft.com/office/drawing/2014/main" val="20002"/>
                    </a:ext>
                  </a:extLst>
                </a:gridCol>
                <a:gridCol w="5365926">
                  <a:extLst>
                    <a:ext uri="{9D8B030D-6E8A-4147-A177-3AD203B41FA5}">
                      <a16:colId xmlns:a16="http://schemas.microsoft.com/office/drawing/2014/main" val="20003"/>
                    </a:ext>
                  </a:extLst>
                </a:gridCol>
              </a:tblGrid>
              <a:tr h="351463">
                <a:tc>
                  <a:txBody>
                    <a:bodyPr/>
                    <a:lstStyle/>
                    <a:p>
                      <a:endParaRPr lang="tr-TR" sz="1100" dirty="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700" b="1" dirty="0" smtClean="0">
                          <a:solidFill>
                            <a:srgbClr val="FF0000"/>
                          </a:solidFill>
                        </a:rPr>
                        <a:t>İşletme</a:t>
                      </a:r>
                      <a:r>
                        <a:rPr lang="tr-TR" sz="1700" b="1" baseline="0" dirty="0" smtClean="0">
                          <a:solidFill>
                            <a:srgbClr val="FF0000"/>
                          </a:solidFill>
                        </a:rPr>
                        <a:t> Ölçeği: </a:t>
                      </a:r>
                      <a:r>
                        <a:rPr lang="tr-TR" sz="1700" b="0" kern="1200" baseline="0" dirty="0" smtClean="0">
                          <a:solidFill>
                            <a:schemeClr val="tx1"/>
                          </a:solidFill>
                          <a:latin typeface="Calibri" panose="020F0502020204030204" pitchFamily="34" charset="0"/>
                          <a:ea typeface="+mn-ea"/>
                          <a:cs typeface="+mn-cs"/>
                        </a:rPr>
                        <a:t>Orta</a:t>
                      </a:r>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4A81BD"/>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r-TR" sz="1700" dirty="0" smtClean="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700" b="1" dirty="0" smtClean="0">
                          <a:solidFill>
                            <a:srgbClr val="FF0000"/>
                          </a:solidFill>
                        </a:rPr>
                        <a:t>Teknoloji Düzeyi:</a:t>
                      </a:r>
                      <a:r>
                        <a:rPr lang="tr-TR" sz="1700" b="1" dirty="0" smtClean="0">
                          <a:solidFill>
                            <a:schemeClr val="accent2">
                              <a:lumMod val="75000"/>
                            </a:schemeClr>
                          </a:solidFill>
                        </a:rPr>
                        <a:t> </a:t>
                      </a:r>
                      <a:r>
                        <a:rPr lang="tr-TR" sz="1700" dirty="0" smtClean="0">
                          <a:latin typeface="Calibri" panose="020F0502020204030204" pitchFamily="34" charset="0"/>
                        </a:rPr>
                        <a:t>Orta-Yüksek teknoloji</a:t>
                      </a:r>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4A81BD"/>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77694">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r-TR" sz="1600" dirty="0" smtClean="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tr-TR" dirty="0"/>
                    </a:p>
                  </a:txBody>
                  <a:tcPr>
                    <a:lnL w="57150" cap="flat" cmpd="sng" algn="ctr">
                      <a:solidFill>
                        <a:srgbClr val="4A81BD"/>
                      </a:solidFill>
                      <a:prstDash val="solid"/>
                      <a:round/>
                      <a:headEnd type="none" w="med" len="med"/>
                      <a:tailEnd type="none" w="med" len="med"/>
                    </a:lnL>
                    <a:lnR w="57150" cap="flat" cmpd="sng" algn="ctr">
                      <a:solidFill>
                        <a:srgbClr val="4A81BD"/>
                      </a:solidFill>
                      <a:prstDash val="solid"/>
                      <a:round/>
                      <a:headEnd type="none" w="med" len="med"/>
                      <a:tailEnd type="none" w="med" len="med"/>
                    </a:lnR>
                    <a:lnT w="57150" cap="flat" cmpd="sng" algn="ctr">
                      <a:solidFill>
                        <a:srgbClr val="4A81BD"/>
                      </a:solidFill>
                      <a:prstDash val="solid"/>
                      <a:round/>
                      <a:headEnd type="none" w="med" len="med"/>
                      <a:tailEnd type="none" w="med" len="med"/>
                    </a:lnT>
                    <a:lnB w="57150" cap="flat" cmpd="sng" algn="ctr">
                      <a:solidFill>
                        <a:srgbClr val="4A81BD"/>
                      </a:solidFill>
                      <a:prstDash val="solid"/>
                      <a:round/>
                      <a:headEnd type="none" w="med" len="med"/>
                      <a:tailEnd type="none" w="med" len="med"/>
                    </a:lnB>
                  </a:tcPr>
                </a:tc>
                <a:tc hMerge="1">
                  <a:txBody>
                    <a:bodyPr/>
                    <a:lstStyle/>
                    <a:p>
                      <a:endParaRPr lang="tr-TR"/>
                    </a:p>
                  </a:txBody>
                  <a:tcPr/>
                </a:tc>
                <a:tc hMerge="1">
                  <a:txBody>
                    <a:bodyPr/>
                    <a:lstStyle/>
                    <a:p>
                      <a:endParaRPr lang="tr-TR" dirty="0"/>
                    </a:p>
                  </a:txBody>
                  <a:tcPr>
                    <a:lnL w="57150" cap="flat" cmpd="sng" algn="ctr">
                      <a:solidFill>
                        <a:srgbClr val="4A81BD"/>
                      </a:solidFill>
                      <a:prstDash val="solid"/>
                      <a:round/>
                      <a:headEnd type="none" w="med" len="med"/>
                      <a:tailEnd type="none" w="med" len="med"/>
                    </a:lnL>
                    <a:lnR w="57150" cap="flat" cmpd="sng" algn="ctr">
                      <a:solidFill>
                        <a:srgbClr val="4A81BD"/>
                      </a:solidFill>
                      <a:prstDash val="solid"/>
                      <a:round/>
                      <a:headEnd type="none" w="med" len="med"/>
                      <a:tailEnd type="none" w="med" len="med"/>
                    </a:lnR>
                    <a:lnT w="57150" cap="flat" cmpd="sng" algn="ctr">
                      <a:solidFill>
                        <a:srgbClr val="4A81BD"/>
                      </a:solidFill>
                      <a:prstDash val="solid"/>
                      <a:round/>
                      <a:headEnd type="none" w="med" len="med"/>
                      <a:tailEnd type="none" w="med" len="med"/>
                    </a:lnT>
                    <a:lnB w="57150" cap="flat" cmpd="sng" algn="ctr">
                      <a:solidFill>
                        <a:srgbClr val="4A81BD"/>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cxnSp>
        <p:nvCxnSpPr>
          <p:cNvPr id="19" name="Düz Bağlayıcı 18"/>
          <p:cNvCxnSpPr/>
          <p:nvPr/>
        </p:nvCxnSpPr>
        <p:spPr>
          <a:xfrm>
            <a:off x="1758051" y="2727273"/>
            <a:ext cx="877171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8" name="Dikdörtgen 47"/>
          <p:cNvSpPr/>
          <p:nvPr/>
        </p:nvSpPr>
        <p:spPr>
          <a:xfrm>
            <a:off x="1884896" y="3299398"/>
            <a:ext cx="5387949" cy="321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9309" tIns="44654" rIns="89309" bIns="44654" rtlCol="0" anchor="t"/>
          <a:lstStyle/>
          <a:p>
            <a:pPr algn="just" defTabSz="893126">
              <a:defRPr/>
            </a:pPr>
            <a:endParaRPr lang="tr-TR" sz="100" dirty="0">
              <a:solidFill>
                <a:srgbClr val="4F81BD">
                  <a:lumMod val="50000"/>
                </a:srgbClr>
              </a:solidFill>
              <a:latin typeface="Calibri"/>
            </a:endParaRPr>
          </a:p>
        </p:txBody>
      </p:sp>
      <p:sp>
        <p:nvSpPr>
          <p:cNvPr id="2" name="AutoShape 2" descr="Remay Metal ve Plastik san. Tic. A.Ş. ile ilgili görsel sonucu"/>
          <p:cNvSpPr>
            <a:spLocks noChangeAspect="1" noChangeArrowheads="1"/>
          </p:cNvSpPr>
          <p:nvPr/>
        </p:nvSpPr>
        <p:spPr bwMode="auto">
          <a:xfrm>
            <a:off x="1859386" y="-144253"/>
            <a:ext cx="292390"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309" tIns="44654" rIns="89309" bIns="44654" numCol="1" anchor="t" anchorCtr="0" compatLnSpc="1">
            <a:prstTxWarp prst="textNoShape">
              <a:avLst/>
            </a:prstTxWarp>
          </a:bodyPr>
          <a:lstStyle/>
          <a:p>
            <a:pPr defTabSz="893126"/>
            <a:endParaRPr lang="tr-TR" sz="1772">
              <a:solidFill>
                <a:prstClr val="black"/>
              </a:solidFill>
              <a:latin typeface="Calibri"/>
              <a:ea typeface="ヒラギノ角ゴ Pro W3" pitchFamily="1" charset="-128"/>
            </a:endParaRPr>
          </a:p>
        </p:txBody>
      </p:sp>
      <p:sp>
        <p:nvSpPr>
          <p:cNvPr id="3" name="AutoShape 4" descr="Remay Metal ve Plastik san. Tic. A.Ş. ile ilgili görsel sonucu"/>
          <p:cNvSpPr>
            <a:spLocks noChangeAspect="1" noChangeArrowheads="1"/>
          </p:cNvSpPr>
          <p:nvPr/>
        </p:nvSpPr>
        <p:spPr bwMode="auto">
          <a:xfrm>
            <a:off x="3039437" y="441098"/>
            <a:ext cx="292390"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309" tIns="44654" rIns="89309" bIns="44654" numCol="1" anchor="t" anchorCtr="0" compatLnSpc="1">
            <a:prstTxWarp prst="textNoShape">
              <a:avLst/>
            </a:prstTxWarp>
          </a:bodyPr>
          <a:lstStyle/>
          <a:p>
            <a:pPr defTabSz="893126"/>
            <a:endParaRPr lang="tr-TR" sz="1772">
              <a:solidFill>
                <a:prstClr val="black"/>
              </a:solidFill>
              <a:latin typeface="Calibri"/>
              <a:ea typeface="ヒラギノ角ゴ Pro W3" pitchFamily="1" charset="-128"/>
            </a:endParaRPr>
          </a:p>
        </p:txBody>
      </p:sp>
      <p:sp>
        <p:nvSpPr>
          <p:cNvPr id="5" name="Dikdörtgen 4"/>
          <p:cNvSpPr/>
          <p:nvPr/>
        </p:nvSpPr>
        <p:spPr>
          <a:xfrm>
            <a:off x="1841178" y="2787013"/>
            <a:ext cx="5002135" cy="3636558"/>
          </a:xfrm>
          <a:prstGeom prst="rect">
            <a:avLst/>
          </a:prstGeom>
        </p:spPr>
        <p:txBody>
          <a:bodyPr wrap="square">
            <a:spAutoFit/>
          </a:bodyPr>
          <a:lstStyle/>
          <a:p>
            <a:pPr algn="just" defTabSz="810127">
              <a:defRPr/>
            </a:pPr>
            <a:r>
              <a:rPr lang="tr-TR" sz="1772" dirty="0">
                <a:solidFill>
                  <a:prstClr val="black"/>
                </a:solidFill>
                <a:latin typeface="Calibri"/>
                <a:ea typeface="ヒラギノ角ゴ Pro W3" pitchFamily="1" charset="-128"/>
              </a:rPr>
              <a:t>Proje kapsamında yürütülen Ar-Ge çalışmaları sonucunda kurutma fırınında yapılan </a:t>
            </a:r>
            <a:r>
              <a:rPr lang="tr-TR" sz="1772" dirty="0" err="1">
                <a:solidFill>
                  <a:prstClr val="black"/>
                </a:solidFill>
                <a:latin typeface="Calibri"/>
                <a:ea typeface="ヒラギノ角ゴ Pro W3" pitchFamily="1" charset="-128"/>
              </a:rPr>
              <a:t>inovasyon</a:t>
            </a:r>
            <a:r>
              <a:rPr lang="tr-TR" sz="1772" dirty="0">
                <a:solidFill>
                  <a:prstClr val="black"/>
                </a:solidFill>
                <a:latin typeface="Calibri"/>
                <a:ea typeface="ヒラギノ角ゴ Pro W3" pitchFamily="1" charset="-128"/>
              </a:rPr>
              <a:t> çalışmaları neticesinde enerji sarfiyatında düşüş sağlanmıştır. Seri üretimi planlanan ‘Endüstriyel Çamaşır Kurutma </a:t>
            </a:r>
            <a:r>
              <a:rPr lang="tr-TR" sz="1772" dirty="0" err="1">
                <a:solidFill>
                  <a:prstClr val="black"/>
                </a:solidFill>
                <a:latin typeface="Calibri"/>
                <a:ea typeface="ヒラギノ角ゴ Pro W3" pitchFamily="1" charset="-128"/>
              </a:rPr>
              <a:t>Makinasi</a:t>
            </a:r>
            <a:r>
              <a:rPr lang="tr-TR" sz="1772" dirty="0">
                <a:solidFill>
                  <a:prstClr val="black"/>
                </a:solidFill>
                <a:latin typeface="Calibri"/>
                <a:ea typeface="ヒラギノ角ゴ Pro W3" pitchFamily="1" charset="-128"/>
              </a:rPr>
              <a:t>’ ile ülkemizde ithalatı yapılan ürünlere maliyet ve servis hizmetlerinde üstünlük sağlanması ve bu sayede döviz çıkışının azaltılması amaçlanmaktadır. Ayrıca KOSGEB desteği ile üst seviyede teknolojik üretim yapma olanağı elde edilerek yurtdışı rakiplerle kalite yönünden rekabet edilebilecek bir noktaya ulaşılması ve Türki Cumhuriyetler, Ukrayna, Gürcistan gibi ülkelerde yeni ihracat pazarlarına erişim hedeflenmektedir.</a:t>
            </a:r>
          </a:p>
        </p:txBody>
      </p:sp>
      <p:pic>
        <p:nvPicPr>
          <p:cNvPr id="7" name="Resim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15823" y="2863221"/>
            <a:ext cx="3458708" cy="2790766"/>
          </a:xfrm>
          <a:prstGeom prst="rect">
            <a:avLst/>
          </a:prstGeom>
        </p:spPr>
      </p:pic>
      <p:pic>
        <p:nvPicPr>
          <p:cNvPr id="17" name="Picture 3"/>
          <p:cNvPicPr>
            <a:picLocks noChangeAspect="1" noChangeArrowheads="1"/>
          </p:cNvPicPr>
          <p:nvPr/>
        </p:nvPicPr>
        <p:blipFill>
          <a:blip r:embed="rId3" cstate="print"/>
          <a:srcRect/>
          <a:stretch>
            <a:fillRect/>
          </a:stretch>
        </p:blipFill>
        <p:spPr bwMode="auto">
          <a:xfrm>
            <a:off x="11082733" y="176800"/>
            <a:ext cx="722715" cy="509772"/>
          </a:xfrm>
          <a:prstGeom prst="rect">
            <a:avLst/>
          </a:prstGeom>
          <a:noFill/>
          <a:ln w="9525">
            <a:noFill/>
            <a:miter lim="800000"/>
            <a:headEnd/>
            <a:tailEnd/>
          </a:ln>
        </p:spPr>
      </p:pic>
      <p:sp>
        <p:nvSpPr>
          <p:cNvPr id="16" name="Text Box 2"/>
          <p:cNvSpPr txBox="1">
            <a:spLocks noChangeArrowheads="1"/>
          </p:cNvSpPr>
          <p:nvPr/>
        </p:nvSpPr>
        <p:spPr bwMode="auto">
          <a:xfrm>
            <a:off x="150688" y="202767"/>
            <a:ext cx="8094407" cy="500422"/>
          </a:xfrm>
          <a:prstGeom prst="rect">
            <a:avLst/>
          </a:prstGeom>
          <a:noFill/>
          <a:ln>
            <a:noFill/>
          </a:ln>
          <a:extLst/>
        </p:spPr>
        <p:txBody>
          <a:bodyPr wrap="square" lIns="0" tIns="0" rIns="0" bIns="0">
            <a:spAutoFit/>
          </a:bodyPr>
          <a:lstStyle>
            <a:lvl1pPr algn="l">
              <a:spcBef>
                <a:spcPct val="0"/>
              </a:spcBef>
              <a:tabLst>
                <a:tab pos="261938" algn="l"/>
              </a:tabLst>
              <a:defRPr>
                <a:solidFill>
                  <a:schemeClr val="tx1"/>
                </a:solidFill>
                <a:latin typeface="Arial" charset="0"/>
                <a:cs typeface="Arial" charset="0"/>
              </a:defRPr>
            </a:lvl1pPr>
            <a:lvl2pPr marL="742950" indent="-285750" algn="l">
              <a:spcBef>
                <a:spcPct val="0"/>
              </a:spcBef>
              <a:tabLst>
                <a:tab pos="261938" algn="l"/>
              </a:tabLst>
              <a:defRPr>
                <a:solidFill>
                  <a:schemeClr val="tx1"/>
                </a:solidFill>
                <a:latin typeface="Arial" charset="0"/>
                <a:cs typeface="Arial" charset="0"/>
              </a:defRPr>
            </a:lvl2pPr>
            <a:lvl3pPr marL="1143000" indent="-228600" algn="l">
              <a:spcBef>
                <a:spcPct val="0"/>
              </a:spcBef>
              <a:tabLst>
                <a:tab pos="261938" algn="l"/>
              </a:tabLst>
              <a:defRPr>
                <a:solidFill>
                  <a:schemeClr val="tx1"/>
                </a:solidFill>
                <a:latin typeface="Arial" charset="0"/>
                <a:cs typeface="Arial" charset="0"/>
              </a:defRPr>
            </a:lvl3pPr>
            <a:lvl4pPr marL="1600200" indent="-228600" algn="l">
              <a:spcBef>
                <a:spcPct val="0"/>
              </a:spcBef>
              <a:tabLst>
                <a:tab pos="261938" algn="l"/>
              </a:tabLst>
              <a:defRPr>
                <a:solidFill>
                  <a:schemeClr val="tx1"/>
                </a:solidFill>
                <a:latin typeface="Arial" charset="0"/>
                <a:cs typeface="Arial" charset="0"/>
              </a:defRPr>
            </a:lvl4pPr>
            <a:lvl5pPr marL="2057400" indent="-228600" algn="l">
              <a:spcBef>
                <a:spcPct val="0"/>
              </a:spcBef>
              <a:tabLst>
                <a:tab pos="261938" algn="l"/>
              </a:tabLst>
              <a:defRPr>
                <a:solidFill>
                  <a:schemeClr val="tx1"/>
                </a:solidFill>
                <a:latin typeface="Arial" charset="0"/>
                <a:cs typeface="Arial" charset="0"/>
              </a:defRPr>
            </a:lvl5pPr>
            <a:lvl6pPr marL="2514600" indent="-228600" fontAlgn="base">
              <a:spcBef>
                <a:spcPct val="0"/>
              </a:spcBef>
              <a:spcAft>
                <a:spcPct val="0"/>
              </a:spcAft>
              <a:tabLst>
                <a:tab pos="261938" algn="l"/>
              </a:tabLst>
              <a:defRPr>
                <a:solidFill>
                  <a:schemeClr val="tx1"/>
                </a:solidFill>
                <a:latin typeface="Arial" charset="0"/>
                <a:cs typeface="Arial" charset="0"/>
              </a:defRPr>
            </a:lvl6pPr>
            <a:lvl7pPr marL="2971800" indent="-228600" fontAlgn="base">
              <a:spcBef>
                <a:spcPct val="0"/>
              </a:spcBef>
              <a:spcAft>
                <a:spcPct val="0"/>
              </a:spcAft>
              <a:tabLst>
                <a:tab pos="261938" algn="l"/>
              </a:tabLst>
              <a:defRPr>
                <a:solidFill>
                  <a:schemeClr val="tx1"/>
                </a:solidFill>
                <a:latin typeface="Arial" charset="0"/>
                <a:cs typeface="Arial" charset="0"/>
              </a:defRPr>
            </a:lvl7pPr>
            <a:lvl8pPr marL="3429000" indent="-228600" fontAlgn="base">
              <a:spcBef>
                <a:spcPct val="0"/>
              </a:spcBef>
              <a:spcAft>
                <a:spcPct val="0"/>
              </a:spcAft>
              <a:tabLst>
                <a:tab pos="261938" algn="l"/>
              </a:tabLst>
              <a:defRPr>
                <a:solidFill>
                  <a:schemeClr val="tx1"/>
                </a:solidFill>
                <a:latin typeface="Arial" charset="0"/>
                <a:cs typeface="Arial" charset="0"/>
              </a:defRPr>
            </a:lvl8pPr>
            <a:lvl9pPr marL="3886200" indent="-228600" fontAlgn="base">
              <a:spcBef>
                <a:spcPct val="0"/>
              </a:spcBef>
              <a:spcAft>
                <a:spcPct val="0"/>
              </a:spcAft>
              <a:tabLst>
                <a:tab pos="261938" algn="l"/>
              </a:tabLst>
              <a:defRPr>
                <a:solidFill>
                  <a:schemeClr val="tx1"/>
                </a:solidFill>
                <a:latin typeface="Arial" charset="0"/>
                <a:cs typeface="Arial" charset="0"/>
              </a:defRPr>
            </a:lvl9pPr>
          </a:lstStyle>
          <a:p>
            <a:pPr marL="270864">
              <a:lnSpc>
                <a:spcPct val="90000"/>
              </a:lnSpc>
              <a:buClr>
                <a:srgbClr val="F9A91C"/>
              </a:buClr>
              <a:buSzPct val="125000"/>
              <a:defRPr/>
            </a:pPr>
            <a:r>
              <a:rPr lang="tr-TR" sz="3613" b="1" dirty="0" smtClean="0">
                <a:solidFill>
                  <a:srgbClr val="00A3CA"/>
                </a:solidFill>
                <a:effectLst>
                  <a:outerShdw blurRad="38100" dist="38100" dir="2700000" algn="tl">
                    <a:srgbClr val="000000">
                      <a:alpha val="43137"/>
                    </a:srgbClr>
                  </a:outerShdw>
                </a:effectLst>
                <a:latin typeface="Calibri" pitchFamily="34" charset="0"/>
                <a:cs typeface="+mn-cs"/>
              </a:rPr>
              <a:t>Proje Örnekleri</a:t>
            </a:r>
            <a:endParaRPr lang="tr-TR" sz="3613" b="1" dirty="0">
              <a:solidFill>
                <a:srgbClr val="00A3CA"/>
              </a:solidFill>
              <a:effectLst>
                <a:outerShdw blurRad="38100" dist="38100" dir="2700000" algn="tl">
                  <a:srgbClr val="000000">
                    <a:alpha val="43137"/>
                  </a:srgbClr>
                </a:outerShdw>
              </a:effectLst>
              <a:latin typeface="Calibri" pitchFamily="34" charset="0"/>
              <a:cs typeface="+mn-cs"/>
            </a:endParaRPr>
          </a:p>
        </p:txBody>
      </p:sp>
    </p:spTree>
    <p:extLst>
      <p:ext uri="{BB962C8B-B14F-4D97-AF65-F5344CB8AC3E}">
        <p14:creationId xmlns:p14="http://schemas.microsoft.com/office/powerpoint/2010/main" val="1287780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Metin kutusu 50"/>
          <p:cNvSpPr txBox="1"/>
          <p:nvPr/>
        </p:nvSpPr>
        <p:spPr>
          <a:xfrm>
            <a:off x="2825262" y="204444"/>
            <a:ext cx="7029595" cy="1463154"/>
          </a:xfrm>
          <a:prstGeom prst="rect">
            <a:avLst/>
          </a:prstGeom>
          <a:noFill/>
        </p:spPr>
        <p:txBody>
          <a:bodyPr wrap="square" lIns="89309" tIns="44654" rIns="89309" bIns="44654" rtlCol="0">
            <a:noAutofit/>
          </a:bodyPr>
          <a:lstStyle/>
          <a:p>
            <a:pPr marL="0" marR="0" lvl="0" indent="0" algn="ctr" defTabSz="917783" rtl="0" eaLnBrk="1" fontAlgn="base" latinLnBrk="0" hangingPunct="1">
              <a:lnSpc>
                <a:spcPct val="100000"/>
              </a:lnSpc>
              <a:spcBef>
                <a:spcPct val="0"/>
              </a:spcBef>
              <a:spcAft>
                <a:spcPct val="0"/>
              </a:spcAft>
              <a:buClr>
                <a:srgbClr val="52AADF"/>
              </a:buClr>
              <a:buSzTx/>
              <a:buFontTx/>
              <a:buNone/>
              <a:tabLst/>
              <a:defRPr/>
            </a:pPr>
            <a:endParaRPr kumimoji="0" lang="tr-TR" sz="1595"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endParaRPr>
          </a:p>
          <a:p>
            <a:pPr marL="0" marR="0" lvl="0" indent="0" algn="ctr" defTabSz="917783" rtl="0" eaLnBrk="1" fontAlgn="base" latinLnBrk="0" hangingPunct="1">
              <a:lnSpc>
                <a:spcPct val="100000"/>
              </a:lnSpc>
              <a:spcBef>
                <a:spcPct val="0"/>
              </a:spcBef>
              <a:spcAft>
                <a:spcPct val="0"/>
              </a:spcAft>
              <a:buClr>
                <a:srgbClr val="52AADF"/>
              </a:buClr>
              <a:buSzTx/>
              <a:buFontTx/>
              <a:buNone/>
              <a:tabLst/>
              <a:defRPr/>
            </a:pPr>
            <a:r>
              <a:rPr kumimoji="0" lang="tr-TR" sz="2126" b="1" i="0" u="none" strike="noStrike" kern="1200" cap="none" spc="0" normalizeH="0" baseline="0" noProof="0" dirty="0" smtClean="0">
                <a:ln>
                  <a:noFill/>
                </a:ln>
                <a:solidFill>
                  <a:srgbClr val="FF0000"/>
                </a:solidFill>
                <a:effectLst/>
                <a:uLnTx/>
                <a:uFillTx/>
                <a:latin typeface="Calibri" pitchFamily="34" charset="0"/>
                <a:ea typeface="ヒラギノ角ゴ Pro W3" pitchFamily="1" charset="-128"/>
                <a:cs typeface="+mn-cs"/>
              </a:rPr>
              <a:t>«</a:t>
            </a:r>
            <a:r>
              <a:rPr kumimoji="0" lang="tr-TR" sz="2126" b="1" i="0" u="none" strike="noStrike" kern="1200" cap="none" spc="0" normalizeH="0" baseline="0" noProof="0" dirty="0">
                <a:ln>
                  <a:noFill/>
                </a:ln>
                <a:solidFill>
                  <a:srgbClr val="FF0000"/>
                </a:solidFill>
                <a:effectLst/>
                <a:uLnTx/>
                <a:uFillTx/>
                <a:latin typeface="Calibri" pitchFamily="34" charset="0"/>
                <a:ea typeface="ヒラギノ角ゴ Pro W3" pitchFamily="1" charset="-128"/>
                <a:cs typeface="+mn-cs"/>
              </a:rPr>
              <a:t>Askeri Uygulamalar için Yüksek </a:t>
            </a:r>
            <a:r>
              <a:rPr kumimoji="0" lang="tr-TR" sz="2126" b="1" i="0" u="none" strike="noStrike" kern="1200" cap="none" spc="0" normalizeH="0" baseline="0" noProof="0" dirty="0" err="1">
                <a:ln>
                  <a:noFill/>
                </a:ln>
                <a:solidFill>
                  <a:srgbClr val="FF0000"/>
                </a:solidFill>
                <a:effectLst/>
                <a:uLnTx/>
                <a:uFillTx/>
                <a:latin typeface="Calibri" pitchFamily="34" charset="0"/>
                <a:ea typeface="ヒラギノ角ゴ Pro W3" pitchFamily="1" charset="-128"/>
                <a:cs typeface="+mn-cs"/>
              </a:rPr>
              <a:t>Peformanslı</a:t>
            </a:r>
            <a:r>
              <a:rPr kumimoji="0" lang="tr-TR" sz="2126" b="1" i="0" u="none" strike="noStrike" kern="1200" cap="none" spc="0" normalizeH="0" baseline="0" noProof="0" dirty="0">
                <a:ln>
                  <a:noFill/>
                </a:ln>
                <a:solidFill>
                  <a:srgbClr val="FF0000"/>
                </a:solidFill>
                <a:effectLst/>
                <a:uLnTx/>
                <a:uFillTx/>
                <a:latin typeface="Calibri" pitchFamily="34" charset="0"/>
                <a:ea typeface="ヒラギノ角ゴ Pro W3" pitchFamily="1" charset="-128"/>
                <a:cs typeface="+mn-cs"/>
              </a:rPr>
              <a:t> Balistik </a:t>
            </a:r>
            <a:r>
              <a:rPr kumimoji="0" lang="tr-TR" sz="2126" b="1" i="0" u="none" strike="noStrike" kern="1200" cap="none" spc="0" normalizeH="0" baseline="0" noProof="0" dirty="0" err="1">
                <a:ln>
                  <a:noFill/>
                </a:ln>
                <a:solidFill>
                  <a:srgbClr val="FF0000"/>
                </a:solidFill>
                <a:effectLst/>
                <a:uLnTx/>
                <a:uFillTx/>
                <a:latin typeface="Calibri" pitchFamily="34" charset="0"/>
                <a:ea typeface="ヒラギノ角ゴ Pro W3" pitchFamily="1" charset="-128"/>
                <a:cs typeface="+mn-cs"/>
              </a:rPr>
              <a:t>Kompozit</a:t>
            </a:r>
            <a:r>
              <a:rPr kumimoji="0" lang="tr-TR" sz="2126" b="1" i="0" u="none" strike="noStrike" kern="1200" cap="none" spc="0" normalizeH="0" baseline="0" noProof="0" dirty="0">
                <a:ln>
                  <a:noFill/>
                </a:ln>
                <a:solidFill>
                  <a:srgbClr val="FF0000"/>
                </a:solidFill>
                <a:effectLst/>
                <a:uLnTx/>
                <a:uFillTx/>
                <a:latin typeface="Calibri" pitchFamily="34" charset="0"/>
                <a:ea typeface="ヒラギノ角ゴ Pro W3" pitchFamily="1" charset="-128"/>
                <a:cs typeface="+mn-cs"/>
              </a:rPr>
              <a:t> Parçacık Kalkanı Seri Üretim Altyapısının Kurulması»</a:t>
            </a:r>
          </a:p>
        </p:txBody>
      </p:sp>
      <p:graphicFrame>
        <p:nvGraphicFramePr>
          <p:cNvPr id="8" name="Tablo 7"/>
          <p:cNvGraphicFramePr>
            <a:graphicFrameLocks noGrp="1"/>
          </p:cNvGraphicFramePr>
          <p:nvPr>
            <p:extLst/>
          </p:nvPr>
        </p:nvGraphicFramePr>
        <p:xfrm>
          <a:off x="1710146" y="1761479"/>
          <a:ext cx="8771708" cy="1225931"/>
        </p:xfrm>
        <a:graphic>
          <a:graphicData uri="http://schemas.openxmlformats.org/drawingml/2006/table">
            <a:tbl>
              <a:tblPr firstRow="1" bandRow="1"/>
              <a:tblGrid>
                <a:gridCol w="287033">
                  <a:extLst>
                    <a:ext uri="{9D8B030D-6E8A-4147-A177-3AD203B41FA5}">
                      <a16:colId xmlns:a16="http://schemas.microsoft.com/office/drawing/2014/main" val="20000"/>
                    </a:ext>
                  </a:extLst>
                </a:gridCol>
                <a:gridCol w="2831716">
                  <a:extLst>
                    <a:ext uri="{9D8B030D-6E8A-4147-A177-3AD203B41FA5}">
                      <a16:colId xmlns:a16="http://schemas.microsoft.com/office/drawing/2014/main" val="20001"/>
                    </a:ext>
                  </a:extLst>
                </a:gridCol>
                <a:gridCol w="287033">
                  <a:extLst>
                    <a:ext uri="{9D8B030D-6E8A-4147-A177-3AD203B41FA5}">
                      <a16:colId xmlns:a16="http://schemas.microsoft.com/office/drawing/2014/main" val="20002"/>
                    </a:ext>
                  </a:extLst>
                </a:gridCol>
                <a:gridCol w="5365926">
                  <a:extLst>
                    <a:ext uri="{9D8B030D-6E8A-4147-A177-3AD203B41FA5}">
                      <a16:colId xmlns:a16="http://schemas.microsoft.com/office/drawing/2014/main" val="20003"/>
                    </a:ext>
                  </a:extLst>
                </a:gridCol>
              </a:tblGrid>
              <a:tr h="415908">
                <a:tc>
                  <a:txBody>
                    <a:bodyPr/>
                    <a:lstStyle/>
                    <a:p>
                      <a:endParaRPr lang="tr-TR" sz="1100" dirty="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700" b="1" dirty="0" smtClean="0">
                          <a:solidFill>
                            <a:srgbClr val="FF0000"/>
                          </a:solidFill>
                        </a:rPr>
                        <a:t>İşletme</a:t>
                      </a:r>
                      <a:r>
                        <a:rPr lang="tr-TR" sz="1700" b="1" baseline="0" dirty="0" smtClean="0">
                          <a:solidFill>
                            <a:srgbClr val="FF0000"/>
                          </a:solidFill>
                        </a:rPr>
                        <a:t> Ölçeği: </a:t>
                      </a:r>
                      <a:r>
                        <a:rPr lang="tr-TR" sz="1700" b="0" kern="1200" baseline="0" dirty="0" smtClean="0">
                          <a:solidFill>
                            <a:schemeClr val="tx1"/>
                          </a:solidFill>
                          <a:latin typeface="Calibri" panose="020F0502020204030204" pitchFamily="34" charset="0"/>
                          <a:ea typeface="+mn-ea"/>
                          <a:cs typeface="+mn-cs"/>
                        </a:rPr>
                        <a:t>Orta</a:t>
                      </a:r>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4A81BD"/>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r-TR" sz="1700" dirty="0" smtClean="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700" b="1" dirty="0" smtClean="0">
                          <a:solidFill>
                            <a:srgbClr val="FF0000"/>
                          </a:solidFill>
                        </a:rPr>
                        <a:t>Teknoloji Düzeyi:</a:t>
                      </a:r>
                      <a:r>
                        <a:rPr lang="tr-TR" sz="1700" b="1" dirty="0" smtClean="0">
                          <a:solidFill>
                            <a:schemeClr val="accent2">
                              <a:lumMod val="75000"/>
                            </a:schemeClr>
                          </a:solidFill>
                        </a:rPr>
                        <a:t> </a:t>
                      </a:r>
                      <a:r>
                        <a:rPr lang="tr-TR" sz="1700" dirty="0" smtClean="0">
                          <a:latin typeface="Calibri" panose="020F0502020204030204" pitchFamily="34" charset="0"/>
                        </a:rPr>
                        <a:t>Orta-Yüksek teknoloji</a:t>
                      </a:r>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4A81BD"/>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10023">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r-TR" sz="1600" dirty="0" smtClean="0"/>
                    </a:p>
                  </a:txBody>
                  <a:tcPr marL="87717" marR="87717" marT="45718" marB="45718">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tr-TR" dirty="0"/>
                    </a:p>
                  </a:txBody>
                  <a:tcPr>
                    <a:lnL w="57150" cap="flat" cmpd="sng" algn="ctr">
                      <a:solidFill>
                        <a:srgbClr val="4A81BD"/>
                      </a:solidFill>
                      <a:prstDash val="solid"/>
                      <a:round/>
                      <a:headEnd type="none" w="med" len="med"/>
                      <a:tailEnd type="none" w="med" len="med"/>
                    </a:lnL>
                    <a:lnR w="57150" cap="flat" cmpd="sng" algn="ctr">
                      <a:solidFill>
                        <a:srgbClr val="4A81BD"/>
                      </a:solidFill>
                      <a:prstDash val="solid"/>
                      <a:round/>
                      <a:headEnd type="none" w="med" len="med"/>
                      <a:tailEnd type="none" w="med" len="med"/>
                    </a:lnR>
                    <a:lnT w="57150" cap="flat" cmpd="sng" algn="ctr">
                      <a:solidFill>
                        <a:srgbClr val="4A81BD"/>
                      </a:solidFill>
                      <a:prstDash val="solid"/>
                      <a:round/>
                      <a:headEnd type="none" w="med" len="med"/>
                      <a:tailEnd type="none" w="med" len="med"/>
                    </a:lnT>
                    <a:lnB w="57150" cap="flat" cmpd="sng" algn="ctr">
                      <a:solidFill>
                        <a:srgbClr val="4A81BD"/>
                      </a:solidFill>
                      <a:prstDash val="solid"/>
                      <a:round/>
                      <a:headEnd type="none" w="med" len="med"/>
                      <a:tailEnd type="none" w="med" len="med"/>
                    </a:lnB>
                  </a:tcPr>
                </a:tc>
                <a:tc hMerge="1">
                  <a:txBody>
                    <a:bodyPr/>
                    <a:lstStyle/>
                    <a:p>
                      <a:endParaRPr lang="tr-TR"/>
                    </a:p>
                  </a:txBody>
                  <a:tcPr/>
                </a:tc>
                <a:tc hMerge="1">
                  <a:txBody>
                    <a:bodyPr/>
                    <a:lstStyle/>
                    <a:p>
                      <a:endParaRPr lang="tr-TR" dirty="0"/>
                    </a:p>
                  </a:txBody>
                  <a:tcPr>
                    <a:lnL w="57150" cap="flat" cmpd="sng" algn="ctr">
                      <a:solidFill>
                        <a:srgbClr val="4A81BD"/>
                      </a:solidFill>
                      <a:prstDash val="solid"/>
                      <a:round/>
                      <a:headEnd type="none" w="med" len="med"/>
                      <a:tailEnd type="none" w="med" len="med"/>
                    </a:lnL>
                    <a:lnR w="57150" cap="flat" cmpd="sng" algn="ctr">
                      <a:solidFill>
                        <a:srgbClr val="4A81BD"/>
                      </a:solidFill>
                      <a:prstDash val="solid"/>
                      <a:round/>
                      <a:headEnd type="none" w="med" len="med"/>
                      <a:tailEnd type="none" w="med" len="med"/>
                    </a:lnR>
                    <a:lnT w="57150" cap="flat" cmpd="sng" algn="ctr">
                      <a:solidFill>
                        <a:srgbClr val="4A81BD"/>
                      </a:solidFill>
                      <a:prstDash val="solid"/>
                      <a:round/>
                      <a:headEnd type="none" w="med" len="med"/>
                      <a:tailEnd type="none" w="med" len="med"/>
                    </a:lnT>
                    <a:lnB w="57150" cap="flat" cmpd="sng" algn="ctr">
                      <a:solidFill>
                        <a:srgbClr val="4A81BD"/>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cxnSp>
        <p:nvCxnSpPr>
          <p:cNvPr id="19" name="Düz Bağlayıcı 18"/>
          <p:cNvCxnSpPr/>
          <p:nvPr/>
        </p:nvCxnSpPr>
        <p:spPr>
          <a:xfrm>
            <a:off x="1758051" y="2474581"/>
            <a:ext cx="877171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8" name="Dikdörtgen 47"/>
          <p:cNvSpPr/>
          <p:nvPr/>
        </p:nvSpPr>
        <p:spPr>
          <a:xfrm>
            <a:off x="1884896" y="3299398"/>
            <a:ext cx="5387949" cy="321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9309" tIns="44654" rIns="89309" bIns="44654" rtlCol="0" anchor="t"/>
          <a:lstStyle/>
          <a:p>
            <a:pPr marL="0" marR="0" lvl="0" indent="0" algn="just" defTabSz="917783" rtl="0" eaLnBrk="1" fontAlgn="base" latinLnBrk="0" hangingPunct="1">
              <a:lnSpc>
                <a:spcPct val="100000"/>
              </a:lnSpc>
              <a:spcBef>
                <a:spcPct val="0"/>
              </a:spcBef>
              <a:spcAft>
                <a:spcPct val="0"/>
              </a:spcAft>
              <a:buClrTx/>
              <a:buSzTx/>
              <a:buFontTx/>
              <a:buNone/>
              <a:tabLst/>
              <a:defRPr/>
            </a:pPr>
            <a:endParaRPr kumimoji="0" lang="tr-TR" sz="100" b="0" i="0" u="none" strike="noStrike" kern="1200" cap="none" spc="0" normalizeH="0" baseline="0" noProof="0" dirty="0">
              <a:ln>
                <a:noFill/>
              </a:ln>
              <a:solidFill>
                <a:srgbClr val="4F81BD">
                  <a:lumMod val="50000"/>
                </a:srgbClr>
              </a:solidFill>
              <a:effectLst/>
              <a:uLnTx/>
              <a:uFillTx/>
              <a:latin typeface="Calibri"/>
              <a:ea typeface="+mn-ea"/>
              <a:cs typeface="+mn-cs"/>
            </a:endParaRPr>
          </a:p>
        </p:txBody>
      </p:sp>
      <p:sp>
        <p:nvSpPr>
          <p:cNvPr id="2" name="AutoShape 2" descr="Remay Metal ve Plastik san. Tic. A.Ş. ile ilgili görsel sonucu"/>
          <p:cNvSpPr>
            <a:spLocks noChangeAspect="1" noChangeArrowheads="1"/>
          </p:cNvSpPr>
          <p:nvPr/>
        </p:nvSpPr>
        <p:spPr bwMode="auto">
          <a:xfrm>
            <a:off x="1859386" y="-144253"/>
            <a:ext cx="292390"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309" tIns="44654" rIns="89309" bIns="44654"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tr-T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3" name="AutoShape 4" descr="Remay Metal ve Plastik san. Tic. A.Ş. ile ilgili görsel sonucu"/>
          <p:cNvSpPr>
            <a:spLocks noChangeAspect="1" noChangeArrowheads="1"/>
          </p:cNvSpPr>
          <p:nvPr/>
        </p:nvSpPr>
        <p:spPr bwMode="auto">
          <a:xfrm>
            <a:off x="3039437" y="441098"/>
            <a:ext cx="292390"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309" tIns="44654" rIns="89309" bIns="44654" numCol="1" anchor="t" anchorCtr="0" compatLnSpc="1">
            <a:prstTxWarp prst="textNoShape">
              <a:avLst/>
            </a:prstTxWarp>
          </a:bodyPr>
          <a:lstStyle/>
          <a:p>
            <a:pPr marL="0" marR="0" lvl="0" indent="0" algn="l" defTabSz="917783" rtl="0" eaLnBrk="1" fontAlgn="base" latinLnBrk="0" hangingPunct="1">
              <a:lnSpc>
                <a:spcPct val="100000"/>
              </a:lnSpc>
              <a:spcBef>
                <a:spcPct val="0"/>
              </a:spcBef>
              <a:spcAft>
                <a:spcPct val="0"/>
              </a:spcAft>
              <a:buClrTx/>
              <a:buSzTx/>
              <a:buFontTx/>
              <a:buNone/>
              <a:tabLst/>
              <a:defRPr/>
            </a:pPr>
            <a:endParaRPr kumimoji="0" lang="tr-TR" sz="1807" b="0" i="0" u="none" strike="noStrike" kern="1200" cap="none" spc="0" normalizeH="0" baseline="0" noProof="0">
              <a:ln>
                <a:noFill/>
              </a:ln>
              <a:solidFill>
                <a:prstClr val="black"/>
              </a:solidFill>
              <a:effectLst/>
              <a:uLnTx/>
              <a:uFillTx/>
              <a:latin typeface="Calibri" pitchFamily="34" charset="0"/>
              <a:ea typeface="ヒラギノ角ゴ Pro W3" pitchFamily="1" charset="-128"/>
              <a:cs typeface="+mn-cs"/>
            </a:endParaRPr>
          </a:p>
        </p:txBody>
      </p:sp>
      <p:sp>
        <p:nvSpPr>
          <p:cNvPr id="5" name="Dikdörtgen 4"/>
          <p:cNvSpPr/>
          <p:nvPr/>
        </p:nvSpPr>
        <p:spPr>
          <a:xfrm>
            <a:off x="1627069" y="2474582"/>
            <a:ext cx="5224793" cy="3429400"/>
          </a:xfrm>
          <a:prstGeom prst="rect">
            <a:avLst/>
          </a:prstGeom>
        </p:spPr>
        <p:txBody>
          <a:bodyPr wrap="square">
            <a:spAutoFit/>
          </a:bodyPr>
          <a:lstStyle/>
          <a:p>
            <a:pPr marL="0" marR="0" lvl="0" indent="0" algn="just" defTabSz="810127" rtl="0" eaLnBrk="1" fontAlgn="base" latinLnBrk="0" hangingPunct="1">
              <a:lnSpc>
                <a:spcPct val="100000"/>
              </a:lnSpc>
              <a:spcBef>
                <a:spcPct val="0"/>
              </a:spcBef>
              <a:spcAft>
                <a:spcPct val="0"/>
              </a:spcAft>
              <a:buClrTx/>
              <a:buSzTx/>
              <a:buFontTx/>
              <a:buNone/>
              <a:tabLst/>
              <a:defRPr/>
            </a:pP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Parçacık Kalkanı (</a:t>
            </a:r>
            <a:r>
              <a:rPr kumimoji="0" lang="tr-TR" sz="1807" b="0" i="0" u="none" strike="noStrike" kern="1200" cap="none" spc="0" normalizeH="0" baseline="0" noProof="0" dirty="0" err="1">
                <a:ln>
                  <a:noFill/>
                </a:ln>
                <a:solidFill>
                  <a:prstClr val="black"/>
                </a:solidFill>
                <a:effectLst/>
                <a:uLnTx/>
                <a:uFillTx/>
                <a:latin typeface="Calibri" pitchFamily="34" charset="0"/>
                <a:ea typeface="ヒラギノ角ゴ Pro W3" pitchFamily="1" charset="-128"/>
                <a:cs typeface="+mn-cs"/>
              </a:rPr>
              <a:t>Spall</a:t>
            </a: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 </a:t>
            </a:r>
            <a:r>
              <a:rPr kumimoji="0" lang="tr-TR" sz="1807" b="0" i="0" u="none" strike="noStrike" kern="1200" cap="none" spc="0" normalizeH="0" baseline="0" noProof="0" dirty="0" err="1">
                <a:ln>
                  <a:noFill/>
                </a:ln>
                <a:solidFill>
                  <a:prstClr val="black"/>
                </a:solidFill>
                <a:effectLst/>
                <a:uLnTx/>
                <a:uFillTx/>
                <a:latin typeface="Calibri" pitchFamily="34" charset="0"/>
                <a:ea typeface="ヒラギノ角ゴ Pro W3" pitchFamily="1" charset="-128"/>
                <a:cs typeface="+mn-cs"/>
              </a:rPr>
              <a:t>Liner</a:t>
            </a: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 güvenlik güçlerine ait araçlar veya binaların personel bulunan bölgelerine yerleştirilen ve olası saldırıların etkisini azaltan plakalardır. Günümüzde, artan ve sürekli gelişen tehditlerle birlikte askeri araçlarda bu parçacıkların kullanımı kaçınılmaz hale gelmiştir. </a:t>
            </a:r>
            <a:r>
              <a:rPr kumimoji="0" lang="tr-TR" sz="1807" b="0" i="0" u="none" strike="noStrike" kern="1200" cap="none" spc="0" normalizeH="0" baseline="0" noProof="0" dirty="0" smtClean="0">
                <a:ln>
                  <a:noFill/>
                </a:ln>
                <a:solidFill>
                  <a:prstClr val="black"/>
                </a:solidFill>
                <a:effectLst/>
                <a:uLnTx/>
                <a:uFillTx/>
                <a:latin typeface="Calibri" pitchFamily="34" charset="0"/>
                <a:ea typeface="ヒラギノ角ゴ Pro W3" pitchFamily="1" charset="-128"/>
                <a:cs typeface="+mn-cs"/>
              </a:rPr>
              <a:t>İşletme </a:t>
            </a: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tarafından sahip olunan kısıtlı imalat kapasitesi ile üretilip satılan parçacık kalkanlarının dışındaki tüm ihtiyaç yurt dışından tedarik edilerek karşılanmaktadır. Proje ile bu alanda yapılan ithalatı azaltmanın yanı sıra Orta Doğu ve Avrupa ülkelerine ihracat yapmak hedeflenmektedir.	</a:t>
            </a:r>
          </a:p>
        </p:txBody>
      </p:sp>
      <p:pic>
        <p:nvPicPr>
          <p:cNvPr id="7" name="Resim 6"/>
          <p:cNvPicPr>
            <a:picLocks noChangeAspect="1"/>
          </p:cNvPicPr>
          <p:nvPr/>
        </p:nvPicPr>
        <p:blipFill rotWithShape="1">
          <a:blip r:embed="rId2">
            <a:extLst>
              <a:ext uri="{28A0092B-C50C-407E-A947-70E740481C1C}">
                <a14:useLocalDpi xmlns:a14="http://schemas.microsoft.com/office/drawing/2010/main" val="0"/>
              </a:ext>
            </a:extLst>
          </a:blip>
          <a:srcRect l="-1" t="12826" r="473" b="-12536"/>
          <a:stretch/>
        </p:blipFill>
        <p:spPr>
          <a:xfrm>
            <a:off x="6995636" y="2665573"/>
            <a:ext cx="3528000" cy="3137354"/>
          </a:xfrm>
          <a:prstGeom prst="rect">
            <a:avLst/>
          </a:prstGeom>
        </p:spPr>
      </p:pic>
      <p:pic>
        <p:nvPicPr>
          <p:cNvPr id="14" name="Picture 3"/>
          <p:cNvPicPr>
            <a:picLocks noChangeAspect="1" noChangeArrowheads="1"/>
          </p:cNvPicPr>
          <p:nvPr/>
        </p:nvPicPr>
        <p:blipFill>
          <a:blip r:embed="rId3" cstate="print"/>
          <a:srcRect/>
          <a:stretch>
            <a:fillRect/>
          </a:stretch>
        </p:blipFill>
        <p:spPr bwMode="auto">
          <a:xfrm>
            <a:off x="11082733" y="176800"/>
            <a:ext cx="722715" cy="509772"/>
          </a:xfrm>
          <a:prstGeom prst="rect">
            <a:avLst/>
          </a:prstGeom>
          <a:noFill/>
          <a:ln w="9525">
            <a:noFill/>
            <a:miter lim="800000"/>
            <a:headEnd/>
            <a:tailEnd/>
          </a:ln>
        </p:spPr>
      </p:pic>
    </p:spTree>
    <p:extLst>
      <p:ext uri="{BB962C8B-B14F-4D97-AF65-F5344CB8AC3E}">
        <p14:creationId xmlns:p14="http://schemas.microsoft.com/office/powerpoint/2010/main" val="3115896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3000" r="-13000"/>
          </a:stretch>
        </a:blip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4" cstate="print"/>
          <a:srcRect/>
          <a:stretch>
            <a:fillRect/>
          </a:stretch>
        </p:blipFill>
        <p:spPr bwMode="auto">
          <a:xfrm>
            <a:off x="10319281" y="714188"/>
            <a:ext cx="1571279" cy="1038411"/>
          </a:xfrm>
          <a:prstGeom prst="rect">
            <a:avLst/>
          </a:prstGeom>
          <a:noFill/>
          <a:ln w="9525">
            <a:noFill/>
            <a:miter lim="800000"/>
            <a:headEnd/>
            <a:tailEnd/>
          </a:ln>
        </p:spPr>
      </p:pic>
      <p:sp>
        <p:nvSpPr>
          <p:cNvPr id="4" name="3 Metin kutusu"/>
          <p:cNvSpPr txBox="1"/>
          <p:nvPr/>
        </p:nvSpPr>
        <p:spPr>
          <a:xfrm>
            <a:off x="806609" y="3230595"/>
            <a:ext cx="10795267" cy="923330"/>
          </a:xfrm>
          <a:prstGeom prst="rect">
            <a:avLst/>
          </a:prstGeom>
          <a:noFill/>
        </p:spPr>
        <p:txBody>
          <a:bodyPr wrap="square" rtlCol="0">
            <a:spAutoFit/>
          </a:bodyPr>
          <a:lstStyle/>
          <a:p>
            <a:pPr algn="ctr" fontAlgn="base">
              <a:spcBef>
                <a:spcPct val="0"/>
              </a:spcBef>
              <a:spcAft>
                <a:spcPct val="0"/>
              </a:spcAft>
            </a:pPr>
            <a:r>
              <a:rPr lang="tr-TR" sz="5400" b="1" dirty="0" smtClean="0">
                <a:solidFill>
                  <a:schemeClr val="bg1"/>
                </a:solidFill>
                <a:ea typeface="ヒラギノ角ゴ Pro W3" pitchFamily="1" charset="-128"/>
              </a:rPr>
              <a:t>STRATEJİK ÜRÜN DESTEK PROGRAMI</a:t>
            </a:r>
          </a:p>
        </p:txBody>
      </p:sp>
      <p:pic>
        <p:nvPicPr>
          <p:cNvPr id="6" name="Resim 5"/>
          <p:cNvPicPr/>
          <p:nvPr/>
        </p:nvPicPr>
        <p:blipFill>
          <a:blip r:embed="rId5" cstate="print">
            <a:extLst>
              <a:ext uri="{28A0092B-C50C-407E-A947-70E740481C1C}">
                <a14:useLocalDpi xmlns:a14="http://schemas.microsoft.com/office/drawing/2010/main" val="0"/>
              </a:ext>
            </a:extLst>
          </a:blip>
          <a:stretch>
            <a:fillRect/>
          </a:stretch>
        </p:blipFill>
        <p:spPr>
          <a:xfrm>
            <a:off x="388134" y="565440"/>
            <a:ext cx="1998806" cy="1595869"/>
          </a:xfrm>
          <a:prstGeom prst="rect">
            <a:avLst/>
          </a:prstGeom>
        </p:spPr>
      </p:pic>
    </p:spTree>
    <p:extLst>
      <p:ext uri="{BB962C8B-B14F-4D97-AF65-F5344CB8AC3E}">
        <p14:creationId xmlns:p14="http://schemas.microsoft.com/office/powerpoint/2010/main" val="39693270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3000" r="-13000"/>
          </a:stretch>
        </a:blipFill>
        <a:effectLst/>
      </p:bgPr>
    </p:bg>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4" cstate="print"/>
          <a:srcRect/>
          <a:stretch>
            <a:fillRect/>
          </a:stretch>
        </p:blipFill>
        <p:spPr bwMode="auto">
          <a:xfrm>
            <a:off x="10319281" y="714188"/>
            <a:ext cx="1571279" cy="1038411"/>
          </a:xfrm>
          <a:prstGeom prst="rect">
            <a:avLst/>
          </a:prstGeom>
          <a:noFill/>
          <a:ln w="9525">
            <a:noFill/>
            <a:miter lim="800000"/>
            <a:headEnd/>
            <a:tailEnd/>
          </a:ln>
        </p:spPr>
      </p:pic>
      <p:sp>
        <p:nvSpPr>
          <p:cNvPr id="4" name="3 Metin kutusu"/>
          <p:cNvSpPr txBox="1"/>
          <p:nvPr/>
        </p:nvSpPr>
        <p:spPr>
          <a:xfrm>
            <a:off x="808892" y="3230595"/>
            <a:ext cx="10792984" cy="923330"/>
          </a:xfrm>
          <a:prstGeom prst="rect">
            <a:avLst/>
          </a:prstGeom>
          <a:noFill/>
        </p:spPr>
        <p:txBody>
          <a:bodyPr wrap="square" rtlCol="0">
            <a:spAutoFit/>
          </a:bodyPr>
          <a:lstStyle/>
          <a:p>
            <a:pPr algn="ctr" fontAlgn="base">
              <a:spcBef>
                <a:spcPct val="0"/>
              </a:spcBef>
              <a:spcAft>
                <a:spcPct val="0"/>
              </a:spcAft>
            </a:pPr>
            <a:r>
              <a:rPr lang="tr-TR" sz="5400" b="1" dirty="0" smtClean="0">
                <a:solidFill>
                  <a:schemeClr val="bg1"/>
                </a:solidFill>
                <a:ea typeface="ヒラギノ角ゴ Pro W3" pitchFamily="1" charset="-128"/>
              </a:rPr>
              <a:t>TEKMER PROGRAMI</a:t>
            </a:r>
          </a:p>
        </p:txBody>
      </p:sp>
    </p:spTree>
    <p:extLst>
      <p:ext uri="{BB962C8B-B14F-4D97-AF65-F5344CB8AC3E}">
        <p14:creationId xmlns:p14="http://schemas.microsoft.com/office/powerpoint/2010/main" val="4244825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31</a:t>
            </a:fld>
            <a:endParaRPr lang="en-CA">
              <a:solidFill>
                <a:prstClr val="black">
                  <a:tint val="75000"/>
                </a:prstClr>
              </a:solidFill>
            </a:endParaRPr>
          </a:p>
        </p:txBody>
      </p:sp>
      <p:sp>
        <p:nvSpPr>
          <p:cNvPr id="5" name="Target2"/>
          <p:cNvSpPr>
            <a:spLocks noChangeAspect="1" noEditPoints="1"/>
          </p:cNvSpPr>
          <p:nvPr>
            <p:custDataLst>
              <p:tags r:id="rId1"/>
            </p:custDataLst>
          </p:nvPr>
        </p:nvSpPr>
        <p:spPr bwMode="auto">
          <a:xfrm>
            <a:off x="184226" y="1602540"/>
            <a:ext cx="1648836" cy="1200150"/>
          </a:xfrm>
          <a:custGeom>
            <a:avLst/>
            <a:gdLst>
              <a:gd name="T0" fmla="*/ 297 w 980"/>
              <a:gd name="T1" fmla="*/ 214 h 713"/>
              <a:gd name="T2" fmla="*/ 620 w 980"/>
              <a:gd name="T3" fmla="*/ 51 h 713"/>
              <a:gd name="T4" fmla="*/ 620 w 980"/>
              <a:gd name="T5" fmla="*/ 663 h 713"/>
              <a:gd name="T6" fmla="*/ 329 w 980"/>
              <a:gd name="T7" fmla="*/ 260 h 713"/>
              <a:gd name="T8" fmla="*/ 267 w 980"/>
              <a:gd name="T9" fmla="*/ 356 h 713"/>
              <a:gd name="T10" fmla="*/ 980 w 980"/>
              <a:gd name="T11" fmla="*/ 356 h 713"/>
              <a:gd name="T12" fmla="*/ 22 w 980"/>
              <a:gd name="T13" fmla="*/ 76 h 713"/>
              <a:gd name="T14" fmla="*/ 0 w 980"/>
              <a:gd name="T15" fmla="*/ 142 h 713"/>
              <a:gd name="T16" fmla="*/ 94 w 980"/>
              <a:gd name="T17" fmla="*/ 164 h 713"/>
              <a:gd name="T18" fmla="*/ 593 w 980"/>
              <a:gd name="T19" fmla="*/ 357 h 713"/>
              <a:gd name="T20" fmla="*/ 587 w 980"/>
              <a:gd name="T21" fmla="*/ 394 h 713"/>
              <a:gd name="T22" fmla="*/ 617 w 980"/>
              <a:gd name="T23" fmla="*/ 291 h 713"/>
              <a:gd name="T24" fmla="*/ 603 w 980"/>
              <a:gd name="T25" fmla="*/ 334 h 713"/>
              <a:gd name="T26" fmla="*/ 107 w 980"/>
              <a:gd name="T27" fmla="*/ 142 h 713"/>
              <a:gd name="T28" fmla="*/ 22 w 980"/>
              <a:gd name="T29" fmla="*/ 76 h 713"/>
              <a:gd name="T30" fmla="*/ 379 w 980"/>
              <a:gd name="T31" fmla="*/ 246 h 713"/>
              <a:gd name="T32" fmla="*/ 620 w 980"/>
              <a:gd name="T33" fmla="*/ 144 h 713"/>
              <a:gd name="T34" fmla="*/ 620 w 980"/>
              <a:gd name="T35" fmla="*/ 569 h 713"/>
              <a:gd name="T36" fmla="*/ 417 w 980"/>
              <a:gd name="T37" fmla="*/ 291 h 713"/>
              <a:gd name="T38" fmla="*/ 355 w 980"/>
              <a:gd name="T39" fmla="*/ 356 h 713"/>
              <a:gd name="T40" fmla="*/ 885 w 980"/>
              <a:gd name="T41" fmla="*/ 356 h 713"/>
              <a:gd name="T42" fmla="*/ 620 w 980"/>
              <a:gd name="T43" fmla="*/ 181 h 713"/>
              <a:gd name="T44" fmla="*/ 512 w 980"/>
              <a:gd name="T45" fmla="*/ 298 h 713"/>
              <a:gd name="T46" fmla="*/ 743 w 980"/>
              <a:gd name="T47" fmla="*/ 356 h 713"/>
              <a:gd name="T48" fmla="*/ 497 w 980"/>
              <a:gd name="T49" fmla="*/ 356 h 713"/>
              <a:gd name="T50" fmla="*/ 452 w 980"/>
              <a:gd name="T51" fmla="*/ 305 h 713"/>
              <a:gd name="T52" fmla="*/ 620 w 980"/>
              <a:gd name="T53" fmla="*/ 532 h 713"/>
              <a:gd name="T54" fmla="*/ 620 w 980"/>
              <a:gd name="T55" fmla="*/ 181 h 713"/>
              <a:gd name="T56" fmla="*/ 548 w 980"/>
              <a:gd name="T57" fmla="*/ 310 h 713"/>
              <a:gd name="T58" fmla="*/ 615 w 980"/>
              <a:gd name="T59" fmla="*/ 287 h 713"/>
              <a:gd name="T60" fmla="*/ 618 w 980"/>
              <a:gd name="T61" fmla="*/ 286 h 713"/>
              <a:gd name="T62" fmla="*/ 663 w 980"/>
              <a:gd name="T63" fmla="*/ 357 h 713"/>
              <a:gd name="T64" fmla="*/ 585 w 980"/>
              <a:gd name="T65" fmla="*/ 399 h 713"/>
              <a:gd name="T66" fmla="*/ 583 w 980"/>
              <a:gd name="T67" fmla="*/ 397 h 713"/>
              <a:gd name="T68" fmla="*/ 537 w 980"/>
              <a:gd name="T69" fmla="*/ 338 h 713"/>
              <a:gd name="T70" fmla="*/ 620 w 980"/>
              <a:gd name="T71" fmla="*/ 442 h 713"/>
              <a:gd name="T72" fmla="*/ 620 w 980"/>
              <a:gd name="T73" fmla="*/ 271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0" h="713">
                <a:moveTo>
                  <a:pt x="624" y="0"/>
                </a:moveTo>
                <a:cubicBezTo>
                  <a:pt x="478" y="0"/>
                  <a:pt x="352" y="88"/>
                  <a:pt x="297" y="214"/>
                </a:cubicBezTo>
                <a:lnTo>
                  <a:pt x="341" y="231"/>
                </a:lnTo>
                <a:cubicBezTo>
                  <a:pt x="389" y="125"/>
                  <a:pt x="496" y="51"/>
                  <a:pt x="620" y="51"/>
                </a:cubicBezTo>
                <a:cubicBezTo>
                  <a:pt x="788" y="51"/>
                  <a:pt x="926" y="188"/>
                  <a:pt x="926" y="356"/>
                </a:cubicBezTo>
                <a:cubicBezTo>
                  <a:pt x="926" y="525"/>
                  <a:pt x="788" y="663"/>
                  <a:pt x="620" y="663"/>
                </a:cubicBezTo>
                <a:cubicBezTo>
                  <a:pt x="451" y="663"/>
                  <a:pt x="314" y="525"/>
                  <a:pt x="314" y="356"/>
                </a:cubicBezTo>
                <a:cubicBezTo>
                  <a:pt x="314" y="322"/>
                  <a:pt x="318" y="291"/>
                  <a:pt x="329" y="260"/>
                </a:cubicBezTo>
                <a:lnTo>
                  <a:pt x="286" y="243"/>
                </a:lnTo>
                <a:cubicBezTo>
                  <a:pt x="273" y="279"/>
                  <a:pt x="267" y="316"/>
                  <a:pt x="267" y="356"/>
                </a:cubicBezTo>
                <a:cubicBezTo>
                  <a:pt x="267" y="553"/>
                  <a:pt x="427" y="713"/>
                  <a:pt x="624" y="713"/>
                </a:cubicBezTo>
                <a:cubicBezTo>
                  <a:pt x="821" y="713"/>
                  <a:pt x="980" y="553"/>
                  <a:pt x="980" y="356"/>
                </a:cubicBezTo>
                <a:cubicBezTo>
                  <a:pt x="980" y="160"/>
                  <a:pt x="821" y="0"/>
                  <a:pt x="624" y="0"/>
                </a:cubicBezTo>
                <a:close/>
                <a:moveTo>
                  <a:pt x="22" y="76"/>
                </a:moveTo>
                <a:cubicBezTo>
                  <a:pt x="56" y="114"/>
                  <a:pt x="60" y="134"/>
                  <a:pt x="60" y="134"/>
                </a:cubicBezTo>
                <a:cubicBezTo>
                  <a:pt x="60" y="134"/>
                  <a:pt x="48" y="140"/>
                  <a:pt x="0" y="142"/>
                </a:cubicBezTo>
                <a:cubicBezTo>
                  <a:pt x="0" y="142"/>
                  <a:pt x="50" y="172"/>
                  <a:pt x="77" y="172"/>
                </a:cubicBezTo>
                <a:cubicBezTo>
                  <a:pt x="83" y="172"/>
                  <a:pt x="94" y="164"/>
                  <a:pt x="94" y="164"/>
                </a:cubicBezTo>
                <a:lnTo>
                  <a:pt x="591" y="356"/>
                </a:lnTo>
                <a:lnTo>
                  <a:pt x="593" y="357"/>
                </a:lnTo>
                <a:lnTo>
                  <a:pt x="598" y="359"/>
                </a:lnTo>
                <a:lnTo>
                  <a:pt x="587" y="394"/>
                </a:lnTo>
                <a:lnTo>
                  <a:pt x="658" y="356"/>
                </a:lnTo>
                <a:lnTo>
                  <a:pt x="617" y="291"/>
                </a:lnTo>
                <a:lnTo>
                  <a:pt x="603" y="333"/>
                </a:lnTo>
                <a:lnTo>
                  <a:pt x="603" y="334"/>
                </a:lnTo>
                <a:cubicBezTo>
                  <a:pt x="601" y="334"/>
                  <a:pt x="602" y="334"/>
                  <a:pt x="602" y="334"/>
                </a:cubicBezTo>
                <a:lnTo>
                  <a:pt x="107" y="142"/>
                </a:lnTo>
                <a:cubicBezTo>
                  <a:pt x="107" y="142"/>
                  <a:pt x="101" y="121"/>
                  <a:pt x="93" y="113"/>
                </a:cubicBezTo>
                <a:cubicBezTo>
                  <a:pt x="75" y="94"/>
                  <a:pt x="22" y="76"/>
                  <a:pt x="22" y="76"/>
                </a:cubicBezTo>
                <a:close/>
                <a:moveTo>
                  <a:pt x="620" y="92"/>
                </a:moveTo>
                <a:cubicBezTo>
                  <a:pt x="513" y="92"/>
                  <a:pt x="421" y="155"/>
                  <a:pt x="379" y="246"/>
                </a:cubicBezTo>
                <a:lnTo>
                  <a:pt x="428" y="265"/>
                </a:lnTo>
                <a:cubicBezTo>
                  <a:pt x="462" y="194"/>
                  <a:pt x="535" y="144"/>
                  <a:pt x="620" y="144"/>
                </a:cubicBezTo>
                <a:cubicBezTo>
                  <a:pt x="737" y="144"/>
                  <a:pt x="832" y="239"/>
                  <a:pt x="832" y="356"/>
                </a:cubicBezTo>
                <a:cubicBezTo>
                  <a:pt x="832" y="474"/>
                  <a:pt x="737" y="569"/>
                  <a:pt x="620" y="569"/>
                </a:cubicBezTo>
                <a:cubicBezTo>
                  <a:pt x="503" y="569"/>
                  <a:pt x="407" y="474"/>
                  <a:pt x="407" y="356"/>
                </a:cubicBezTo>
                <a:cubicBezTo>
                  <a:pt x="407" y="333"/>
                  <a:pt x="410" y="312"/>
                  <a:pt x="417" y="291"/>
                </a:cubicBezTo>
                <a:lnTo>
                  <a:pt x="369" y="273"/>
                </a:lnTo>
                <a:cubicBezTo>
                  <a:pt x="360" y="300"/>
                  <a:pt x="355" y="327"/>
                  <a:pt x="355" y="356"/>
                </a:cubicBezTo>
                <a:cubicBezTo>
                  <a:pt x="355" y="503"/>
                  <a:pt x="474" y="621"/>
                  <a:pt x="620" y="621"/>
                </a:cubicBezTo>
                <a:cubicBezTo>
                  <a:pt x="766" y="621"/>
                  <a:pt x="885" y="503"/>
                  <a:pt x="885" y="356"/>
                </a:cubicBezTo>
                <a:cubicBezTo>
                  <a:pt x="885" y="210"/>
                  <a:pt x="766" y="92"/>
                  <a:pt x="620" y="92"/>
                </a:cubicBezTo>
                <a:close/>
                <a:moveTo>
                  <a:pt x="620" y="181"/>
                </a:moveTo>
                <a:cubicBezTo>
                  <a:pt x="551" y="181"/>
                  <a:pt x="492" y="221"/>
                  <a:pt x="463" y="278"/>
                </a:cubicBezTo>
                <a:lnTo>
                  <a:pt x="512" y="298"/>
                </a:lnTo>
                <a:cubicBezTo>
                  <a:pt x="533" y="260"/>
                  <a:pt x="573" y="234"/>
                  <a:pt x="620" y="234"/>
                </a:cubicBezTo>
                <a:cubicBezTo>
                  <a:pt x="687" y="234"/>
                  <a:pt x="743" y="289"/>
                  <a:pt x="743" y="356"/>
                </a:cubicBezTo>
                <a:cubicBezTo>
                  <a:pt x="743" y="424"/>
                  <a:pt x="687" y="479"/>
                  <a:pt x="620" y="479"/>
                </a:cubicBezTo>
                <a:cubicBezTo>
                  <a:pt x="552" y="479"/>
                  <a:pt x="497" y="424"/>
                  <a:pt x="497" y="356"/>
                </a:cubicBezTo>
                <a:cubicBezTo>
                  <a:pt x="497" y="345"/>
                  <a:pt x="498" y="335"/>
                  <a:pt x="501" y="324"/>
                </a:cubicBezTo>
                <a:lnTo>
                  <a:pt x="452" y="305"/>
                </a:lnTo>
                <a:cubicBezTo>
                  <a:pt x="447" y="322"/>
                  <a:pt x="444" y="338"/>
                  <a:pt x="444" y="356"/>
                </a:cubicBezTo>
                <a:cubicBezTo>
                  <a:pt x="444" y="453"/>
                  <a:pt x="523" y="532"/>
                  <a:pt x="620" y="532"/>
                </a:cubicBezTo>
                <a:cubicBezTo>
                  <a:pt x="716" y="532"/>
                  <a:pt x="795" y="453"/>
                  <a:pt x="795" y="356"/>
                </a:cubicBezTo>
                <a:cubicBezTo>
                  <a:pt x="795" y="260"/>
                  <a:pt x="716" y="181"/>
                  <a:pt x="620" y="181"/>
                </a:cubicBezTo>
                <a:close/>
                <a:moveTo>
                  <a:pt x="620" y="271"/>
                </a:moveTo>
                <a:cubicBezTo>
                  <a:pt x="590" y="271"/>
                  <a:pt x="564" y="287"/>
                  <a:pt x="548" y="310"/>
                </a:cubicBezTo>
                <a:lnTo>
                  <a:pt x="600" y="330"/>
                </a:lnTo>
                <a:lnTo>
                  <a:pt x="615" y="287"/>
                </a:lnTo>
                <a:lnTo>
                  <a:pt x="616" y="283"/>
                </a:lnTo>
                <a:lnTo>
                  <a:pt x="618" y="286"/>
                </a:lnTo>
                <a:lnTo>
                  <a:pt x="662" y="356"/>
                </a:lnTo>
                <a:lnTo>
                  <a:pt x="663" y="357"/>
                </a:lnTo>
                <a:lnTo>
                  <a:pt x="662" y="358"/>
                </a:lnTo>
                <a:lnTo>
                  <a:pt x="585" y="399"/>
                </a:lnTo>
                <a:lnTo>
                  <a:pt x="581" y="401"/>
                </a:lnTo>
                <a:lnTo>
                  <a:pt x="583" y="397"/>
                </a:lnTo>
                <a:lnTo>
                  <a:pt x="594" y="360"/>
                </a:lnTo>
                <a:lnTo>
                  <a:pt x="537" y="338"/>
                </a:lnTo>
                <a:cubicBezTo>
                  <a:pt x="535" y="344"/>
                  <a:pt x="535" y="350"/>
                  <a:pt x="535" y="356"/>
                </a:cubicBezTo>
                <a:cubicBezTo>
                  <a:pt x="535" y="403"/>
                  <a:pt x="573" y="442"/>
                  <a:pt x="620" y="442"/>
                </a:cubicBezTo>
                <a:cubicBezTo>
                  <a:pt x="667" y="442"/>
                  <a:pt x="705" y="403"/>
                  <a:pt x="705" y="356"/>
                </a:cubicBezTo>
                <a:cubicBezTo>
                  <a:pt x="705" y="309"/>
                  <a:pt x="667" y="271"/>
                  <a:pt x="620" y="271"/>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Crowdsourcing"/>
          <p:cNvSpPr>
            <a:spLocks noChangeAspect="1" noEditPoints="1"/>
          </p:cNvSpPr>
          <p:nvPr>
            <p:custDataLst>
              <p:tags r:id="rId2"/>
            </p:custDataLst>
          </p:nvPr>
        </p:nvSpPr>
        <p:spPr bwMode="auto">
          <a:xfrm>
            <a:off x="5583271" y="4610235"/>
            <a:ext cx="1255679" cy="1258350"/>
          </a:xfrm>
          <a:custGeom>
            <a:avLst/>
            <a:gdLst>
              <a:gd name="T0" fmla="*/ 1078 w 1250"/>
              <a:gd name="T1" fmla="*/ 608 h 1250"/>
              <a:gd name="T2" fmla="*/ 882 w 1250"/>
              <a:gd name="T3" fmla="*/ 392 h 1250"/>
              <a:gd name="T4" fmla="*/ 1007 w 1250"/>
              <a:gd name="T5" fmla="*/ 330 h 1250"/>
              <a:gd name="T6" fmla="*/ 1007 w 1250"/>
              <a:gd name="T7" fmla="*/ 156 h 1250"/>
              <a:gd name="T8" fmla="*/ 935 w 1250"/>
              <a:gd name="T9" fmla="*/ 291 h 1250"/>
              <a:gd name="T10" fmla="*/ 642 w 1250"/>
              <a:gd name="T11" fmla="*/ 279 h 1250"/>
              <a:gd name="T12" fmla="*/ 712 w 1250"/>
              <a:gd name="T13" fmla="*/ 87 h 1250"/>
              <a:gd name="T14" fmla="*/ 538 w 1250"/>
              <a:gd name="T15" fmla="*/ 87 h 1250"/>
              <a:gd name="T16" fmla="*/ 608 w 1250"/>
              <a:gd name="T17" fmla="*/ 279 h 1250"/>
              <a:gd name="T18" fmla="*/ 315 w 1250"/>
              <a:gd name="T19" fmla="*/ 291 h 1250"/>
              <a:gd name="T20" fmla="*/ 243 w 1250"/>
              <a:gd name="T21" fmla="*/ 156 h 1250"/>
              <a:gd name="T22" fmla="*/ 243 w 1250"/>
              <a:gd name="T23" fmla="*/ 330 h 1250"/>
              <a:gd name="T24" fmla="*/ 368 w 1250"/>
              <a:gd name="T25" fmla="*/ 392 h 1250"/>
              <a:gd name="T26" fmla="*/ 172 w 1250"/>
              <a:gd name="T27" fmla="*/ 608 h 1250"/>
              <a:gd name="T28" fmla="*/ 0 w 1250"/>
              <a:gd name="T29" fmla="*/ 625 h 1250"/>
              <a:gd name="T30" fmla="*/ 172 w 1250"/>
              <a:gd name="T31" fmla="*/ 642 h 1250"/>
              <a:gd name="T32" fmla="*/ 368 w 1250"/>
              <a:gd name="T33" fmla="*/ 858 h 1250"/>
              <a:gd name="T34" fmla="*/ 243 w 1250"/>
              <a:gd name="T35" fmla="*/ 920 h 1250"/>
              <a:gd name="T36" fmla="*/ 243 w 1250"/>
              <a:gd name="T37" fmla="*/ 1094 h 1250"/>
              <a:gd name="T38" fmla="*/ 315 w 1250"/>
              <a:gd name="T39" fmla="*/ 959 h 1250"/>
              <a:gd name="T40" fmla="*/ 608 w 1250"/>
              <a:gd name="T41" fmla="*/ 971 h 1250"/>
              <a:gd name="T42" fmla="*/ 538 w 1250"/>
              <a:gd name="T43" fmla="*/ 1163 h 1250"/>
              <a:gd name="T44" fmla="*/ 712 w 1250"/>
              <a:gd name="T45" fmla="*/ 1163 h 1250"/>
              <a:gd name="T46" fmla="*/ 642 w 1250"/>
              <a:gd name="T47" fmla="*/ 971 h 1250"/>
              <a:gd name="T48" fmla="*/ 935 w 1250"/>
              <a:gd name="T49" fmla="*/ 959 h 1250"/>
              <a:gd name="T50" fmla="*/ 1007 w 1250"/>
              <a:gd name="T51" fmla="*/ 1094 h 1250"/>
              <a:gd name="T52" fmla="*/ 1007 w 1250"/>
              <a:gd name="T53" fmla="*/ 920 h 1250"/>
              <a:gd name="T54" fmla="*/ 882 w 1250"/>
              <a:gd name="T55" fmla="*/ 858 h 1250"/>
              <a:gd name="T56" fmla="*/ 1078 w 1250"/>
              <a:gd name="T57" fmla="*/ 642 h 1250"/>
              <a:gd name="T58" fmla="*/ 1250 w 1250"/>
              <a:gd name="T59" fmla="*/ 625 h 1250"/>
              <a:gd name="T60" fmla="*/ 1007 w 1250"/>
              <a:gd name="T61" fmla="*/ 191 h 1250"/>
              <a:gd name="T62" fmla="*/ 1007 w 1250"/>
              <a:gd name="T63" fmla="*/ 295 h 1250"/>
              <a:gd name="T64" fmla="*/ 1007 w 1250"/>
              <a:gd name="T65" fmla="*/ 191 h 1250"/>
              <a:gd name="T66" fmla="*/ 191 w 1250"/>
              <a:gd name="T67" fmla="*/ 243 h 1250"/>
              <a:gd name="T68" fmla="*/ 295 w 1250"/>
              <a:gd name="T69" fmla="*/ 243 h 1250"/>
              <a:gd name="T70" fmla="*/ 87 w 1250"/>
              <a:gd name="T71" fmla="*/ 677 h 1250"/>
              <a:gd name="T72" fmla="*/ 87 w 1250"/>
              <a:gd name="T73" fmla="*/ 573 h 1250"/>
              <a:gd name="T74" fmla="*/ 87 w 1250"/>
              <a:gd name="T75" fmla="*/ 677 h 1250"/>
              <a:gd name="T76" fmla="*/ 191 w 1250"/>
              <a:gd name="T77" fmla="*/ 1007 h 1250"/>
              <a:gd name="T78" fmla="*/ 295 w 1250"/>
              <a:gd name="T79" fmla="*/ 1007 h 1250"/>
              <a:gd name="T80" fmla="*/ 573 w 1250"/>
              <a:gd name="T81" fmla="*/ 87 h 1250"/>
              <a:gd name="T82" fmla="*/ 677 w 1250"/>
              <a:gd name="T83" fmla="*/ 87 h 1250"/>
              <a:gd name="T84" fmla="*/ 573 w 1250"/>
              <a:gd name="T85" fmla="*/ 87 h 1250"/>
              <a:gd name="T86" fmla="*/ 625 w 1250"/>
              <a:gd name="T87" fmla="*/ 1215 h 1250"/>
              <a:gd name="T88" fmla="*/ 625 w 1250"/>
              <a:gd name="T89" fmla="*/ 1111 h 1250"/>
              <a:gd name="T90" fmla="*/ 660 w 1250"/>
              <a:gd name="T91" fmla="*/ 868 h 1250"/>
              <a:gd name="T92" fmla="*/ 590 w 1250"/>
              <a:gd name="T93" fmla="*/ 799 h 1250"/>
              <a:gd name="T94" fmla="*/ 660 w 1250"/>
              <a:gd name="T95" fmla="*/ 868 h 1250"/>
              <a:gd name="T96" fmla="*/ 660 w 1250"/>
              <a:gd name="T97" fmla="*/ 747 h 1250"/>
              <a:gd name="T98" fmla="*/ 668 w 1250"/>
              <a:gd name="T99" fmla="*/ 606 h 1250"/>
              <a:gd name="T100" fmla="*/ 625 w 1250"/>
              <a:gd name="T101" fmla="*/ 451 h 1250"/>
              <a:gd name="T102" fmla="*/ 469 w 1250"/>
              <a:gd name="T103" fmla="*/ 538 h 1250"/>
              <a:gd name="T104" fmla="*/ 781 w 1250"/>
              <a:gd name="T105" fmla="*/ 538 h 1250"/>
              <a:gd name="T106" fmla="*/ 1007 w 1250"/>
              <a:gd name="T107" fmla="*/ 955 h 1250"/>
              <a:gd name="T108" fmla="*/ 1007 w 1250"/>
              <a:gd name="T109" fmla="*/ 1059 h 1250"/>
              <a:gd name="T110" fmla="*/ 1007 w 1250"/>
              <a:gd name="T111" fmla="*/ 955 h 1250"/>
              <a:gd name="T112" fmla="*/ 1111 w 1250"/>
              <a:gd name="T113" fmla="*/ 625 h 1250"/>
              <a:gd name="T114" fmla="*/ 1215 w 1250"/>
              <a:gd name="T115" fmla="*/ 625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0" h="1250">
                <a:moveTo>
                  <a:pt x="1163" y="538"/>
                </a:moveTo>
                <a:cubicBezTo>
                  <a:pt x="1121" y="538"/>
                  <a:pt x="1086" y="568"/>
                  <a:pt x="1078" y="608"/>
                </a:cubicBezTo>
                <a:lnTo>
                  <a:pt x="971" y="608"/>
                </a:lnTo>
                <a:cubicBezTo>
                  <a:pt x="967" y="525"/>
                  <a:pt x="934" y="450"/>
                  <a:pt x="882" y="392"/>
                </a:cubicBezTo>
                <a:lnTo>
                  <a:pt x="959" y="315"/>
                </a:lnTo>
                <a:cubicBezTo>
                  <a:pt x="973" y="325"/>
                  <a:pt x="989" y="330"/>
                  <a:pt x="1007" y="330"/>
                </a:cubicBezTo>
                <a:cubicBezTo>
                  <a:pt x="1055" y="330"/>
                  <a:pt x="1094" y="291"/>
                  <a:pt x="1094" y="243"/>
                </a:cubicBezTo>
                <a:cubicBezTo>
                  <a:pt x="1094" y="195"/>
                  <a:pt x="1055" y="156"/>
                  <a:pt x="1007" y="156"/>
                </a:cubicBezTo>
                <a:cubicBezTo>
                  <a:pt x="959" y="156"/>
                  <a:pt x="920" y="195"/>
                  <a:pt x="920" y="243"/>
                </a:cubicBezTo>
                <a:cubicBezTo>
                  <a:pt x="920" y="261"/>
                  <a:pt x="926" y="277"/>
                  <a:pt x="935" y="291"/>
                </a:cubicBezTo>
                <a:lnTo>
                  <a:pt x="858" y="368"/>
                </a:lnTo>
                <a:cubicBezTo>
                  <a:pt x="800" y="316"/>
                  <a:pt x="725" y="283"/>
                  <a:pt x="642" y="279"/>
                </a:cubicBezTo>
                <a:lnTo>
                  <a:pt x="642" y="172"/>
                </a:lnTo>
                <a:cubicBezTo>
                  <a:pt x="682" y="164"/>
                  <a:pt x="712" y="129"/>
                  <a:pt x="712" y="87"/>
                </a:cubicBezTo>
                <a:cubicBezTo>
                  <a:pt x="712" y="39"/>
                  <a:pt x="673" y="0"/>
                  <a:pt x="625" y="0"/>
                </a:cubicBezTo>
                <a:cubicBezTo>
                  <a:pt x="577" y="0"/>
                  <a:pt x="538" y="39"/>
                  <a:pt x="538" y="87"/>
                </a:cubicBezTo>
                <a:cubicBezTo>
                  <a:pt x="538" y="129"/>
                  <a:pt x="568" y="164"/>
                  <a:pt x="608" y="172"/>
                </a:cubicBezTo>
                <a:lnTo>
                  <a:pt x="608" y="279"/>
                </a:lnTo>
                <a:cubicBezTo>
                  <a:pt x="525" y="283"/>
                  <a:pt x="450" y="316"/>
                  <a:pt x="392" y="368"/>
                </a:cubicBezTo>
                <a:lnTo>
                  <a:pt x="315" y="291"/>
                </a:lnTo>
                <a:cubicBezTo>
                  <a:pt x="325" y="277"/>
                  <a:pt x="330" y="261"/>
                  <a:pt x="330" y="243"/>
                </a:cubicBezTo>
                <a:cubicBezTo>
                  <a:pt x="330" y="195"/>
                  <a:pt x="291" y="156"/>
                  <a:pt x="243" y="156"/>
                </a:cubicBezTo>
                <a:cubicBezTo>
                  <a:pt x="195" y="156"/>
                  <a:pt x="156" y="195"/>
                  <a:pt x="156" y="243"/>
                </a:cubicBezTo>
                <a:cubicBezTo>
                  <a:pt x="156" y="291"/>
                  <a:pt x="195" y="330"/>
                  <a:pt x="243" y="330"/>
                </a:cubicBezTo>
                <a:cubicBezTo>
                  <a:pt x="261" y="330"/>
                  <a:pt x="277" y="324"/>
                  <a:pt x="291" y="315"/>
                </a:cubicBezTo>
                <a:lnTo>
                  <a:pt x="368" y="392"/>
                </a:lnTo>
                <a:cubicBezTo>
                  <a:pt x="316" y="450"/>
                  <a:pt x="283" y="525"/>
                  <a:pt x="279" y="608"/>
                </a:cubicBezTo>
                <a:lnTo>
                  <a:pt x="172" y="608"/>
                </a:lnTo>
                <a:cubicBezTo>
                  <a:pt x="164" y="568"/>
                  <a:pt x="129" y="538"/>
                  <a:pt x="87" y="538"/>
                </a:cubicBezTo>
                <a:cubicBezTo>
                  <a:pt x="39" y="538"/>
                  <a:pt x="0" y="577"/>
                  <a:pt x="0" y="625"/>
                </a:cubicBezTo>
                <a:cubicBezTo>
                  <a:pt x="0" y="673"/>
                  <a:pt x="39" y="712"/>
                  <a:pt x="87" y="712"/>
                </a:cubicBezTo>
                <a:cubicBezTo>
                  <a:pt x="129" y="712"/>
                  <a:pt x="164" y="682"/>
                  <a:pt x="172" y="642"/>
                </a:cubicBezTo>
                <a:lnTo>
                  <a:pt x="279" y="642"/>
                </a:lnTo>
                <a:cubicBezTo>
                  <a:pt x="283" y="725"/>
                  <a:pt x="316" y="800"/>
                  <a:pt x="368" y="858"/>
                </a:cubicBezTo>
                <a:lnTo>
                  <a:pt x="291" y="935"/>
                </a:lnTo>
                <a:cubicBezTo>
                  <a:pt x="277" y="925"/>
                  <a:pt x="261" y="920"/>
                  <a:pt x="243" y="920"/>
                </a:cubicBezTo>
                <a:cubicBezTo>
                  <a:pt x="195" y="920"/>
                  <a:pt x="156" y="959"/>
                  <a:pt x="156" y="1007"/>
                </a:cubicBezTo>
                <a:cubicBezTo>
                  <a:pt x="156" y="1055"/>
                  <a:pt x="195" y="1094"/>
                  <a:pt x="243" y="1094"/>
                </a:cubicBezTo>
                <a:cubicBezTo>
                  <a:pt x="291" y="1094"/>
                  <a:pt x="330" y="1055"/>
                  <a:pt x="330" y="1007"/>
                </a:cubicBezTo>
                <a:cubicBezTo>
                  <a:pt x="330" y="989"/>
                  <a:pt x="324" y="973"/>
                  <a:pt x="315" y="959"/>
                </a:cubicBezTo>
                <a:lnTo>
                  <a:pt x="392" y="882"/>
                </a:lnTo>
                <a:cubicBezTo>
                  <a:pt x="450" y="934"/>
                  <a:pt x="525" y="967"/>
                  <a:pt x="608" y="971"/>
                </a:cubicBezTo>
                <a:lnTo>
                  <a:pt x="608" y="1078"/>
                </a:lnTo>
                <a:cubicBezTo>
                  <a:pt x="568" y="1086"/>
                  <a:pt x="538" y="1121"/>
                  <a:pt x="538" y="1163"/>
                </a:cubicBezTo>
                <a:cubicBezTo>
                  <a:pt x="538" y="1211"/>
                  <a:pt x="577" y="1250"/>
                  <a:pt x="625" y="1250"/>
                </a:cubicBezTo>
                <a:cubicBezTo>
                  <a:pt x="673" y="1250"/>
                  <a:pt x="712" y="1211"/>
                  <a:pt x="712" y="1163"/>
                </a:cubicBezTo>
                <a:cubicBezTo>
                  <a:pt x="712" y="1121"/>
                  <a:pt x="682" y="1086"/>
                  <a:pt x="642" y="1078"/>
                </a:cubicBezTo>
                <a:lnTo>
                  <a:pt x="642" y="971"/>
                </a:lnTo>
                <a:cubicBezTo>
                  <a:pt x="725" y="967"/>
                  <a:pt x="800" y="934"/>
                  <a:pt x="858" y="882"/>
                </a:cubicBezTo>
                <a:lnTo>
                  <a:pt x="935" y="959"/>
                </a:lnTo>
                <a:cubicBezTo>
                  <a:pt x="925" y="973"/>
                  <a:pt x="920" y="989"/>
                  <a:pt x="920" y="1007"/>
                </a:cubicBezTo>
                <a:cubicBezTo>
                  <a:pt x="920" y="1055"/>
                  <a:pt x="959" y="1094"/>
                  <a:pt x="1007" y="1094"/>
                </a:cubicBezTo>
                <a:cubicBezTo>
                  <a:pt x="1055" y="1094"/>
                  <a:pt x="1094" y="1055"/>
                  <a:pt x="1094" y="1007"/>
                </a:cubicBezTo>
                <a:cubicBezTo>
                  <a:pt x="1094" y="959"/>
                  <a:pt x="1055" y="920"/>
                  <a:pt x="1007" y="920"/>
                </a:cubicBezTo>
                <a:cubicBezTo>
                  <a:pt x="989" y="920"/>
                  <a:pt x="973" y="926"/>
                  <a:pt x="959" y="935"/>
                </a:cubicBezTo>
                <a:lnTo>
                  <a:pt x="882" y="858"/>
                </a:lnTo>
                <a:cubicBezTo>
                  <a:pt x="934" y="800"/>
                  <a:pt x="967" y="725"/>
                  <a:pt x="971" y="642"/>
                </a:cubicBezTo>
                <a:lnTo>
                  <a:pt x="1078" y="642"/>
                </a:lnTo>
                <a:cubicBezTo>
                  <a:pt x="1086" y="682"/>
                  <a:pt x="1121" y="712"/>
                  <a:pt x="1163" y="712"/>
                </a:cubicBezTo>
                <a:cubicBezTo>
                  <a:pt x="1211" y="712"/>
                  <a:pt x="1250" y="673"/>
                  <a:pt x="1250" y="625"/>
                </a:cubicBezTo>
                <a:cubicBezTo>
                  <a:pt x="1250" y="577"/>
                  <a:pt x="1211" y="538"/>
                  <a:pt x="1163" y="538"/>
                </a:cubicBezTo>
                <a:close/>
                <a:moveTo>
                  <a:pt x="1007" y="191"/>
                </a:moveTo>
                <a:cubicBezTo>
                  <a:pt x="1036" y="191"/>
                  <a:pt x="1059" y="214"/>
                  <a:pt x="1059" y="243"/>
                </a:cubicBezTo>
                <a:cubicBezTo>
                  <a:pt x="1059" y="272"/>
                  <a:pt x="1036" y="295"/>
                  <a:pt x="1007" y="295"/>
                </a:cubicBezTo>
                <a:cubicBezTo>
                  <a:pt x="978" y="295"/>
                  <a:pt x="955" y="272"/>
                  <a:pt x="955" y="243"/>
                </a:cubicBezTo>
                <a:cubicBezTo>
                  <a:pt x="955" y="214"/>
                  <a:pt x="978" y="191"/>
                  <a:pt x="1007" y="191"/>
                </a:cubicBezTo>
                <a:close/>
                <a:moveTo>
                  <a:pt x="243" y="295"/>
                </a:moveTo>
                <a:cubicBezTo>
                  <a:pt x="214" y="295"/>
                  <a:pt x="191" y="272"/>
                  <a:pt x="191" y="243"/>
                </a:cubicBezTo>
                <a:cubicBezTo>
                  <a:pt x="191" y="214"/>
                  <a:pt x="214" y="191"/>
                  <a:pt x="243" y="191"/>
                </a:cubicBezTo>
                <a:cubicBezTo>
                  <a:pt x="272" y="191"/>
                  <a:pt x="295" y="214"/>
                  <a:pt x="295" y="243"/>
                </a:cubicBezTo>
                <a:cubicBezTo>
                  <a:pt x="295" y="272"/>
                  <a:pt x="272" y="295"/>
                  <a:pt x="243" y="295"/>
                </a:cubicBezTo>
                <a:close/>
                <a:moveTo>
                  <a:pt x="87" y="677"/>
                </a:moveTo>
                <a:cubicBezTo>
                  <a:pt x="58" y="677"/>
                  <a:pt x="35" y="654"/>
                  <a:pt x="35" y="625"/>
                </a:cubicBezTo>
                <a:cubicBezTo>
                  <a:pt x="35" y="596"/>
                  <a:pt x="58" y="573"/>
                  <a:pt x="87" y="573"/>
                </a:cubicBezTo>
                <a:cubicBezTo>
                  <a:pt x="116" y="573"/>
                  <a:pt x="139" y="596"/>
                  <a:pt x="139" y="625"/>
                </a:cubicBezTo>
                <a:cubicBezTo>
                  <a:pt x="139" y="654"/>
                  <a:pt x="116" y="677"/>
                  <a:pt x="87" y="677"/>
                </a:cubicBezTo>
                <a:close/>
                <a:moveTo>
                  <a:pt x="243" y="1059"/>
                </a:moveTo>
                <a:cubicBezTo>
                  <a:pt x="214" y="1059"/>
                  <a:pt x="191" y="1036"/>
                  <a:pt x="191" y="1007"/>
                </a:cubicBezTo>
                <a:cubicBezTo>
                  <a:pt x="191" y="978"/>
                  <a:pt x="214" y="955"/>
                  <a:pt x="243" y="955"/>
                </a:cubicBezTo>
                <a:cubicBezTo>
                  <a:pt x="272" y="955"/>
                  <a:pt x="295" y="978"/>
                  <a:pt x="295" y="1007"/>
                </a:cubicBezTo>
                <a:cubicBezTo>
                  <a:pt x="295" y="1036"/>
                  <a:pt x="272" y="1059"/>
                  <a:pt x="243" y="1059"/>
                </a:cubicBezTo>
                <a:close/>
                <a:moveTo>
                  <a:pt x="573" y="87"/>
                </a:moveTo>
                <a:cubicBezTo>
                  <a:pt x="573" y="58"/>
                  <a:pt x="596" y="35"/>
                  <a:pt x="625" y="35"/>
                </a:cubicBezTo>
                <a:cubicBezTo>
                  <a:pt x="654" y="35"/>
                  <a:pt x="677" y="58"/>
                  <a:pt x="677" y="87"/>
                </a:cubicBezTo>
                <a:cubicBezTo>
                  <a:pt x="677" y="116"/>
                  <a:pt x="654" y="139"/>
                  <a:pt x="625" y="139"/>
                </a:cubicBezTo>
                <a:cubicBezTo>
                  <a:pt x="596" y="139"/>
                  <a:pt x="573" y="116"/>
                  <a:pt x="573" y="87"/>
                </a:cubicBezTo>
                <a:close/>
                <a:moveTo>
                  <a:pt x="677" y="1163"/>
                </a:moveTo>
                <a:cubicBezTo>
                  <a:pt x="677" y="1192"/>
                  <a:pt x="654" y="1215"/>
                  <a:pt x="625" y="1215"/>
                </a:cubicBezTo>
                <a:cubicBezTo>
                  <a:pt x="596" y="1215"/>
                  <a:pt x="573" y="1192"/>
                  <a:pt x="573" y="1163"/>
                </a:cubicBezTo>
                <a:cubicBezTo>
                  <a:pt x="573" y="1134"/>
                  <a:pt x="596" y="1111"/>
                  <a:pt x="625" y="1111"/>
                </a:cubicBezTo>
                <a:cubicBezTo>
                  <a:pt x="654" y="1111"/>
                  <a:pt x="677" y="1134"/>
                  <a:pt x="677" y="1163"/>
                </a:cubicBezTo>
                <a:close/>
                <a:moveTo>
                  <a:pt x="660" y="868"/>
                </a:moveTo>
                <a:lnTo>
                  <a:pt x="590" y="868"/>
                </a:lnTo>
                <a:lnTo>
                  <a:pt x="590" y="799"/>
                </a:lnTo>
                <a:lnTo>
                  <a:pt x="660" y="799"/>
                </a:lnTo>
                <a:lnTo>
                  <a:pt x="660" y="868"/>
                </a:lnTo>
                <a:close/>
                <a:moveTo>
                  <a:pt x="711" y="660"/>
                </a:moveTo>
                <a:cubicBezTo>
                  <a:pt x="681" y="684"/>
                  <a:pt x="660" y="700"/>
                  <a:pt x="660" y="747"/>
                </a:cubicBezTo>
                <a:lnTo>
                  <a:pt x="590" y="747"/>
                </a:lnTo>
                <a:cubicBezTo>
                  <a:pt x="590" y="667"/>
                  <a:pt x="635" y="631"/>
                  <a:pt x="668" y="606"/>
                </a:cubicBezTo>
                <a:cubicBezTo>
                  <a:pt x="698" y="583"/>
                  <a:pt x="712" y="570"/>
                  <a:pt x="712" y="538"/>
                </a:cubicBezTo>
                <a:cubicBezTo>
                  <a:pt x="712" y="477"/>
                  <a:pt x="686" y="451"/>
                  <a:pt x="625" y="451"/>
                </a:cubicBezTo>
                <a:cubicBezTo>
                  <a:pt x="564" y="451"/>
                  <a:pt x="538" y="477"/>
                  <a:pt x="538" y="538"/>
                </a:cubicBezTo>
                <a:lnTo>
                  <a:pt x="469" y="538"/>
                </a:lnTo>
                <a:cubicBezTo>
                  <a:pt x="469" y="439"/>
                  <a:pt x="526" y="382"/>
                  <a:pt x="625" y="382"/>
                </a:cubicBezTo>
                <a:cubicBezTo>
                  <a:pt x="724" y="382"/>
                  <a:pt x="781" y="439"/>
                  <a:pt x="781" y="538"/>
                </a:cubicBezTo>
                <a:cubicBezTo>
                  <a:pt x="781" y="605"/>
                  <a:pt x="742" y="636"/>
                  <a:pt x="711" y="660"/>
                </a:cubicBezTo>
                <a:close/>
                <a:moveTo>
                  <a:pt x="1007" y="955"/>
                </a:moveTo>
                <a:cubicBezTo>
                  <a:pt x="1036" y="955"/>
                  <a:pt x="1059" y="978"/>
                  <a:pt x="1059" y="1007"/>
                </a:cubicBezTo>
                <a:cubicBezTo>
                  <a:pt x="1059" y="1036"/>
                  <a:pt x="1036" y="1059"/>
                  <a:pt x="1007" y="1059"/>
                </a:cubicBezTo>
                <a:cubicBezTo>
                  <a:pt x="978" y="1059"/>
                  <a:pt x="955" y="1036"/>
                  <a:pt x="955" y="1007"/>
                </a:cubicBezTo>
                <a:cubicBezTo>
                  <a:pt x="955" y="978"/>
                  <a:pt x="978" y="955"/>
                  <a:pt x="1007" y="955"/>
                </a:cubicBezTo>
                <a:close/>
                <a:moveTo>
                  <a:pt x="1163" y="677"/>
                </a:moveTo>
                <a:cubicBezTo>
                  <a:pt x="1134" y="677"/>
                  <a:pt x="1111" y="654"/>
                  <a:pt x="1111" y="625"/>
                </a:cubicBezTo>
                <a:cubicBezTo>
                  <a:pt x="1111" y="596"/>
                  <a:pt x="1134" y="573"/>
                  <a:pt x="1163" y="573"/>
                </a:cubicBezTo>
                <a:cubicBezTo>
                  <a:pt x="1192" y="573"/>
                  <a:pt x="1215" y="596"/>
                  <a:pt x="1215" y="625"/>
                </a:cubicBezTo>
                <a:cubicBezTo>
                  <a:pt x="1215" y="654"/>
                  <a:pt x="1192" y="677"/>
                  <a:pt x="1163" y="677"/>
                </a:cubicBezTo>
                <a:close/>
              </a:path>
            </a:pathLst>
          </a:custGeom>
          <a:solidFill>
            <a:srgbClr val="4F81B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17" name="Date_and_Time"/>
          <p:cNvGrpSpPr>
            <a:grpSpLocks noChangeAspect="1"/>
          </p:cNvGrpSpPr>
          <p:nvPr>
            <p:custDataLst>
              <p:tags r:id="rId3"/>
            </p:custDataLst>
          </p:nvPr>
        </p:nvGrpSpPr>
        <p:grpSpPr bwMode="auto">
          <a:xfrm>
            <a:off x="839480" y="4740421"/>
            <a:ext cx="993582" cy="997979"/>
            <a:chOff x="8" y="10"/>
            <a:chExt cx="452" cy="454"/>
          </a:xfrm>
          <a:solidFill>
            <a:srgbClr val="4F81BD"/>
          </a:solidFill>
        </p:grpSpPr>
        <p:sp>
          <p:nvSpPr>
            <p:cNvPr id="18" name="Date_and_Time"/>
            <p:cNvSpPr>
              <a:spLocks noEditPoints="1"/>
            </p:cNvSpPr>
            <p:nvPr>
              <p:custDataLst>
                <p:tags r:id="rId11"/>
              </p:custDataLst>
            </p:nvPr>
          </p:nvSpPr>
          <p:spPr bwMode="auto">
            <a:xfrm>
              <a:off x="233" y="237"/>
              <a:ext cx="227" cy="227"/>
            </a:xfrm>
            <a:custGeom>
              <a:avLst/>
              <a:gdLst>
                <a:gd name="T0" fmla="*/ 157 w 313"/>
                <a:gd name="T1" fmla="*/ 25 h 313"/>
                <a:gd name="T2" fmla="*/ 288 w 313"/>
                <a:gd name="T3" fmla="*/ 156 h 313"/>
                <a:gd name="T4" fmla="*/ 157 w 313"/>
                <a:gd name="T5" fmla="*/ 288 h 313"/>
                <a:gd name="T6" fmla="*/ 25 w 313"/>
                <a:gd name="T7" fmla="*/ 156 h 313"/>
                <a:gd name="T8" fmla="*/ 157 w 313"/>
                <a:gd name="T9" fmla="*/ 25 h 313"/>
                <a:gd name="T10" fmla="*/ 157 w 313"/>
                <a:gd name="T11" fmla="*/ 0 h 313"/>
                <a:gd name="T12" fmla="*/ 0 w 313"/>
                <a:gd name="T13" fmla="*/ 156 h 313"/>
                <a:gd name="T14" fmla="*/ 157 w 313"/>
                <a:gd name="T15" fmla="*/ 313 h 313"/>
                <a:gd name="T16" fmla="*/ 313 w 313"/>
                <a:gd name="T17" fmla="*/ 156 h 313"/>
                <a:gd name="T18" fmla="*/ 157 w 313"/>
                <a:gd name="T1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3" h="313">
                  <a:moveTo>
                    <a:pt x="157" y="25"/>
                  </a:moveTo>
                  <a:cubicBezTo>
                    <a:pt x="229" y="25"/>
                    <a:pt x="288" y="84"/>
                    <a:pt x="288" y="156"/>
                  </a:cubicBezTo>
                  <a:cubicBezTo>
                    <a:pt x="288" y="229"/>
                    <a:pt x="229" y="288"/>
                    <a:pt x="157" y="288"/>
                  </a:cubicBezTo>
                  <a:cubicBezTo>
                    <a:pt x="84" y="288"/>
                    <a:pt x="25" y="229"/>
                    <a:pt x="25" y="156"/>
                  </a:cubicBezTo>
                  <a:cubicBezTo>
                    <a:pt x="25" y="84"/>
                    <a:pt x="84" y="25"/>
                    <a:pt x="157" y="25"/>
                  </a:cubicBezTo>
                  <a:close/>
                  <a:moveTo>
                    <a:pt x="157" y="0"/>
                  </a:moveTo>
                  <a:cubicBezTo>
                    <a:pt x="70" y="0"/>
                    <a:pt x="0" y="70"/>
                    <a:pt x="0" y="156"/>
                  </a:cubicBezTo>
                  <a:cubicBezTo>
                    <a:pt x="0" y="243"/>
                    <a:pt x="70" y="313"/>
                    <a:pt x="157" y="313"/>
                  </a:cubicBezTo>
                  <a:cubicBezTo>
                    <a:pt x="243" y="313"/>
                    <a:pt x="313" y="243"/>
                    <a:pt x="313" y="156"/>
                  </a:cubicBezTo>
                  <a:cubicBezTo>
                    <a:pt x="313" y="70"/>
                    <a:pt x="243" y="0"/>
                    <a:pt x="157" y="0"/>
                  </a:cubicBezTo>
                  <a:close/>
                </a:path>
              </a:pathLst>
            </a:custGeom>
            <a:grpFill/>
            <a:ln w="19050">
              <a:solidFill>
                <a:srgbClr val="4F81B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Date_and_Time"/>
            <p:cNvSpPr>
              <a:spLocks noChangeArrowheads="1"/>
            </p:cNvSpPr>
            <p:nvPr>
              <p:custDataLst>
                <p:tags r:id="rId12"/>
              </p:custDataLst>
            </p:nvPr>
          </p:nvSpPr>
          <p:spPr bwMode="auto">
            <a:xfrm>
              <a:off x="17" y="142"/>
              <a:ext cx="385" cy="18"/>
            </a:xfrm>
            <a:prstGeom prst="rect">
              <a:avLst/>
            </a:prstGeom>
            <a:grpFill/>
            <a:ln w="19050">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Date_and_Time"/>
            <p:cNvSpPr>
              <a:spLocks noChangeArrowheads="1"/>
            </p:cNvSpPr>
            <p:nvPr>
              <p:custDataLst>
                <p:tags r:id="rId13"/>
              </p:custDataLst>
            </p:nvPr>
          </p:nvSpPr>
          <p:spPr bwMode="auto">
            <a:xfrm>
              <a:off x="88" y="10"/>
              <a:ext cx="19" cy="75"/>
            </a:xfrm>
            <a:prstGeom prst="rect">
              <a:avLst/>
            </a:prstGeom>
            <a:grpFill/>
            <a:ln w="19050">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Date_and_Time"/>
            <p:cNvSpPr>
              <a:spLocks noChangeArrowheads="1"/>
            </p:cNvSpPr>
            <p:nvPr>
              <p:custDataLst>
                <p:tags r:id="rId14"/>
              </p:custDataLst>
            </p:nvPr>
          </p:nvSpPr>
          <p:spPr bwMode="auto">
            <a:xfrm>
              <a:off x="196" y="10"/>
              <a:ext cx="19" cy="75"/>
            </a:xfrm>
            <a:prstGeom prst="rect">
              <a:avLst/>
            </a:prstGeom>
            <a:grpFill/>
            <a:ln w="19050">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Date_and_Time"/>
            <p:cNvSpPr>
              <a:spLocks noChangeArrowheads="1"/>
            </p:cNvSpPr>
            <p:nvPr>
              <p:custDataLst>
                <p:tags r:id="rId15"/>
              </p:custDataLst>
            </p:nvPr>
          </p:nvSpPr>
          <p:spPr bwMode="auto">
            <a:xfrm>
              <a:off x="307" y="10"/>
              <a:ext cx="18" cy="75"/>
            </a:xfrm>
            <a:prstGeom prst="rect">
              <a:avLst/>
            </a:prstGeom>
            <a:grpFill/>
            <a:ln w="19050">
              <a:solidFill>
                <a:srgbClr val="4F81BD"/>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Date_and_Time"/>
            <p:cNvSpPr>
              <a:spLocks/>
            </p:cNvSpPr>
            <p:nvPr>
              <p:custDataLst>
                <p:tags r:id="rId16"/>
              </p:custDataLst>
            </p:nvPr>
          </p:nvSpPr>
          <p:spPr bwMode="auto">
            <a:xfrm>
              <a:off x="8" y="38"/>
              <a:ext cx="402" cy="398"/>
            </a:xfrm>
            <a:custGeom>
              <a:avLst/>
              <a:gdLst>
                <a:gd name="T0" fmla="*/ 373 w 555"/>
                <a:gd name="T1" fmla="*/ 549 h 549"/>
                <a:gd name="T2" fmla="*/ 0 w 555"/>
                <a:gd name="T3" fmla="*/ 549 h 549"/>
                <a:gd name="T4" fmla="*/ 0 w 555"/>
                <a:gd name="T5" fmla="*/ 0 h 549"/>
                <a:gd name="T6" fmla="*/ 555 w 555"/>
                <a:gd name="T7" fmla="*/ 0 h 549"/>
                <a:gd name="T8" fmla="*/ 555 w 555"/>
                <a:gd name="T9" fmla="*/ 305 h 549"/>
                <a:gd name="T10" fmla="*/ 530 w 555"/>
                <a:gd name="T11" fmla="*/ 305 h 549"/>
                <a:gd name="T12" fmla="*/ 530 w 555"/>
                <a:gd name="T13" fmla="*/ 25 h 549"/>
                <a:gd name="T14" fmla="*/ 25 w 555"/>
                <a:gd name="T15" fmla="*/ 25 h 549"/>
                <a:gd name="T16" fmla="*/ 25 w 555"/>
                <a:gd name="T17" fmla="*/ 524 h 549"/>
                <a:gd name="T18" fmla="*/ 373 w 555"/>
                <a:gd name="T19" fmla="*/ 524 h 549"/>
                <a:gd name="T20" fmla="*/ 373 w 555"/>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5" h="549">
                  <a:moveTo>
                    <a:pt x="373" y="549"/>
                  </a:moveTo>
                  <a:lnTo>
                    <a:pt x="0" y="549"/>
                  </a:lnTo>
                  <a:lnTo>
                    <a:pt x="0" y="0"/>
                  </a:lnTo>
                  <a:lnTo>
                    <a:pt x="555" y="0"/>
                  </a:lnTo>
                  <a:lnTo>
                    <a:pt x="555" y="305"/>
                  </a:lnTo>
                  <a:lnTo>
                    <a:pt x="530" y="305"/>
                  </a:lnTo>
                  <a:lnTo>
                    <a:pt x="530" y="25"/>
                  </a:lnTo>
                  <a:lnTo>
                    <a:pt x="25" y="25"/>
                  </a:lnTo>
                  <a:lnTo>
                    <a:pt x="25" y="524"/>
                  </a:lnTo>
                  <a:lnTo>
                    <a:pt x="373" y="524"/>
                  </a:lnTo>
                  <a:lnTo>
                    <a:pt x="373" y="549"/>
                  </a:lnTo>
                  <a:close/>
                </a:path>
              </a:pathLst>
            </a:custGeom>
            <a:grpFill/>
            <a:ln w="19050">
              <a:solidFill>
                <a:srgbClr val="4F81B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Date_and_Time"/>
            <p:cNvSpPr>
              <a:spLocks/>
            </p:cNvSpPr>
            <p:nvPr>
              <p:custDataLst>
                <p:tags r:id="rId17"/>
              </p:custDataLst>
            </p:nvPr>
          </p:nvSpPr>
          <p:spPr bwMode="auto">
            <a:xfrm>
              <a:off x="338" y="279"/>
              <a:ext cx="79" cy="86"/>
            </a:xfrm>
            <a:custGeom>
              <a:avLst/>
              <a:gdLst>
                <a:gd name="T0" fmla="*/ 109 w 109"/>
                <a:gd name="T1" fmla="*/ 118 h 118"/>
                <a:gd name="T2" fmla="*/ 0 w 109"/>
                <a:gd name="T3" fmla="*/ 118 h 118"/>
                <a:gd name="T4" fmla="*/ 0 w 109"/>
                <a:gd name="T5" fmla="*/ 0 h 118"/>
                <a:gd name="T6" fmla="*/ 25 w 109"/>
                <a:gd name="T7" fmla="*/ 0 h 118"/>
                <a:gd name="T8" fmla="*/ 25 w 109"/>
                <a:gd name="T9" fmla="*/ 93 h 118"/>
                <a:gd name="T10" fmla="*/ 109 w 109"/>
                <a:gd name="T11" fmla="*/ 93 h 118"/>
                <a:gd name="T12" fmla="*/ 109 w 109"/>
                <a:gd name="T13" fmla="*/ 118 h 118"/>
              </a:gdLst>
              <a:ahLst/>
              <a:cxnLst>
                <a:cxn ang="0">
                  <a:pos x="T0" y="T1"/>
                </a:cxn>
                <a:cxn ang="0">
                  <a:pos x="T2" y="T3"/>
                </a:cxn>
                <a:cxn ang="0">
                  <a:pos x="T4" y="T5"/>
                </a:cxn>
                <a:cxn ang="0">
                  <a:pos x="T6" y="T7"/>
                </a:cxn>
                <a:cxn ang="0">
                  <a:pos x="T8" y="T9"/>
                </a:cxn>
                <a:cxn ang="0">
                  <a:pos x="T10" y="T11"/>
                </a:cxn>
                <a:cxn ang="0">
                  <a:pos x="T12" y="T13"/>
                </a:cxn>
              </a:cxnLst>
              <a:rect l="0" t="0" r="r" b="b"/>
              <a:pathLst>
                <a:path w="109" h="118">
                  <a:moveTo>
                    <a:pt x="109" y="118"/>
                  </a:moveTo>
                  <a:lnTo>
                    <a:pt x="0" y="118"/>
                  </a:lnTo>
                  <a:lnTo>
                    <a:pt x="0" y="0"/>
                  </a:lnTo>
                  <a:lnTo>
                    <a:pt x="25" y="0"/>
                  </a:lnTo>
                  <a:lnTo>
                    <a:pt x="25" y="93"/>
                  </a:lnTo>
                  <a:lnTo>
                    <a:pt x="109" y="93"/>
                  </a:lnTo>
                  <a:lnTo>
                    <a:pt x="109" y="118"/>
                  </a:lnTo>
                  <a:close/>
                </a:path>
              </a:pathLst>
            </a:custGeom>
            <a:grpFill/>
            <a:ln w="19050">
              <a:solidFill>
                <a:srgbClr val="4F81B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4" name="TextBox 24"/>
          <p:cNvSpPr txBox="1"/>
          <p:nvPr/>
        </p:nvSpPr>
        <p:spPr>
          <a:xfrm>
            <a:off x="2000250" y="1204892"/>
            <a:ext cx="4653742" cy="2677656"/>
          </a:xfrm>
          <a:prstGeom prst="rect">
            <a:avLst/>
          </a:prstGeom>
          <a:noFill/>
        </p:spPr>
        <p:txBody>
          <a:bodyPr wrap="square" rtlCol="0">
            <a:spAutoFit/>
          </a:bodyPr>
          <a:lstStyle/>
          <a:p>
            <a:pPr lvl="0">
              <a:defRPr/>
            </a:pPr>
            <a:r>
              <a:rPr lang="en-US" sz="2400" kern="0" dirty="0" err="1">
                <a:solidFill>
                  <a:sysClr val="windowText" lastClr="000000"/>
                </a:solidFill>
              </a:rPr>
              <a:t>Bilim</a:t>
            </a:r>
            <a:r>
              <a:rPr lang="en-US" sz="2400" kern="0" dirty="0">
                <a:solidFill>
                  <a:sysClr val="windowText" lastClr="000000"/>
                </a:solidFill>
              </a:rPr>
              <a:t> ve </a:t>
            </a:r>
            <a:r>
              <a:rPr lang="en-US" sz="2400" kern="0" dirty="0" err="1">
                <a:solidFill>
                  <a:sysClr val="windowText" lastClr="000000"/>
                </a:solidFill>
              </a:rPr>
              <a:t>teknolojiye</a:t>
            </a:r>
            <a:r>
              <a:rPr lang="en-US" sz="2400" kern="0" dirty="0">
                <a:solidFill>
                  <a:sysClr val="windowText" lastClr="000000"/>
                </a:solidFill>
              </a:rPr>
              <a:t> </a:t>
            </a:r>
            <a:r>
              <a:rPr lang="en-US" sz="2400" kern="0" dirty="0" err="1">
                <a:solidFill>
                  <a:sysClr val="windowText" lastClr="000000"/>
                </a:solidFill>
              </a:rPr>
              <a:t>dayalı</a:t>
            </a:r>
            <a:r>
              <a:rPr lang="en-US" sz="2400" kern="0" dirty="0">
                <a:solidFill>
                  <a:sysClr val="windowText" lastClr="000000"/>
                </a:solidFill>
              </a:rPr>
              <a:t> </a:t>
            </a:r>
            <a:r>
              <a:rPr lang="en-US" sz="2400" kern="0" dirty="0" err="1">
                <a:solidFill>
                  <a:sysClr val="windowText" lastClr="000000"/>
                </a:solidFill>
              </a:rPr>
              <a:t>yeni</a:t>
            </a:r>
            <a:r>
              <a:rPr lang="en-US" sz="2400" kern="0" dirty="0">
                <a:solidFill>
                  <a:sysClr val="windowText" lastClr="000000"/>
                </a:solidFill>
              </a:rPr>
              <a:t> </a:t>
            </a:r>
            <a:r>
              <a:rPr lang="en-US" sz="2400" kern="0" dirty="0" err="1">
                <a:solidFill>
                  <a:sysClr val="windowText" lastClr="000000"/>
                </a:solidFill>
              </a:rPr>
              <a:t>fikir</a:t>
            </a:r>
            <a:r>
              <a:rPr lang="en-US" sz="2400" kern="0" dirty="0">
                <a:solidFill>
                  <a:sysClr val="windowText" lastClr="000000"/>
                </a:solidFill>
              </a:rPr>
              <a:t> ve </a:t>
            </a:r>
            <a:r>
              <a:rPr lang="en-US" sz="2400" kern="0" dirty="0" err="1">
                <a:solidFill>
                  <a:sysClr val="windowText" lastClr="000000"/>
                </a:solidFill>
              </a:rPr>
              <a:t>buluşlara</a:t>
            </a:r>
            <a:r>
              <a:rPr lang="en-US" sz="2400" kern="0" dirty="0">
                <a:solidFill>
                  <a:sysClr val="windowText" lastClr="000000"/>
                </a:solidFill>
              </a:rPr>
              <a:t> </a:t>
            </a:r>
            <a:r>
              <a:rPr lang="en-US" sz="2400" kern="0" dirty="0" err="1">
                <a:solidFill>
                  <a:sysClr val="windowText" lastClr="000000"/>
                </a:solidFill>
              </a:rPr>
              <a:t>sahip</a:t>
            </a:r>
            <a:r>
              <a:rPr lang="en-US" sz="2400" kern="0" dirty="0">
                <a:solidFill>
                  <a:sysClr val="windowText" lastClr="000000"/>
                </a:solidFill>
              </a:rPr>
              <a:t> </a:t>
            </a:r>
            <a:r>
              <a:rPr lang="en-US" sz="2400" kern="0" dirty="0" err="1">
                <a:solidFill>
                  <a:sysClr val="windowText" lastClr="000000"/>
                </a:solidFill>
              </a:rPr>
              <a:t>girişimcilerin</a:t>
            </a:r>
            <a:r>
              <a:rPr lang="en-US" sz="2400" kern="0" dirty="0">
                <a:solidFill>
                  <a:sysClr val="windowText" lastClr="000000"/>
                </a:solidFill>
              </a:rPr>
              <a:t> ve </a:t>
            </a:r>
            <a:r>
              <a:rPr lang="tr-TR" sz="2400" kern="0" dirty="0" smtClean="0">
                <a:solidFill>
                  <a:sysClr val="windowText" lastClr="000000"/>
                </a:solidFill>
              </a:rPr>
              <a:t>start-</a:t>
            </a:r>
            <a:r>
              <a:rPr lang="tr-TR" sz="2400" kern="0" dirty="0" err="1" smtClean="0">
                <a:solidFill>
                  <a:sysClr val="windowText" lastClr="000000"/>
                </a:solidFill>
              </a:rPr>
              <a:t>upların</a:t>
            </a:r>
            <a:r>
              <a:rPr lang="en-US" sz="2400" kern="0" dirty="0" smtClean="0">
                <a:solidFill>
                  <a:sysClr val="windowText" lastClr="000000"/>
                </a:solidFill>
              </a:rPr>
              <a:t>, </a:t>
            </a:r>
            <a:r>
              <a:rPr lang="en-US" sz="2400" kern="0" dirty="0" err="1" smtClean="0">
                <a:solidFill>
                  <a:sysClr val="windowText" lastClr="000000"/>
                </a:solidFill>
              </a:rPr>
              <a:t>katma</a:t>
            </a:r>
            <a:r>
              <a:rPr lang="en-US" sz="2400" kern="0" dirty="0" smtClean="0">
                <a:solidFill>
                  <a:sysClr val="windowText" lastClr="000000"/>
                </a:solidFill>
              </a:rPr>
              <a:t> </a:t>
            </a:r>
            <a:r>
              <a:rPr lang="en-US" sz="2400" kern="0" dirty="0" err="1">
                <a:solidFill>
                  <a:sysClr val="windowText" lastClr="000000"/>
                </a:solidFill>
              </a:rPr>
              <a:t>değeri</a:t>
            </a:r>
            <a:r>
              <a:rPr lang="en-US" sz="2400" kern="0" dirty="0">
                <a:solidFill>
                  <a:sysClr val="windowText" lastClr="000000"/>
                </a:solidFill>
              </a:rPr>
              <a:t> </a:t>
            </a:r>
            <a:r>
              <a:rPr lang="en-US" sz="2400" kern="0" dirty="0" err="1">
                <a:solidFill>
                  <a:sysClr val="windowText" lastClr="000000"/>
                </a:solidFill>
              </a:rPr>
              <a:t>yüksek</a:t>
            </a:r>
            <a:r>
              <a:rPr lang="en-US" sz="2400" kern="0" dirty="0">
                <a:solidFill>
                  <a:sysClr val="windowText" lastClr="000000"/>
                </a:solidFill>
              </a:rPr>
              <a:t> </a:t>
            </a:r>
            <a:r>
              <a:rPr lang="en-US" sz="2400" kern="0" dirty="0" err="1">
                <a:solidFill>
                  <a:sysClr val="windowText" lastClr="000000"/>
                </a:solidFill>
              </a:rPr>
              <a:t>işletmelere</a:t>
            </a:r>
            <a:r>
              <a:rPr lang="en-US" sz="2400" kern="0" dirty="0">
                <a:solidFill>
                  <a:sysClr val="windowText" lastClr="000000"/>
                </a:solidFill>
              </a:rPr>
              <a:t> </a:t>
            </a:r>
            <a:r>
              <a:rPr lang="en-US" sz="2400" kern="0" dirty="0" err="1">
                <a:solidFill>
                  <a:sysClr val="windowText" lastClr="000000"/>
                </a:solidFill>
              </a:rPr>
              <a:t>dönüşmelerini</a:t>
            </a:r>
            <a:r>
              <a:rPr lang="en-US" sz="2400" kern="0" dirty="0">
                <a:solidFill>
                  <a:sysClr val="windowText" lastClr="000000"/>
                </a:solidFill>
              </a:rPr>
              <a:t> </a:t>
            </a:r>
            <a:r>
              <a:rPr lang="en-US" sz="2400" kern="0" dirty="0" err="1">
                <a:solidFill>
                  <a:sysClr val="windowText" lastClr="000000"/>
                </a:solidFill>
              </a:rPr>
              <a:t>sağlamak</a:t>
            </a:r>
            <a:r>
              <a:rPr lang="en-US" sz="2400" kern="0" dirty="0">
                <a:solidFill>
                  <a:sysClr val="windowText" lastClr="000000"/>
                </a:solidFill>
              </a:rPr>
              <a:t> </a:t>
            </a:r>
            <a:r>
              <a:rPr lang="en-US" sz="2400" kern="0" dirty="0" err="1">
                <a:solidFill>
                  <a:sysClr val="windowText" lastClr="000000"/>
                </a:solidFill>
              </a:rPr>
              <a:t>amacıyla</a:t>
            </a:r>
            <a:r>
              <a:rPr lang="en-US" sz="2400" kern="0" dirty="0">
                <a:solidFill>
                  <a:sysClr val="windowText" lastClr="000000"/>
                </a:solidFill>
              </a:rPr>
              <a:t> </a:t>
            </a:r>
            <a:r>
              <a:rPr lang="en-US" sz="2400" kern="0" dirty="0" smtClean="0">
                <a:solidFill>
                  <a:sysClr val="windowText" lastClr="000000"/>
                </a:solidFill>
              </a:rPr>
              <a:t>TEKMER  </a:t>
            </a:r>
            <a:r>
              <a:rPr lang="en-US" sz="2400" kern="0" dirty="0" err="1">
                <a:solidFill>
                  <a:sysClr val="windowText" lastClr="000000"/>
                </a:solidFill>
              </a:rPr>
              <a:t>kurulmasını</a:t>
            </a:r>
            <a:r>
              <a:rPr lang="en-US" sz="2400" kern="0" dirty="0">
                <a:solidFill>
                  <a:sysClr val="windowText" lastClr="000000"/>
                </a:solidFill>
              </a:rPr>
              <a:t> ve </a:t>
            </a:r>
            <a:r>
              <a:rPr lang="en-US" sz="2400" kern="0" dirty="0" err="1">
                <a:solidFill>
                  <a:sysClr val="windowText" lastClr="000000"/>
                </a:solidFill>
              </a:rPr>
              <a:t>gerçekleştireceği</a:t>
            </a:r>
            <a:r>
              <a:rPr lang="en-US" sz="2400" kern="0" dirty="0">
                <a:solidFill>
                  <a:sysClr val="windowText" lastClr="000000"/>
                </a:solidFill>
              </a:rPr>
              <a:t> </a:t>
            </a:r>
            <a:r>
              <a:rPr lang="en-US" sz="2400" kern="0" dirty="0" err="1">
                <a:solidFill>
                  <a:sysClr val="windowText" lastClr="000000"/>
                </a:solidFill>
              </a:rPr>
              <a:t>faaliyetleri</a:t>
            </a:r>
            <a:r>
              <a:rPr lang="en-US" sz="2400" kern="0" dirty="0">
                <a:solidFill>
                  <a:sysClr val="windowText" lastClr="000000"/>
                </a:solidFill>
              </a:rPr>
              <a:t> </a:t>
            </a:r>
            <a:r>
              <a:rPr lang="en-US" sz="2400" kern="0" dirty="0" err="1" smtClean="0">
                <a:solidFill>
                  <a:sysClr val="windowText" lastClr="000000"/>
                </a:solidFill>
              </a:rPr>
              <a:t>desteklemektir</a:t>
            </a:r>
            <a:endParaRPr lang="en-US" sz="2400" kern="0" dirty="0">
              <a:solidFill>
                <a:sysClr val="windowText" lastClr="000000"/>
              </a:solidFill>
            </a:endParaRPr>
          </a:p>
        </p:txBody>
      </p:sp>
      <p:sp>
        <p:nvSpPr>
          <p:cNvPr id="35" name="TextBox 29"/>
          <p:cNvSpPr txBox="1"/>
          <p:nvPr/>
        </p:nvSpPr>
        <p:spPr>
          <a:xfrm>
            <a:off x="7182165" y="4158523"/>
            <a:ext cx="4648199" cy="2308324"/>
          </a:xfrm>
          <a:prstGeom prst="rect">
            <a:avLst/>
          </a:prstGeom>
          <a:noFill/>
        </p:spPr>
        <p:txBody>
          <a:bodyPr wrap="square" rtlCol="0">
            <a:spAutoFit/>
          </a:bodyPr>
          <a:lstStyle/>
          <a:p>
            <a:pPr>
              <a:defRPr/>
            </a:pPr>
            <a:r>
              <a:rPr lang="en-US" sz="2400" kern="0" dirty="0" err="1">
                <a:solidFill>
                  <a:sysClr val="windowText" lastClr="000000"/>
                </a:solidFill>
              </a:rPr>
              <a:t>Enerji</a:t>
            </a:r>
            <a:r>
              <a:rPr lang="en-US" sz="2400" kern="0" dirty="0">
                <a:solidFill>
                  <a:sysClr val="windowText" lastClr="000000"/>
                </a:solidFill>
              </a:rPr>
              <a:t>/</a:t>
            </a:r>
            <a:r>
              <a:rPr lang="en-US" sz="2400" kern="0" dirty="0" err="1">
                <a:solidFill>
                  <a:sysClr val="windowText" lastClr="000000"/>
                </a:solidFill>
              </a:rPr>
              <a:t>yenilenebilir</a:t>
            </a:r>
            <a:r>
              <a:rPr lang="en-US" sz="2400" kern="0" dirty="0">
                <a:solidFill>
                  <a:sysClr val="windowText" lastClr="000000"/>
                </a:solidFill>
              </a:rPr>
              <a:t> </a:t>
            </a:r>
            <a:r>
              <a:rPr lang="en-US" sz="2400" kern="0" dirty="0" err="1">
                <a:solidFill>
                  <a:sysClr val="windowText" lastClr="000000"/>
                </a:solidFill>
              </a:rPr>
              <a:t>enerji</a:t>
            </a:r>
            <a:r>
              <a:rPr lang="en-US" sz="2400" kern="0" dirty="0">
                <a:solidFill>
                  <a:sysClr val="windowText" lastClr="000000"/>
                </a:solidFill>
              </a:rPr>
              <a:t>, </a:t>
            </a:r>
            <a:r>
              <a:rPr lang="en-US" sz="2400" kern="0" dirty="0" err="1">
                <a:solidFill>
                  <a:sysClr val="windowText" lastClr="000000"/>
                </a:solidFill>
              </a:rPr>
              <a:t>havacılık</a:t>
            </a:r>
            <a:r>
              <a:rPr lang="en-US" sz="2400" kern="0" dirty="0">
                <a:solidFill>
                  <a:sysClr val="windowText" lastClr="000000"/>
                </a:solidFill>
              </a:rPr>
              <a:t>, </a:t>
            </a:r>
            <a:r>
              <a:rPr lang="en-US" sz="2400" kern="0" dirty="0" err="1">
                <a:solidFill>
                  <a:sysClr val="windowText" lastClr="000000"/>
                </a:solidFill>
              </a:rPr>
              <a:t>savunma</a:t>
            </a:r>
            <a:r>
              <a:rPr lang="en-US" sz="2400" kern="0" dirty="0">
                <a:solidFill>
                  <a:sysClr val="windowText" lastClr="000000"/>
                </a:solidFill>
              </a:rPr>
              <a:t>, </a:t>
            </a:r>
            <a:r>
              <a:rPr lang="en-US" sz="2400" kern="0" dirty="0" err="1">
                <a:solidFill>
                  <a:sysClr val="windowText" lastClr="000000"/>
                </a:solidFill>
              </a:rPr>
              <a:t>ilaç</a:t>
            </a:r>
            <a:r>
              <a:rPr lang="en-US" sz="2400" kern="0" dirty="0">
                <a:solidFill>
                  <a:sysClr val="windowText" lastClr="000000"/>
                </a:solidFill>
              </a:rPr>
              <a:t>, </a:t>
            </a:r>
            <a:r>
              <a:rPr lang="en-US" sz="2400" kern="0" dirty="0" err="1">
                <a:solidFill>
                  <a:sysClr val="windowText" lastClr="000000"/>
                </a:solidFill>
              </a:rPr>
              <a:t>tıbbi</a:t>
            </a:r>
            <a:r>
              <a:rPr lang="en-US" sz="2400" kern="0" dirty="0">
                <a:solidFill>
                  <a:sysClr val="windowText" lastClr="000000"/>
                </a:solidFill>
              </a:rPr>
              <a:t> </a:t>
            </a:r>
            <a:r>
              <a:rPr lang="en-US" sz="2400" kern="0" dirty="0" err="1">
                <a:solidFill>
                  <a:sysClr val="windowText" lastClr="000000"/>
                </a:solidFill>
              </a:rPr>
              <a:t>cihaz</a:t>
            </a:r>
            <a:r>
              <a:rPr lang="en-US" sz="2400" kern="0" dirty="0">
                <a:solidFill>
                  <a:sysClr val="windowText" lastClr="000000"/>
                </a:solidFill>
              </a:rPr>
              <a:t>, </a:t>
            </a:r>
            <a:r>
              <a:rPr lang="en-US" sz="2400" kern="0" dirty="0" err="1">
                <a:solidFill>
                  <a:sysClr val="windowText" lastClr="000000"/>
                </a:solidFill>
              </a:rPr>
              <a:t>medikal</a:t>
            </a:r>
            <a:r>
              <a:rPr lang="en-US" sz="2400" kern="0" dirty="0">
                <a:solidFill>
                  <a:sysClr val="windowText" lastClr="000000"/>
                </a:solidFill>
              </a:rPr>
              <a:t>, </a:t>
            </a:r>
            <a:r>
              <a:rPr lang="en-US" sz="2400" kern="0" dirty="0" err="1">
                <a:solidFill>
                  <a:sysClr val="windowText" lastClr="000000"/>
                </a:solidFill>
              </a:rPr>
              <a:t>biyoteknoloji</a:t>
            </a:r>
            <a:r>
              <a:rPr lang="en-US" sz="2400" kern="0" dirty="0" smtClean="0">
                <a:solidFill>
                  <a:sysClr val="windowText" lastClr="000000"/>
                </a:solidFill>
              </a:rPr>
              <a:t>, </a:t>
            </a:r>
            <a:r>
              <a:rPr lang="en-US" sz="2400" kern="0" dirty="0" err="1">
                <a:solidFill>
                  <a:sysClr val="windowText" lastClr="000000"/>
                </a:solidFill>
              </a:rPr>
              <a:t>genetik</a:t>
            </a:r>
            <a:r>
              <a:rPr lang="en-US" sz="2400" kern="0" dirty="0">
                <a:solidFill>
                  <a:sysClr val="windowText" lastClr="000000"/>
                </a:solidFill>
              </a:rPr>
              <a:t>, </a:t>
            </a:r>
            <a:r>
              <a:rPr lang="en-US" sz="2400" kern="0" dirty="0" err="1">
                <a:solidFill>
                  <a:sysClr val="windowText" lastClr="000000"/>
                </a:solidFill>
              </a:rPr>
              <a:t>robotik</a:t>
            </a:r>
            <a:r>
              <a:rPr lang="en-US" sz="2400" kern="0" dirty="0">
                <a:solidFill>
                  <a:sysClr val="windowText" lastClr="000000"/>
                </a:solidFill>
              </a:rPr>
              <a:t>, </a:t>
            </a:r>
            <a:r>
              <a:rPr lang="en-US" sz="2400" kern="0" dirty="0" err="1">
                <a:solidFill>
                  <a:sysClr val="windowText" lastClr="000000"/>
                </a:solidFill>
              </a:rPr>
              <a:t>makina</a:t>
            </a:r>
            <a:r>
              <a:rPr lang="en-US" sz="2400" kern="0" dirty="0">
                <a:solidFill>
                  <a:sysClr val="windowText" lastClr="000000"/>
                </a:solidFill>
              </a:rPr>
              <a:t>, </a:t>
            </a:r>
            <a:r>
              <a:rPr lang="en-US" sz="2400" kern="0" dirty="0" err="1">
                <a:solidFill>
                  <a:sysClr val="windowText" lastClr="000000"/>
                </a:solidFill>
              </a:rPr>
              <a:t>kimya</a:t>
            </a:r>
            <a:r>
              <a:rPr lang="en-US" sz="2400" kern="0" dirty="0">
                <a:solidFill>
                  <a:sysClr val="windowText" lastClr="000000"/>
                </a:solidFill>
              </a:rPr>
              <a:t>, </a:t>
            </a:r>
            <a:r>
              <a:rPr lang="en-US" sz="2400" kern="0" dirty="0" err="1">
                <a:solidFill>
                  <a:sysClr val="windowText" lastClr="000000"/>
                </a:solidFill>
              </a:rPr>
              <a:t>bilgi</a:t>
            </a:r>
            <a:r>
              <a:rPr lang="en-US" sz="2400" kern="0" dirty="0">
                <a:solidFill>
                  <a:sysClr val="windowText" lastClr="000000"/>
                </a:solidFill>
              </a:rPr>
              <a:t> ve </a:t>
            </a:r>
            <a:r>
              <a:rPr lang="en-US" sz="2400" kern="0" dirty="0" err="1">
                <a:solidFill>
                  <a:sysClr val="windowText" lastClr="000000"/>
                </a:solidFill>
              </a:rPr>
              <a:t>iletişim</a:t>
            </a:r>
            <a:r>
              <a:rPr lang="en-US" sz="2400" kern="0" dirty="0">
                <a:solidFill>
                  <a:sysClr val="windowText" lastClr="000000"/>
                </a:solidFill>
              </a:rPr>
              <a:t> </a:t>
            </a:r>
            <a:r>
              <a:rPr lang="en-US" sz="2400" kern="0" dirty="0" err="1">
                <a:solidFill>
                  <a:sysClr val="windowText" lastClr="000000"/>
                </a:solidFill>
              </a:rPr>
              <a:t>teknolojileri</a:t>
            </a:r>
            <a:r>
              <a:rPr lang="en-US" sz="2400" kern="0" dirty="0">
                <a:solidFill>
                  <a:sysClr val="windowText" lastClr="000000"/>
                </a:solidFill>
              </a:rPr>
              <a:t>, </a:t>
            </a:r>
            <a:r>
              <a:rPr lang="en-US" sz="2400" kern="0" dirty="0" err="1" smtClean="0">
                <a:solidFill>
                  <a:sysClr val="windowText" lastClr="000000"/>
                </a:solidFill>
              </a:rPr>
              <a:t>dijitalleşme</a:t>
            </a:r>
            <a:r>
              <a:rPr lang="en-US" sz="2400" kern="0" dirty="0" smtClean="0">
                <a:solidFill>
                  <a:sysClr val="windowText" lastClr="000000"/>
                </a:solidFill>
              </a:rPr>
              <a:t> </a:t>
            </a:r>
            <a:r>
              <a:rPr lang="en-US" sz="2400" kern="0" dirty="0">
                <a:solidFill>
                  <a:sysClr val="windowText" lastClr="000000"/>
                </a:solidFill>
              </a:rPr>
              <a:t>ve </a:t>
            </a:r>
            <a:r>
              <a:rPr lang="en-US" sz="2400" kern="0" dirty="0" err="1">
                <a:solidFill>
                  <a:sysClr val="windowText" lastClr="000000"/>
                </a:solidFill>
              </a:rPr>
              <a:t>benzeri</a:t>
            </a:r>
            <a:r>
              <a:rPr lang="en-US" sz="2400" kern="0" dirty="0">
                <a:solidFill>
                  <a:sysClr val="windowText" lastClr="000000"/>
                </a:solidFill>
              </a:rPr>
              <a:t> </a:t>
            </a:r>
            <a:r>
              <a:rPr lang="en-US" sz="2400" kern="0" dirty="0" err="1">
                <a:solidFill>
                  <a:sysClr val="windowText" lastClr="000000"/>
                </a:solidFill>
              </a:rPr>
              <a:t>konular</a:t>
            </a:r>
            <a:r>
              <a:rPr lang="en-US" sz="2400" kern="0" dirty="0">
                <a:solidFill>
                  <a:sysClr val="windowText" lastClr="000000"/>
                </a:solidFill>
              </a:rPr>
              <a:t> </a:t>
            </a:r>
          </a:p>
        </p:txBody>
      </p:sp>
      <p:sp>
        <p:nvSpPr>
          <p:cNvPr id="36" name="TextBox 24"/>
          <p:cNvSpPr txBox="1"/>
          <p:nvPr/>
        </p:nvSpPr>
        <p:spPr>
          <a:xfrm>
            <a:off x="2038350" y="4822402"/>
            <a:ext cx="2686050" cy="800219"/>
          </a:xfrm>
          <a:prstGeom prst="rect">
            <a:avLst/>
          </a:prstGeom>
          <a:noFill/>
        </p:spPr>
        <p:txBody>
          <a:bodyPr wrap="square" rtlCol="0">
            <a:spAutoFit/>
          </a:bodyPr>
          <a:lstStyle/>
          <a:p>
            <a:pPr lvl="0">
              <a:defRPr/>
            </a:pPr>
            <a:r>
              <a:rPr lang="tr-TR" sz="2200" kern="0" dirty="0" smtClean="0">
                <a:solidFill>
                  <a:sysClr val="windowText" lastClr="000000"/>
                </a:solidFill>
              </a:rPr>
              <a:t>Program süresi </a:t>
            </a:r>
          </a:p>
          <a:p>
            <a:pPr lvl="0">
              <a:defRPr/>
            </a:pPr>
            <a:r>
              <a:rPr lang="tr-TR" sz="2400" kern="0" dirty="0" smtClean="0">
                <a:solidFill>
                  <a:sysClr val="windowText" lastClr="000000"/>
                </a:solidFill>
              </a:rPr>
              <a:t>5 yıldır</a:t>
            </a:r>
            <a:endParaRPr lang="en-US" sz="2200" kern="0" dirty="0">
              <a:solidFill>
                <a:sysClr val="windowText" lastClr="000000"/>
              </a:solidFill>
            </a:endParaRPr>
          </a:p>
        </p:txBody>
      </p:sp>
      <p:pic>
        <p:nvPicPr>
          <p:cNvPr id="40" name="Picture 3"/>
          <p:cNvPicPr>
            <a:picLocks noChangeAspect="1" noChangeArrowheads="1"/>
          </p:cNvPicPr>
          <p:nvPr/>
        </p:nvPicPr>
        <p:blipFill>
          <a:blip r:embed="rId19" cstate="print"/>
          <a:srcRect/>
          <a:stretch>
            <a:fillRect/>
          </a:stretch>
        </p:blipFill>
        <p:spPr bwMode="auto">
          <a:xfrm>
            <a:off x="10859643" y="345041"/>
            <a:ext cx="722757" cy="509801"/>
          </a:xfrm>
          <a:prstGeom prst="rect">
            <a:avLst/>
          </a:prstGeom>
          <a:noFill/>
          <a:ln w="9525">
            <a:noFill/>
            <a:miter lim="800000"/>
            <a:headEnd/>
            <a:tailEnd/>
          </a:ln>
        </p:spPr>
      </p:pic>
      <p:sp>
        <p:nvSpPr>
          <p:cNvPr id="41" name="Dikdörtgen 40"/>
          <p:cNvSpPr/>
          <p:nvPr/>
        </p:nvSpPr>
        <p:spPr>
          <a:xfrm>
            <a:off x="8597059" y="1392415"/>
            <a:ext cx="3229870" cy="1938992"/>
          </a:xfrm>
          <a:prstGeom prst="rect">
            <a:avLst/>
          </a:prstGeom>
        </p:spPr>
        <p:txBody>
          <a:bodyPr wrap="square">
            <a:spAutoFit/>
          </a:bodyPr>
          <a:lstStyle/>
          <a:p>
            <a:pPr>
              <a:defRPr/>
            </a:pPr>
            <a:r>
              <a:rPr lang="tr-TR" sz="2400" kern="0" dirty="0" smtClean="0">
                <a:solidFill>
                  <a:sysClr val="windowText" lastClr="000000"/>
                </a:solidFill>
              </a:rPr>
              <a:t>Kurucu/Kurucular </a:t>
            </a:r>
            <a:r>
              <a:rPr lang="tr-TR" sz="2400" kern="0" dirty="0">
                <a:solidFill>
                  <a:sysClr val="windowText" lastClr="000000"/>
                </a:solidFill>
              </a:rPr>
              <a:t>tarafından </a:t>
            </a:r>
            <a:r>
              <a:rPr lang="tr-TR" sz="2400" kern="0" dirty="0" err="1">
                <a:solidFill>
                  <a:sysClr val="windowText" lastClr="000000"/>
                </a:solidFill>
              </a:rPr>
              <a:t>limited</a:t>
            </a:r>
            <a:r>
              <a:rPr lang="tr-TR" sz="2400" kern="0" dirty="0">
                <a:solidFill>
                  <a:sysClr val="windowText" lastClr="000000"/>
                </a:solidFill>
              </a:rPr>
              <a:t> veya anonim şirketi statüsündeki İşletici Kuruluş kurulur.</a:t>
            </a:r>
          </a:p>
        </p:txBody>
      </p:sp>
      <p:grpSp>
        <p:nvGrpSpPr>
          <p:cNvPr id="42" name="Commerce"/>
          <p:cNvGrpSpPr>
            <a:grpSpLocks noChangeAspect="1"/>
          </p:cNvGrpSpPr>
          <p:nvPr>
            <p:custDataLst>
              <p:tags r:id="rId4"/>
            </p:custDataLst>
          </p:nvPr>
        </p:nvGrpSpPr>
        <p:grpSpPr bwMode="auto">
          <a:xfrm>
            <a:off x="7194130" y="1388754"/>
            <a:ext cx="1306346" cy="1783446"/>
            <a:chOff x="73" y="8"/>
            <a:chExt cx="345" cy="471"/>
          </a:xfrm>
          <a:solidFill>
            <a:schemeClr val="accent1"/>
          </a:solidFill>
        </p:grpSpPr>
        <p:sp>
          <p:nvSpPr>
            <p:cNvPr id="43" name="Commerce"/>
            <p:cNvSpPr>
              <a:spLocks/>
            </p:cNvSpPr>
            <p:nvPr>
              <p:custDataLst>
                <p:tags r:id="rId5"/>
              </p:custDataLst>
            </p:nvPr>
          </p:nvSpPr>
          <p:spPr bwMode="auto">
            <a:xfrm>
              <a:off x="73" y="155"/>
              <a:ext cx="189" cy="34"/>
            </a:xfrm>
            <a:custGeom>
              <a:avLst/>
              <a:gdLst>
                <a:gd name="T0" fmla="*/ 504 w 504"/>
                <a:gd name="T1" fmla="*/ 38 h 89"/>
                <a:gd name="T2" fmla="*/ 405 w 504"/>
                <a:gd name="T3" fmla="*/ 38 h 89"/>
                <a:gd name="T4" fmla="*/ 405 w 504"/>
                <a:gd name="T5" fmla="*/ 0 h 89"/>
                <a:gd name="T6" fmla="*/ 99 w 504"/>
                <a:gd name="T7" fmla="*/ 0 h 89"/>
                <a:gd name="T8" fmla="*/ 99 w 504"/>
                <a:gd name="T9" fmla="*/ 38 h 89"/>
                <a:gd name="T10" fmla="*/ 0 w 504"/>
                <a:gd name="T11" fmla="*/ 38 h 89"/>
                <a:gd name="T12" fmla="*/ 0 w 504"/>
                <a:gd name="T13" fmla="*/ 89 h 89"/>
                <a:gd name="T14" fmla="*/ 504 w 504"/>
                <a:gd name="T15" fmla="*/ 89 h 89"/>
                <a:gd name="T16" fmla="*/ 504 w 504"/>
                <a:gd name="T17" fmla="*/ 3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89">
                  <a:moveTo>
                    <a:pt x="504" y="38"/>
                  </a:moveTo>
                  <a:lnTo>
                    <a:pt x="405" y="38"/>
                  </a:lnTo>
                  <a:lnTo>
                    <a:pt x="405" y="0"/>
                  </a:lnTo>
                  <a:lnTo>
                    <a:pt x="99" y="0"/>
                  </a:lnTo>
                  <a:lnTo>
                    <a:pt x="99" y="38"/>
                  </a:lnTo>
                  <a:lnTo>
                    <a:pt x="0" y="38"/>
                  </a:lnTo>
                  <a:lnTo>
                    <a:pt x="0" y="89"/>
                  </a:lnTo>
                  <a:lnTo>
                    <a:pt x="504" y="89"/>
                  </a:lnTo>
                  <a:lnTo>
                    <a:pt x="504" y="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Commerce"/>
            <p:cNvSpPr>
              <a:spLocks noEditPoints="1"/>
            </p:cNvSpPr>
            <p:nvPr>
              <p:custDataLst>
                <p:tags r:id="rId6"/>
              </p:custDataLst>
            </p:nvPr>
          </p:nvSpPr>
          <p:spPr bwMode="auto">
            <a:xfrm>
              <a:off x="162" y="371"/>
              <a:ext cx="234" cy="108"/>
            </a:xfrm>
            <a:custGeom>
              <a:avLst/>
              <a:gdLst>
                <a:gd name="T0" fmla="*/ 488 w 622"/>
                <a:gd name="T1" fmla="*/ 0 h 287"/>
                <a:gd name="T2" fmla="*/ 444 w 622"/>
                <a:gd name="T3" fmla="*/ 11 h 287"/>
                <a:gd name="T4" fmla="*/ 400 w 622"/>
                <a:gd name="T5" fmla="*/ 0 h 287"/>
                <a:gd name="T6" fmla="*/ 355 w 622"/>
                <a:gd name="T7" fmla="*/ 11 h 287"/>
                <a:gd name="T8" fmla="*/ 311 w 622"/>
                <a:gd name="T9" fmla="*/ 0 h 287"/>
                <a:gd name="T10" fmla="*/ 266 w 622"/>
                <a:gd name="T11" fmla="*/ 11 h 287"/>
                <a:gd name="T12" fmla="*/ 222 w 622"/>
                <a:gd name="T13" fmla="*/ 0 h 287"/>
                <a:gd name="T14" fmla="*/ 177 w 622"/>
                <a:gd name="T15" fmla="*/ 11 h 287"/>
                <a:gd name="T16" fmla="*/ 133 w 622"/>
                <a:gd name="T17" fmla="*/ 0 h 287"/>
                <a:gd name="T18" fmla="*/ 89 w 622"/>
                <a:gd name="T19" fmla="*/ 11 h 287"/>
                <a:gd name="T20" fmla="*/ 44 w 622"/>
                <a:gd name="T21" fmla="*/ 0 h 287"/>
                <a:gd name="T22" fmla="*/ 0 w 622"/>
                <a:gd name="T23" fmla="*/ 11 h 287"/>
                <a:gd name="T24" fmla="*/ 0 w 622"/>
                <a:gd name="T25" fmla="*/ 75 h 287"/>
                <a:gd name="T26" fmla="*/ 0 w 622"/>
                <a:gd name="T27" fmla="*/ 134 h 287"/>
                <a:gd name="T28" fmla="*/ 0 w 622"/>
                <a:gd name="T29" fmla="*/ 141 h 287"/>
                <a:gd name="T30" fmla="*/ 0 w 622"/>
                <a:gd name="T31" fmla="*/ 236 h 287"/>
                <a:gd name="T32" fmla="*/ 0 w 622"/>
                <a:gd name="T33" fmla="*/ 287 h 287"/>
                <a:gd name="T34" fmla="*/ 66 w 622"/>
                <a:gd name="T35" fmla="*/ 287 h 287"/>
                <a:gd name="T36" fmla="*/ 66 w 622"/>
                <a:gd name="T37" fmla="*/ 65 h 287"/>
                <a:gd name="T38" fmla="*/ 200 w 622"/>
                <a:gd name="T39" fmla="*/ 65 h 287"/>
                <a:gd name="T40" fmla="*/ 200 w 622"/>
                <a:gd name="T41" fmla="*/ 287 h 287"/>
                <a:gd name="T42" fmla="*/ 622 w 622"/>
                <a:gd name="T43" fmla="*/ 287 h 287"/>
                <a:gd name="T44" fmla="*/ 622 w 622"/>
                <a:gd name="T45" fmla="*/ 11 h 287"/>
                <a:gd name="T46" fmla="*/ 577 w 622"/>
                <a:gd name="T47" fmla="*/ 0 h 287"/>
                <a:gd name="T48" fmla="*/ 533 w 622"/>
                <a:gd name="T49" fmla="*/ 11 h 287"/>
                <a:gd name="T50" fmla="*/ 488 w 622"/>
                <a:gd name="T51" fmla="*/ 0 h 287"/>
                <a:gd name="T52" fmla="*/ 555 w 622"/>
                <a:gd name="T53" fmla="*/ 207 h 287"/>
                <a:gd name="T54" fmla="*/ 266 w 622"/>
                <a:gd name="T55" fmla="*/ 207 h 287"/>
                <a:gd name="T56" fmla="*/ 266 w 622"/>
                <a:gd name="T57" fmla="*/ 65 h 287"/>
                <a:gd name="T58" fmla="*/ 555 w 622"/>
                <a:gd name="T59" fmla="*/ 65 h 287"/>
                <a:gd name="T60" fmla="*/ 555 w 622"/>
                <a:gd name="T61" fmla="*/ 2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2" h="287">
                  <a:moveTo>
                    <a:pt x="488" y="0"/>
                  </a:moveTo>
                  <a:cubicBezTo>
                    <a:pt x="475" y="7"/>
                    <a:pt x="460" y="11"/>
                    <a:pt x="444" y="11"/>
                  </a:cubicBezTo>
                  <a:cubicBezTo>
                    <a:pt x="428" y="11"/>
                    <a:pt x="413" y="7"/>
                    <a:pt x="400" y="0"/>
                  </a:cubicBezTo>
                  <a:cubicBezTo>
                    <a:pt x="386" y="7"/>
                    <a:pt x="371" y="11"/>
                    <a:pt x="355" y="11"/>
                  </a:cubicBezTo>
                  <a:cubicBezTo>
                    <a:pt x="339" y="11"/>
                    <a:pt x="324" y="7"/>
                    <a:pt x="311" y="0"/>
                  </a:cubicBezTo>
                  <a:cubicBezTo>
                    <a:pt x="297" y="7"/>
                    <a:pt x="282" y="11"/>
                    <a:pt x="266" y="11"/>
                  </a:cubicBezTo>
                  <a:cubicBezTo>
                    <a:pt x="250" y="11"/>
                    <a:pt x="235" y="7"/>
                    <a:pt x="222" y="0"/>
                  </a:cubicBezTo>
                  <a:cubicBezTo>
                    <a:pt x="208" y="7"/>
                    <a:pt x="193" y="11"/>
                    <a:pt x="177" y="11"/>
                  </a:cubicBezTo>
                  <a:cubicBezTo>
                    <a:pt x="162" y="11"/>
                    <a:pt x="146" y="7"/>
                    <a:pt x="133" y="0"/>
                  </a:cubicBezTo>
                  <a:cubicBezTo>
                    <a:pt x="120" y="7"/>
                    <a:pt x="104" y="11"/>
                    <a:pt x="89" y="11"/>
                  </a:cubicBezTo>
                  <a:cubicBezTo>
                    <a:pt x="73" y="11"/>
                    <a:pt x="57" y="7"/>
                    <a:pt x="44" y="0"/>
                  </a:cubicBezTo>
                  <a:cubicBezTo>
                    <a:pt x="31" y="7"/>
                    <a:pt x="15" y="11"/>
                    <a:pt x="0" y="11"/>
                  </a:cubicBezTo>
                  <a:lnTo>
                    <a:pt x="0" y="75"/>
                  </a:lnTo>
                  <a:lnTo>
                    <a:pt x="0" y="134"/>
                  </a:lnTo>
                  <a:lnTo>
                    <a:pt x="0" y="141"/>
                  </a:lnTo>
                  <a:lnTo>
                    <a:pt x="0" y="236"/>
                  </a:lnTo>
                  <a:lnTo>
                    <a:pt x="0" y="287"/>
                  </a:lnTo>
                  <a:lnTo>
                    <a:pt x="66" y="287"/>
                  </a:lnTo>
                  <a:lnTo>
                    <a:pt x="66" y="65"/>
                  </a:lnTo>
                  <a:lnTo>
                    <a:pt x="200" y="65"/>
                  </a:lnTo>
                  <a:lnTo>
                    <a:pt x="200" y="287"/>
                  </a:lnTo>
                  <a:lnTo>
                    <a:pt x="622" y="287"/>
                  </a:lnTo>
                  <a:lnTo>
                    <a:pt x="622" y="11"/>
                  </a:lnTo>
                  <a:cubicBezTo>
                    <a:pt x="606" y="11"/>
                    <a:pt x="591" y="7"/>
                    <a:pt x="577" y="0"/>
                  </a:cubicBezTo>
                  <a:cubicBezTo>
                    <a:pt x="564" y="7"/>
                    <a:pt x="549" y="11"/>
                    <a:pt x="533" y="11"/>
                  </a:cubicBezTo>
                  <a:cubicBezTo>
                    <a:pt x="517" y="11"/>
                    <a:pt x="502" y="7"/>
                    <a:pt x="488" y="0"/>
                  </a:cubicBezTo>
                  <a:close/>
                  <a:moveTo>
                    <a:pt x="555" y="207"/>
                  </a:moveTo>
                  <a:lnTo>
                    <a:pt x="266" y="207"/>
                  </a:lnTo>
                  <a:lnTo>
                    <a:pt x="266" y="65"/>
                  </a:lnTo>
                  <a:lnTo>
                    <a:pt x="555" y="65"/>
                  </a:lnTo>
                  <a:lnTo>
                    <a:pt x="555" y="20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Commerce"/>
            <p:cNvSpPr>
              <a:spLocks/>
            </p:cNvSpPr>
            <p:nvPr>
              <p:custDataLst>
                <p:tags r:id="rId7"/>
              </p:custDataLst>
            </p:nvPr>
          </p:nvSpPr>
          <p:spPr bwMode="auto">
            <a:xfrm>
              <a:off x="139" y="317"/>
              <a:ext cx="279" cy="49"/>
            </a:xfrm>
            <a:custGeom>
              <a:avLst/>
              <a:gdLst>
                <a:gd name="T0" fmla="*/ 275 w 741"/>
                <a:gd name="T1" fmla="*/ 0 h 129"/>
                <a:gd name="T2" fmla="*/ 179 w 741"/>
                <a:gd name="T3" fmla="*/ 0 h 129"/>
                <a:gd name="T4" fmla="*/ 122 w 741"/>
                <a:gd name="T5" fmla="*/ 0 h 129"/>
                <a:gd name="T6" fmla="*/ 60 w 741"/>
                <a:gd name="T7" fmla="*/ 0 h 129"/>
                <a:gd name="T8" fmla="*/ 0 w 741"/>
                <a:gd name="T9" fmla="*/ 80 h 129"/>
                <a:gd name="T10" fmla="*/ 0 w 741"/>
                <a:gd name="T11" fmla="*/ 80 h 129"/>
                <a:gd name="T12" fmla="*/ 0 w 741"/>
                <a:gd name="T13" fmla="*/ 80 h 129"/>
                <a:gd name="T14" fmla="*/ 1 w 741"/>
                <a:gd name="T15" fmla="*/ 86 h 129"/>
                <a:gd name="T16" fmla="*/ 1 w 741"/>
                <a:gd name="T17" fmla="*/ 88 h 129"/>
                <a:gd name="T18" fmla="*/ 3 w 741"/>
                <a:gd name="T19" fmla="*/ 92 h 129"/>
                <a:gd name="T20" fmla="*/ 3 w 741"/>
                <a:gd name="T21" fmla="*/ 94 h 129"/>
                <a:gd name="T22" fmla="*/ 5 w 741"/>
                <a:gd name="T23" fmla="*/ 99 h 129"/>
                <a:gd name="T24" fmla="*/ 6 w 741"/>
                <a:gd name="T25" fmla="*/ 100 h 129"/>
                <a:gd name="T26" fmla="*/ 9 w 741"/>
                <a:gd name="T27" fmla="*/ 105 h 129"/>
                <a:gd name="T28" fmla="*/ 9 w 741"/>
                <a:gd name="T29" fmla="*/ 106 h 129"/>
                <a:gd name="T30" fmla="*/ 33 w 741"/>
                <a:gd name="T31" fmla="*/ 123 h 129"/>
                <a:gd name="T32" fmla="*/ 33 w 741"/>
                <a:gd name="T33" fmla="*/ 124 h 129"/>
                <a:gd name="T34" fmla="*/ 60 w 741"/>
                <a:gd name="T35" fmla="*/ 129 h 129"/>
                <a:gd name="T36" fmla="*/ 104 w 741"/>
                <a:gd name="T37" fmla="*/ 112 h 129"/>
                <a:gd name="T38" fmla="*/ 149 w 741"/>
                <a:gd name="T39" fmla="*/ 129 h 129"/>
                <a:gd name="T40" fmla="*/ 193 w 741"/>
                <a:gd name="T41" fmla="*/ 112 h 129"/>
                <a:gd name="T42" fmla="*/ 237 w 741"/>
                <a:gd name="T43" fmla="*/ 129 h 129"/>
                <a:gd name="T44" fmla="*/ 282 w 741"/>
                <a:gd name="T45" fmla="*/ 112 h 129"/>
                <a:gd name="T46" fmla="*/ 326 w 741"/>
                <a:gd name="T47" fmla="*/ 129 h 129"/>
                <a:gd name="T48" fmla="*/ 371 w 741"/>
                <a:gd name="T49" fmla="*/ 112 h 129"/>
                <a:gd name="T50" fmla="*/ 415 w 741"/>
                <a:gd name="T51" fmla="*/ 129 h 129"/>
                <a:gd name="T52" fmla="*/ 460 w 741"/>
                <a:gd name="T53" fmla="*/ 112 h 129"/>
                <a:gd name="T54" fmla="*/ 504 w 741"/>
                <a:gd name="T55" fmla="*/ 129 h 129"/>
                <a:gd name="T56" fmla="*/ 548 w 741"/>
                <a:gd name="T57" fmla="*/ 112 h 129"/>
                <a:gd name="T58" fmla="*/ 593 w 741"/>
                <a:gd name="T59" fmla="*/ 129 h 129"/>
                <a:gd name="T60" fmla="*/ 637 w 741"/>
                <a:gd name="T61" fmla="*/ 112 h 129"/>
                <a:gd name="T62" fmla="*/ 682 w 741"/>
                <a:gd name="T63" fmla="*/ 129 h 129"/>
                <a:gd name="T64" fmla="*/ 741 w 741"/>
                <a:gd name="T65" fmla="*/ 80 h 129"/>
                <a:gd name="T66" fmla="*/ 741 w 741"/>
                <a:gd name="T67" fmla="*/ 80 h 129"/>
                <a:gd name="T68" fmla="*/ 682 w 741"/>
                <a:gd name="T69" fmla="*/ 0 h 129"/>
                <a:gd name="T70" fmla="*/ 326 w 741"/>
                <a:gd name="T71" fmla="*/ 0 h 129"/>
                <a:gd name="T72" fmla="*/ 275 w 741"/>
                <a:gd name="T7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1" h="129">
                  <a:moveTo>
                    <a:pt x="275" y="0"/>
                  </a:moveTo>
                  <a:lnTo>
                    <a:pt x="179" y="0"/>
                  </a:lnTo>
                  <a:lnTo>
                    <a:pt x="122" y="0"/>
                  </a:lnTo>
                  <a:lnTo>
                    <a:pt x="60" y="0"/>
                  </a:lnTo>
                  <a:lnTo>
                    <a:pt x="0" y="80"/>
                  </a:lnTo>
                  <a:lnTo>
                    <a:pt x="0" y="80"/>
                  </a:lnTo>
                  <a:cubicBezTo>
                    <a:pt x="0" y="80"/>
                    <a:pt x="0" y="80"/>
                    <a:pt x="0" y="80"/>
                  </a:cubicBezTo>
                  <a:cubicBezTo>
                    <a:pt x="0" y="82"/>
                    <a:pt x="1" y="84"/>
                    <a:pt x="1" y="86"/>
                  </a:cubicBezTo>
                  <a:cubicBezTo>
                    <a:pt x="1" y="86"/>
                    <a:pt x="1" y="87"/>
                    <a:pt x="1" y="88"/>
                  </a:cubicBezTo>
                  <a:cubicBezTo>
                    <a:pt x="2" y="89"/>
                    <a:pt x="2" y="91"/>
                    <a:pt x="3" y="92"/>
                  </a:cubicBezTo>
                  <a:cubicBezTo>
                    <a:pt x="3" y="93"/>
                    <a:pt x="3" y="93"/>
                    <a:pt x="3" y="94"/>
                  </a:cubicBezTo>
                  <a:cubicBezTo>
                    <a:pt x="4" y="96"/>
                    <a:pt x="4" y="97"/>
                    <a:pt x="5" y="99"/>
                  </a:cubicBezTo>
                  <a:cubicBezTo>
                    <a:pt x="5" y="99"/>
                    <a:pt x="6" y="100"/>
                    <a:pt x="6" y="100"/>
                  </a:cubicBezTo>
                  <a:cubicBezTo>
                    <a:pt x="7" y="101"/>
                    <a:pt x="8" y="103"/>
                    <a:pt x="9" y="105"/>
                  </a:cubicBezTo>
                  <a:cubicBezTo>
                    <a:pt x="9" y="105"/>
                    <a:pt x="9" y="105"/>
                    <a:pt x="9" y="106"/>
                  </a:cubicBezTo>
                  <a:cubicBezTo>
                    <a:pt x="15" y="113"/>
                    <a:pt x="23" y="119"/>
                    <a:pt x="33" y="123"/>
                  </a:cubicBezTo>
                  <a:cubicBezTo>
                    <a:pt x="33" y="124"/>
                    <a:pt x="33" y="124"/>
                    <a:pt x="33" y="124"/>
                  </a:cubicBezTo>
                  <a:cubicBezTo>
                    <a:pt x="41" y="127"/>
                    <a:pt x="50" y="129"/>
                    <a:pt x="60" y="129"/>
                  </a:cubicBezTo>
                  <a:cubicBezTo>
                    <a:pt x="77" y="129"/>
                    <a:pt x="93" y="122"/>
                    <a:pt x="104" y="112"/>
                  </a:cubicBezTo>
                  <a:cubicBezTo>
                    <a:pt x="115" y="122"/>
                    <a:pt x="131" y="129"/>
                    <a:pt x="149" y="129"/>
                  </a:cubicBezTo>
                  <a:cubicBezTo>
                    <a:pt x="166" y="129"/>
                    <a:pt x="182" y="122"/>
                    <a:pt x="193" y="112"/>
                  </a:cubicBezTo>
                  <a:cubicBezTo>
                    <a:pt x="204" y="122"/>
                    <a:pt x="220" y="129"/>
                    <a:pt x="237" y="129"/>
                  </a:cubicBezTo>
                  <a:cubicBezTo>
                    <a:pt x="255" y="129"/>
                    <a:pt x="271" y="122"/>
                    <a:pt x="282" y="112"/>
                  </a:cubicBezTo>
                  <a:cubicBezTo>
                    <a:pt x="293" y="122"/>
                    <a:pt x="309" y="129"/>
                    <a:pt x="326" y="129"/>
                  </a:cubicBezTo>
                  <a:cubicBezTo>
                    <a:pt x="344" y="129"/>
                    <a:pt x="360" y="122"/>
                    <a:pt x="371" y="112"/>
                  </a:cubicBezTo>
                  <a:cubicBezTo>
                    <a:pt x="382" y="122"/>
                    <a:pt x="397" y="129"/>
                    <a:pt x="415" y="129"/>
                  </a:cubicBezTo>
                  <a:cubicBezTo>
                    <a:pt x="433" y="129"/>
                    <a:pt x="449" y="122"/>
                    <a:pt x="460" y="112"/>
                  </a:cubicBezTo>
                  <a:cubicBezTo>
                    <a:pt x="470" y="122"/>
                    <a:pt x="486" y="129"/>
                    <a:pt x="504" y="129"/>
                  </a:cubicBezTo>
                  <a:cubicBezTo>
                    <a:pt x="522" y="129"/>
                    <a:pt x="538" y="122"/>
                    <a:pt x="548" y="112"/>
                  </a:cubicBezTo>
                  <a:cubicBezTo>
                    <a:pt x="559" y="122"/>
                    <a:pt x="575" y="129"/>
                    <a:pt x="593" y="129"/>
                  </a:cubicBezTo>
                  <a:cubicBezTo>
                    <a:pt x="611" y="129"/>
                    <a:pt x="626" y="122"/>
                    <a:pt x="637" y="112"/>
                  </a:cubicBezTo>
                  <a:cubicBezTo>
                    <a:pt x="648" y="122"/>
                    <a:pt x="664" y="129"/>
                    <a:pt x="682" y="129"/>
                  </a:cubicBezTo>
                  <a:cubicBezTo>
                    <a:pt x="714" y="129"/>
                    <a:pt x="741" y="107"/>
                    <a:pt x="741" y="80"/>
                  </a:cubicBezTo>
                  <a:lnTo>
                    <a:pt x="741" y="80"/>
                  </a:lnTo>
                  <a:lnTo>
                    <a:pt x="682" y="0"/>
                  </a:lnTo>
                  <a:lnTo>
                    <a:pt x="326" y="0"/>
                  </a:lnTo>
                  <a:lnTo>
                    <a:pt x="2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Commerce"/>
            <p:cNvSpPr>
              <a:spLocks noChangeArrowheads="1"/>
            </p:cNvSpPr>
            <p:nvPr>
              <p:custDataLst>
                <p:tags r:id="rId8"/>
              </p:custDataLst>
            </p:nvPr>
          </p:nvSpPr>
          <p:spPr bwMode="auto">
            <a:xfrm>
              <a:off x="73" y="427"/>
              <a:ext cx="83" cy="3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Commerce"/>
            <p:cNvSpPr>
              <a:spLocks noEditPoints="1"/>
            </p:cNvSpPr>
            <p:nvPr>
              <p:custDataLst>
                <p:tags r:id="rId9"/>
              </p:custDataLst>
            </p:nvPr>
          </p:nvSpPr>
          <p:spPr bwMode="auto">
            <a:xfrm>
              <a:off x="73" y="195"/>
              <a:ext cx="189" cy="225"/>
            </a:xfrm>
            <a:custGeom>
              <a:avLst/>
              <a:gdLst>
                <a:gd name="T0" fmla="*/ 188 w 504"/>
                <a:gd name="T1" fmla="*/ 448 h 596"/>
                <a:gd name="T2" fmla="*/ 175 w 504"/>
                <a:gd name="T3" fmla="*/ 436 h 596"/>
                <a:gd name="T4" fmla="*/ 171 w 504"/>
                <a:gd name="T5" fmla="*/ 429 h 596"/>
                <a:gd name="T6" fmla="*/ 167 w 504"/>
                <a:gd name="T7" fmla="*/ 420 h 596"/>
                <a:gd name="T8" fmla="*/ 165 w 504"/>
                <a:gd name="T9" fmla="*/ 413 h 596"/>
                <a:gd name="T10" fmla="*/ 164 w 504"/>
                <a:gd name="T11" fmla="*/ 403 h 596"/>
                <a:gd name="T12" fmla="*/ 204 w 504"/>
                <a:gd name="T13" fmla="*/ 345 h 596"/>
                <a:gd name="T14" fmla="*/ 300 w 504"/>
                <a:gd name="T15" fmla="*/ 298 h 596"/>
                <a:gd name="T16" fmla="*/ 357 w 504"/>
                <a:gd name="T17" fmla="*/ 310 h 596"/>
                <a:gd name="T18" fmla="*/ 453 w 504"/>
                <a:gd name="T19" fmla="*/ 298 h 596"/>
                <a:gd name="T20" fmla="*/ 504 w 504"/>
                <a:gd name="T21" fmla="*/ 310 h 596"/>
                <a:gd name="T22" fmla="*/ 0 w 504"/>
                <a:gd name="T23" fmla="*/ 0 h 596"/>
                <a:gd name="T24" fmla="*/ 223 w 504"/>
                <a:gd name="T25" fmla="*/ 596 h 596"/>
                <a:gd name="T26" fmla="*/ 204 w 504"/>
                <a:gd name="T27" fmla="*/ 542 h 596"/>
                <a:gd name="T28" fmla="*/ 357 w 504"/>
                <a:gd name="T29" fmla="*/ 36 h 596"/>
                <a:gd name="T30" fmla="*/ 453 w 504"/>
                <a:gd name="T31" fmla="*/ 135 h 596"/>
                <a:gd name="T32" fmla="*/ 357 w 504"/>
                <a:gd name="T33" fmla="*/ 36 h 596"/>
                <a:gd name="T34" fmla="*/ 453 w 504"/>
                <a:gd name="T35" fmla="*/ 165 h 596"/>
                <a:gd name="T36" fmla="*/ 357 w 504"/>
                <a:gd name="T37" fmla="*/ 264 h 596"/>
                <a:gd name="T38" fmla="*/ 204 w 504"/>
                <a:gd name="T39" fmla="*/ 36 h 596"/>
                <a:gd name="T40" fmla="*/ 300 w 504"/>
                <a:gd name="T41" fmla="*/ 135 h 596"/>
                <a:gd name="T42" fmla="*/ 204 w 504"/>
                <a:gd name="T43" fmla="*/ 36 h 596"/>
                <a:gd name="T44" fmla="*/ 300 w 504"/>
                <a:gd name="T45" fmla="*/ 165 h 596"/>
                <a:gd name="T46" fmla="*/ 204 w 504"/>
                <a:gd name="T47" fmla="*/ 264 h 596"/>
                <a:gd name="T48" fmla="*/ 150 w 504"/>
                <a:gd name="T49" fmla="*/ 542 h 596"/>
                <a:gd name="T50" fmla="*/ 54 w 504"/>
                <a:gd name="T51" fmla="*/ 444 h 596"/>
                <a:gd name="T52" fmla="*/ 150 w 504"/>
                <a:gd name="T53" fmla="*/ 542 h 596"/>
                <a:gd name="T54" fmla="*/ 54 w 504"/>
                <a:gd name="T55" fmla="*/ 397 h 596"/>
                <a:gd name="T56" fmla="*/ 150 w 504"/>
                <a:gd name="T57" fmla="*/ 298 h 596"/>
                <a:gd name="T58" fmla="*/ 150 w 504"/>
                <a:gd name="T59" fmla="*/ 264 h 596"/>
                <a:gd name="T60" fmla="*/ 54 w 504"/>
                <a:gd name="T61" fmla="*/ 165 h 596"/>
                <a:gd name="T62" fmla="*/ 150 w 504"/>
                <a:gd name="T63" fmla="*/ 264 h 596"/>
                <a:gd name="T64" fmla="*/ 54 w 504"/>
                <a:gd name="T65" fmla="*/ 135 h 596"/>
                <a:gd name="T66" fmla="*/ 150 w 504"/>
                <a:gd name="T67" fmla="*/ 3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4" h="596">
                  <a:moveTo>
                    <a:pt x="204" y="457"/>
                  </a:moveTo>
                  <a:cubicBezTo>
                    <a:pt x="198" y="455"/>
                    <a:pt x="193" y="452"/>
                    <a:pt x="188" y="448"/>
                  </a:cubicBezTo>
                  <a:cubicBezTo>
                    <a:pt x="188" y="448"/>
                    <a:pt x="188" y="448"/>
                    <a:pt x="187" y="448"/>
                  </a:cubicBezTo>
                  <a:cubicBezTo>
                    <a:pt x="183" y="444"/>
                    <a:pt x="179" y="440"/>
                    <a:pt x="175" y="436"/>
                  </a:cubicBezTo>
                  <a:cubicBezTo>
                    <a:pt x="175" y="435"/>
                    <a:pt x="175" y="435"/>
                    <a:pt x="174" y="435"/>
                  </a:cubicBezTo>
                  <a:cubicBezTo>
                    <a:pt x="173" y="433"/>
                    <a:pt x="172" y="431"/>
                    <a:pt x="171" y="429"/>
                  </a:cubicBezTo>
                  <a:cubicBezTo>
                    <a:pt x="170" y="428"/>
                    <a:pt x="170" y="428"/>
                    <a:pt x="170" y="427"/>
                  </a:cubicBezTo>
                  <a:cubicBezTo>
                    <a:pt x="169" y="425"/>
                    <a:pt x="168" y="423"/>
                    <a:pt x="167" y="420"/>
                  </a:cubicBezTo>
                  <a:cubicBezTo>
                    <a:pt x="167" y="420"/>
                    <a:pt x="167" y="419"/>
                    <a:pt x="166" y="419"/>
                  </a:cubicBezTo>
                  <a:cubicBezTo>
                    <a:pt x="166" y="417"/>
                    <a:pt x="165" y="415"/>
                    <a:pt x="165" y="413"/>
                  </a:cubicBezTo>
                  <a:cubicBezTo>
                    <a:pt x="165" y="412"/>
                    <a:pt x="164" y="411"/>
                    <a:pt x="164" y="411"/>
                  </a:cubicBezTo>
                  <a:cubicBezTo>
                    <a:pt x="164" y="408"/>
                    <a:pt x="164" y="405"/>
                    <a:pt x="164" y="403"/>
                  </a:cubicBezTo>
                  <a:cubicBezTo>
                    <a:pt x="164" y="400"/>
                    <a:pt x="164" y="398"/>
                    <a:pt x="166" y="396"/>
                  </a:cubicBezTo>
                  <a:lnTo>
                    <a:pt x="204" y="345"/>
                  </a:lnTo>
                  <a:lnTo>
                    <a:pt x="204" y="298"/>
                  </a:lnTo>
                  <a:lnTo>
                    <a:pt x="300" y="298"/>
                  </a:lnTo>
                  <a:lnTo>
                    <a:pt x="300" y="310"/>
                  </a:lnTo>
                  <a:lnTo>
                    <a:pt x="357" y="310"/>
                  </a:lnTo>
                  <a:lnTo>
                    <a:pt x="357" y="298"/>
                  </a:lnTo>
                  <a:lnTo>
                    <a:pt x="453" y="298"/>
                  </a:lnTo>
                  <a:lnTo>
                    <a:pt x="453" y="310"/>
                  </a:lnTo>
                  <a:lnTo>
                    <a:pt x="504" y="310"/>
                  </a:lnTo>
                  <a:lnTo>
                    <a:pt x="504" y="0"/>
                  </a:lnTo>
                  <a:lnTo>
                    <a:pt x="0" y="0"/>
                  </a:lnTo>
                  <a:lnTo>
                    <a:pt x="0" y="596"/>
                  </a:lnTo>
                  <a:lnTo>
                    <a:pt x="223" y="596"/>
                  </a:lnTo>
                  <a:lnTo>
                    <a:pt x="223" y="542"/>
                  </a:lnTo>
                  <a:lnTo>
                    <a:pt x="204" y="542"/>
                  </a:lnTo>
                  <a:lnTo>
                    <a:pt x="204" y="457"/>
                  </a:lnTo>
                  <a:close/>
                  <a:moveTo>
                    <a:pt x="357" y="36"/>
                  </a:moveTo>
                  <a:lnTo>
                    <a:pt x="453" y="36"/>
                  </a:lnTo>
                  <a:lnTo>
                    <a:pt x="453" y="135"/>
                  </a:lnTo>
                  <a:lnTo>
                    <a:pt x="357" y="135"/>
                  </a:lnTo>
                  <a:lnTo>
                    <a:pt x="357" y="36"/>
                  </a:lnTo>
                  <a:close/>
                  <a:moveTo>
                    <a:pt x="357" y="165"/>
                  </a:moveTo>
                  <a:lnTo>
                    <a:pt x="453" y="165"/>
                  </a:lnTo>
                  <a:lnTo>
                    <a:pt x="453" y="264"/>
                  </a:lnTo>
                  <a:lnTo>
                    <a:pt x="357" y="264"/>
                  </a:lnTo>
                  <a:lnTo>
                    <a:pt x="357" y="165"/>
                  </a:lnTo>
                  <a:close/>
                  <a:moveTo>
                    <a:pt x="204" y="36"/>
                  </a:moveTo>
                  <a:lnTo>
                    <a:pt x="300" y="36"/>
                  </a:lnTo>
                  <a:lnTo>
                    <a:pt x="300" y="135"/>
                  </a:lnTo>
                  <a:lnTo>
                    <a:pt x="204" y="135"/>
                  </a:lnTo>
                  <a:lnTo>
                    <a:pt x="204" y="36"/>
                  </a:lnTo>
                  <a:close/>
                  <a:moveTo>
                    <a:pt x="204" y="165"/>
                  </a:moveTo>
                  <a:lnTo>
                    <a:pt x="300" y="165"/>
                  </a:lnTo>
                  <a:lnTo>
                    <a:pt x="300" y="264"/>
                  </a:lnTo>
                  <a:lnTo>
                    <a:pt x="204" y="264"/>
                  </a:lnTo>
                  <a:lnTo>
                    <a:pt x="204" y="165"/>
                  </a:lnTo>
                  <a:close/>
                  <a:moveTo>
                    <a:pt x="150" y="542"/>
                  </a:moveTo>
                  <a:lnTo>
                    <a:pt x="54" y="542"/>
                  </a:lnTo>
                  <a:lnTo>
                    <a:pt x="54" y="444"/>
                  </a:lnTo>
                  <a:lnTo>
                    <a:pt x="150" y="444"/>
                  </a:lnTo>
                  <a:lnTo>
                    <a:pt x="150" y="542"/>
                  </a:lnTo>
                  <a:close/>
                  <a:moveTo>
                    <a:pt x="150" y="397"/>
                  </a:moveTo>
                  <a:lnTo>
                    <a:pt x="54" y="397"/>
                  </a:lnTo>
                  <a:lnTo>
                    <a:pt x="54" y="298"/>
                  </a:lnTo>
                  <a:lnTo>
                    <a:pt x="150" y="298"/>
                  </a:lnTo>
                  <a:lnTo>
                    <a:pt x="150" y="397"/>
                  </a:lnTo>
                  <a:close/>
                  <a:moveTo>
                    <a:pt x="150" y="264"/>
                  </a:moveTo>
                  <a:lnTo>
                    <a:pt x="54" y="264"/>
                  </a:lnTo>
                  <a:lnTo>
                    <a:pt x="54" y="165"/>
                  </a:lnTo>
                  <a:lnTo>
                    <a:pt x="150" y="165"/>
                  </a:lnTo>
                  <a:lnTo>
                    <a:pt x="150" y="264"/>
                  </a:lnTo>
                  <a:close/>
                  <a:moveTo>
                    <a:pt x="150" y="135"/>
                  </a:moveTo>
                  <a:lnTo>
                    <a:pt x="54" y="135"/>
                  </a:lnTo>
                  <a:lnTo>
                    <a:pt x="54" y="36"/>
                  </a:lnTo>
                  <a:lnTo>
                    <a:pt x="150" y="36"/>
                  </a:lnTo>
                  <a:lnTo>
                    <a:pt x="150" y="1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Commerce"/>
            <p:cNvSpPr>
              <a:spLocks/>
            </p:cNvSpPr>
            <p:nvPr>
              <p:custDataLst>
                <p:tags r:id="rId10"/>
              </p:custDataLst>
            </p:nvPr>
          </p:nvSpPr>
          <p:spPr bwMode="auto">
            <a:xfrm>
              <a:off x="244" y="8"/>
              <a:ext cx="111" cy="304"/>
            </a:xfrm>
            <a:custGeom>
              <a:avLst/>
              <a:gdLst>
                <a:gd name="T0" fmla="*/ 64 w 296"/>
                <a:gd name="T1" fmla="*/ 428 h 807"/>
                <a:gd name="T2" fmla="*/ 64 w 296"/>
                <a:gd name="T3" fmla="*/ 484 h 807"/>
                <a:gd name="T4" fmla="*/ 63 w 296"/>
                <a:gd name="T5" fmla="*/ 488 h 807"/>
                <a:gd name="T6" fmla="*/ 64 w 296"/>
                <a:gd name="T7" fmla="*/ 491 h 807"/>
                <a:gd name="T8" fmla="*/ 64 w 296"/>
                <a:gd name="T9" fmla="*/ 807 h 807"/>
                <a:gd name="T10" fmla="*/ 296 w 296"/>
                <a:gd name="T11" fmla="*/ 807 h 807"/>
                <a:gd name="T12" fmla="*/ 296 w 296"/>
                <a:gd name="T13" fmla="*/ 371 h 807"/>
                <a:gd name="T14" fmla="*/ 282 w 296"/>
                <a:gd name="T15" fmla="*/ 371 h 807"/>
                <a:gd name="T16" fmla="*/ 282 w 296"/>
                <a:gd name="T17" fmla="*/ 256 h 807"/>
                <a:gd name="T18" fmla="*/ 262 w 296"/>
                <a:gd name="T19" fmla="*/ 256 h 807"/>
                <a:gd name="T20" fmla="*/ 262 w 296"/>
                <a:gd name="T21" fmla="*/ 196 h 807"/>
                <a:gd name="T22" fmla="*/ 252 w 296"/>
                <a:gd name="T23" fmla="*/ 196 h 807"/>
                <a:gd name="T24" fmla="*/ 252 w 296"/>
                <a:gd name="T25" fmla="*/ 167 h 807"/>
                <a:gd name="T26" fmla="*/ 228 w 296"/>
                <a:gd name="T27" fmla="*/ 167 h 807"/>
                <a:gd name="T28" fmla="*/ 228 w 296"/>
                <a:gd name="T29" fmla="*/ 145 h 807"/>
                <a:gd name="T30" fmla="*/ 200 w 296"/>
                <a:gd name="T31" fmla="*/ 145 h 807"/>
                <a:gd name="T32" fmla="*/ 200 w 296"/>
                <a:gd name="T33" fmla="*/ 135 h 807"/>
                <a:gd name="T34" fmla="*/ 190 w 296"/>
                <a:gd name="T35" fmla="*/ 135 h 807"/>
                <a:gd name="T36" fmla="*/ 185 w 296"/>
                <a:gd name="T37" fmla="*/ 104 h 807"/>
                <a:gd name="T38" fmla="*/ 181 w 296"/>
                <a:gd name="T39" fmla="*/ 101 h 807"/>
                <a:gd name="T40" fmla="*/ 178 w 296"/>
                <a:gd name="T41" fmla="*/ 79 h 807"/>
                <a:gd name="T42" fmla="*/ 173 w 296"/>
                <a:gd name="T43" fmla="*/ 79 h 807"/>
                <a:gd name="T44" fmla="*/ 154 w 296"/>
                <a:gd name="T45" fmla="*/ 0 h 807"/>
                <a:gd name="T46" fmla="*/ 142 w 296"/>
                <a:gd name="T47" fmla="*/ 0 h 807"/>
                <a:gd name="T48" fmla="*/ 123 w 296"/>
                <a:gd name="T49" fmla="*/ 79 h 807"/>
                <a:gd name="T50" fmla="*/ 119 w 296"/>
                <a:gd name="T51" fmla="*/ 79 h 807"/>
                <a:gd name="T52" fmla="*/ 115 w 296"/>
                <a:gd name="T53" fmla="*/ 101 h 807"/>
                <a:gd name="T54" fmla="*/ 111 w 296"/>
                <a:gd name="T55" fmla="*/ 104 h 807"/>
                <a:gd name="T56" fmla="*/ 106 w 296"/>
                <a:gd name="T57" fmla="*/ 135 h 807"/>
                <a:gd name="T58" fmla="*/ 96 w 296"/>
                <a:gd name="T59" fmla="*/ 135 h 807"/>
                <a:gd name="T60" fmla="*/ 96 w 296"/>
                <a:gd name="T61" fmla="*/ 145 h 807"/>
                <a:gd name="T62" fmla="*/ 69 w 296"/>
                <a:gd name="T63" fmla="*/ 145 h 807"/>
                <a:gd name="T64" fmla="*/ 69 w 296"/>
                <a:gd name="T65" fmla="*/ 167 h 807"/>
                <a:gd name="T66" fmla="*/ 45 w 296"/>
                <a:gd name="T67" fmla="*/ 167 h 807"/>
                <a:gd name="T68" fmla="*/ 45 w 296"/>
                <a:gd name="T69" fmla="*/ 196 h 807"/>
                <a:gd name="T70" fmla="*/ 35 w 296"/>
                <a:gd name="T71" fmla="*/ 196 h 807"/>
                <a:gd name="T72" fmla="*/ 35 w 296"/>
                <a:gd name="T73" fmla="*/ 256 h 807"/>
                <a:gd name="T74" fmla="*/ 15 w 296"/>
                <a:gd name="T75" fmla="*/ 256 h 807"/>
                <a:gd name="T76" fmla="*/ 15 w 296"/>
                <a:gd name="T77" fmla="*/ 371 h 807"/>
                <a:gd name="T78" fmla="*/ 0 w 296"/>
                <a:gd name="T79" fmla="*/ 371 h 807"/>
                <a:gd name="T80" fmla="*/ 0 w 296"/>
                <a:gd name="T81" fmla="*/ 415 h 807"/>
                <a:gd name="T82" fmla="*/ 49 w 296"/>
                <a:gd name="T83" fmla="*/ 415 h 807"/>
                <a:gd name="T84" fmla="*/ 64 w 296"/>
                <a:gd name="T85" fmla="*/ 428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6" h="807">
                  <a:moveTo>
                    <a:pt x="64" y="428"/>
                  </a:moveTo>
                  <a:lnTo>
                    <a:pt x="64" y="484"/>
                  </a:lnTo>
                  <a:cubicBezTo>
                    <a:pt x="64" y="486"/>
                    <a:pt x="64" y="487"/>
                    <a:pt x="63" y="488"/>
                  </a:cubicBezTo>
                  <a:cubicBezTo>
                    <a:pt x="64" y="489"/>
                    <a:pt x="64" y="490"/>
                    <a:pt x="64" y="491"/>
                  </a:cubicBezTo>
                  <a:lnTo>
                    <a:pt x="64" y="807"/>
                  </a:lnTo>
                  <a:lnTo>
                    <a:pt x="296" y="807"/>
                  </a:lnTo>
                  <a:lnTo>
                    <a:pt x="296" y="371"/>
                  </a:lnTo>
                  <a:lnTo>
                    <a:pt x="282" y="371"/>
                  </a:lnTo>
                  <a:lnTo>
                    <a:pt x="282" y="256"/>
                  </a:lnTo>
                  <a:lnTo>
                    <a:pt x="262" y="256"/>
                  </a:lnTo>
                  <a:lnTo>
                    <a:pt x="262" y="196"/>
                  </a:lnTo>
                  <a:lnTo>
                    <a:pt x="252" y="196"/>
                  </a:lnTo>
                  <a:lnTo>
                    <a:pt x="252" y="167"/>
                  </a:lnTo>
                  <a:lnTo>
                    <a:pt x="228" y="167"/>
                  </a:lnTo>
                  <a:lnTo>
                    <a:pt x="228" y="145"/>
                  </a:lnTo>
                  <a:lnTo>
                    <a:pt x="200" y="145"/>
                  </a:lnTo>
                  <a:lnTo>
                    <a:pt x="200" y="135"/>
                  </a:lnTo>
                  <a:lnTo>
                    <a:pt x="190" y="135"/>
                  </a:lnTo>
                  <a:lnTo>
                    <a:pt x="185" y="104"/>
                  </a:lnTo>
                  <a:lnTo>
                    <a:pt x="181" y="101"/>
                  </a:lnTo>
                  <a:lnTo>
                    <a:pt x="178" y="79"/>
                  </a:lnTo>
                  <a:lnTo>
                    <a:pt x="173" y="79"/>
                  </a:lnTo>
                  <a:lnTo>
                    <a:pt x="154" y="0"/>
                  </a:lnTo>
                  <a:lnTo>
                    <a:pt x="142" y="0"/>
                  </a:lnTo>
                  <a:lnTo>
                    <a:pt x="123" y="79"/>
                  </a:lnTo>
                  <a:lnTo>
                    <a:pt x="119" y="79"/>
                  </a:lnTo>
                  <a:lnTo>
                    <a:pt x="115" y="101"/>
                  </a:lnTo>
                  <a:lnTo>
                    <a:pt x="111" y="104"/>
                  </a:lnTo>
                  <a:lnTo>
                    <a:pt x="106" y="135"/>
                  </a:lnTo>
                  <a:lnTo>
                    <a:pt x="96" y="135"/>
                  </a:lnTo>
                  <a:lnTo>
                    <a:pt x="96" y="145"/>
                  </a:lnTo>
                  <a:lnTo>
                    <a:pt x="69" y="145"/>
                  </a:lnTo>
                  <a:lnTo>
                    <a:pt x="69" y="167"/>
                  </a:lnTo>
                  <a:lnTo>
                    <a:pt x="45" y="167"/>
                  </a:lnTo>
                  <a:lnTo>
                    <a:pt x="45" y="196"/>
                  </a:lnTo>
                  <a:lnTo>
                    <a:pt x="35" y="196"/>
                  </a:lnTo>
                  <a:lnTo>
                    <a:pt x="35" y="256"/>
                  </a:lnTo>
                  <a:lnTo>
                    <a:pt x="15" y="256"/>
                  </a:lnTo>
                  <a:lnTo>
                    <a:pt x="15" y="371"/>
                  </a:lnTo>
                  <a:lnTo>
                    <a:pt x="0" y="371"/>
                  </a:lnTo>
                  <a:lnTo>
                    <a:pt x="0" y="415"/>
                  </a:lnTo>
                  <a:lnTo>
                    <a:pt x="49" y="415"/>
                  </a:lnTo>
                  <a:cubicBezTo>
                    <a:pt x="57" y="415"/>
                    <a:pt x="64" y="421"/>
                    <a:pt x="64" y="4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5" name="Dikdörtgen 24"/>
          <p:cNvSpPr/>
          <p:nvPr/>
        </p:nvSpPr>
        <p:spPr>
          <a:xfrm>
            <a:off x="2606009" y="307641"/>
            <a:ext cx="7553991" cy="584775"/>
          </a:xfrm>
          <a:prstGeom prst="rect">
            <a:avLst/>
          </a:prstGeom>
        </p:spPr>
        <p:txBody>
          <a:bodyPr wrap="none">
            <a:spAutoFit/>
          </a:bodyPr>
          <a:lstStyle/>
          <a:p>
            <a:r>
              <a:rPr lang="tr-TR" sz="3200" b="1" dirty="0" smtClean="0">
                <a:solidFill>
                  <a:srgbClr val="0070C0"/>
                </a:solidFill>
              </a:rPr>
              <a:t>TEKNOLOJİ GELİŞTİRME MERKEZİ (TEKMER)</a:t>
            </a:r>
            <a:endParaRPr lang="en-US" sz="3200" dirty="0"/>
          </a:p>
        </p:txBody>
      </p:sp>
    </p:spTree>
    <p:extLst>
      <p:ext uri="{BB962C8B-B14F-4D97-AF65-F5344CB8AC3E}">
        <p14:creationId xmlns:p14="http://schemas.microsoft.com/office/powerpoint/2010/main" val="30697064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32</a:t>
            </a:fld>
            <a:endParaRPr lang="en-CA">
              <a:solidFill>
                <a:prstClr val="black">
                  <a:tint val="75000"/>
                </a:prstClr>
              </a:solidFill>
            </a:endParaRPr>
          </a:p>
        </p:txBody>
      </p:sp>
      <p:pic>
        <p:nvPicPr>
          <p:cNvPr id="8" name="Resim 7"/>
          <p:cNvPicPr>
            <a:picLocks noChangeAspect="1"/>
          </p:cNvPicPr>
          <p:nvPr/>
        </p:nvPicPr>
        <p:blipFill rotWithShape="1">
          <a:blip r:embed="rId2" cstate="print">
            <a:extLst>
              <a:ext uri="{28A0092B-C50C-407E-A947-70E740481C1C}">
                <a14:useLocalDpi xmlns:a14="http://schemas.microsoft.com/office/drawing/2010/main" val="0"/>
              </a:ext>
            </a:extLst>
          </a:blip>
          <a:srcRect l="46910"/>
          <a:stretch/>
        </p:blipFill>
        <p:spPr>
          <a:xfrm>
            <a:off x="0" y="0"/>
            <a:ext cx="5891443" cy="6858000"/>
          </a:xfrm>
          <a:prstGeom prst="rect">
            <a:avLst/>
          </a:prstGeom>
        </p:spPr>
      </p:pic>
      <p:pic>
        <p:nvPicPr>
          <p:cNvPr id="10" name="Picture 3"/>
          <p:cNvPicPr>
            <a:picLocks noChangeAspect="1" noChangeArrowheads="1"/>
          </p:cNvPicPr>
          <p:nvPr/>
        </p:nvPicPr>
        <p:blipFill>
          <a:blip r:embed="rId3" cstate="print"/>
          <a:srcRect/>
          <a:stretch>
            <a:fillRect/>
          </a:stretch>
        </p:blipFill>
        <p:spPr bwMode="auto">
          <a:xfrm>
            <a:off x="10859643" y="345041"/>
            <a:ext cx="722757" cy="509801"/>
          </a:xfrm>
          <a:prstGeom prst="rect">
            <a:avLst/>
          </a:prstGeom>
          <a:noFill/>
          <a:ln w="9525">
            <a:noFill/>
            <a:miter lim="800000"/>
            <a:headEnd/>
            <a:tailEnd/>
          </a:ln>
        </p:spPr>
      </p:pic>
      <p:sp>
        <p:nvSpPr>
          <p:cNvPr id="11" name="Rectangle 7"/>
          <p:cNvSpPr/>
          <p:nvPr/>
        </p:nvSpPr>
        <p:spPr>
          <a:xfrm>
            <a:off x="6525911" y="950092"/>
            <a:ext cx="5666089" cy="6376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Wingdings" panose="05000000000000000000" pitchFamily="2" charset="2"/>
              <a:buChar char="ü"/>
              <a:defRPr/>
            </a:pPr>
            <a:r>
              <a:rPr lang="tr-TR" sz="2000" dirty="0" smtClean="0">
                <a:solidFill>
                  <a:prstClr val="black"/>
                </a:solidFill>
              </a:rPr>
              <a:t>Üniversiteler </a:t>
            </a:r>
            <a:endParaRPr lang="tr-TR" sz="2000" dirty="0">
              <a:solidFill>
                <a:prstClr val="black"/>
              </a:solidFill>
            </a:endParaRPr>
          </a:p>
          <a:p>
            <a:pPr marL="342900" indent="-342900">
              <a:buFont typeface="Wingdings" panose="05000000000000000000" pitchFamily="2" charset="2"/>
              <a:buChar char="ü"/>
              <a:defRPr/>
            </a:pPr>
            <a:r>
              <a:rPr lang="tr-TR" sz="2000" dirty="0">
                <a:solidFill>
                  <a:prstClr val="black"/>
                </a:solidFill>
              </a:rPr>
              <a:t>TGB Yönetici Şirketleri</a:t>
            </a:r>
          </a:p>
          <a:p>
            <a:pPr>
              <a:defRPr/>
            </a:pPr>
            <a:r>
              <a:rPr lang="tr-TR" sz="2000" dirty="0">
                <a:solidFill>
                  <a:schemeClr val="tx1"/>
                </a:solidFill>
              </a:rPr>
              <a:t>münferiden</a:t>
            </a:r>
            <a:r>
              <a:rPr lang="tr-TR" sz="2000" dirty="0">
                <a:solidFill>
                  <a:srgbClr val="FF0000"/>
                </a:solidFill>
              </a:rPr>
              <a:t> </a:t>
            </a:r>
            <a:r>
              <a:rPr lang="tr-TR" sz="2000" dirty="0">
                <a:solidFill>
                  <a:prstClr val="black"/>
                </a:solidFill>
              </a:rPr>
              <a:t>başvuru yapabilir. </a:t>
            </a:r>
            <a:endParaRPr lang="tr-TR" sz="2000" b="1" kern="0" dirty="0">
              <a:solidFill>
                <a:srgbClr val="FF0000"/>
              </a:solidFill>
            </a:endParaRPr>
          </a:p>
          <a:p>
            <a:pPr algn="ctr">
              <a:defRPr/>
            </a:pPr>
            <a:endParaRPr lang="tr-TR" sz="2000" b="1" kern="0" dirty="0" smtClean="0">
              <a:solidFill>
                <a:srgbClr val="FF0000"/>
              </a:solidFill>
            </a:endParaRPr>
          </a:p>
          <a:p>
            <a:pPr marL="342900" indent="-342900">
              <a:buFont typeface="Wingdings" panose="05000000000000000000" pitchFamily="2" charset="2"/>
              <a:buChar char="ü"/>
              <a:defRPr/>
            </a:pPr>
            <a:r>
              <a:rPr lang="tr-TR" kern="0" dirty="0" smtClean="0">
                <a:solidFill>
                  <a:prstClr val="black"/>
                </a:solidFill>
              </a:rPr>
              <a:t>Kamu </a:t>
            </a:r>
            <a:r>
              <a:rPr lang="tr-TR" kern="0" dirty="0">
                <a:solidFill>
                  <a:prstClr val="black"/>
                </a:solidFill>
              </a:rPr>
              <a:t>kurum/kuruluşları </a:t>
            </a:r>
          </a:p>
          <a:p>
            <a:pPr marL="342900" indent="-342900">
              <a:buFont typeface="Wingdings" panose="05000000000000000000" pitchFamily="2" charset="2"/>
              <a:buChar char="ü"/>
              <a:defRPr/>
            </a:pPr>
            <a:r>
              <a:rPr lang="tr-TR" kern="0" dirty="0">
                <a:solidFill>
                  <a:prstClr val="black"/>
                </a:solidFill>
              </a:rPr>
              <a:t>Organize Sanayi Bölgeleri</a:t>
            </a:r>
          </a:p>
          <a:p>
            <a:pPr marL="342900" indent="-342900">
              <a:buFont typeface="Wingdings" panose="05000000000000000000" pitchFamily="2" charset="2"/>
              <a:buChar char="ü"/>
              <a:defRPr/>
            </a:pPr>
            <a:r>
              <a:rPr lang="tr-TR" kern="0" dirty="0">
                <a:solidFill>
                  <a:prstClr val="black"/>
                </a:solidFill>
              </a:rPr>
              <a:t>Teknoloji Transfer Ofisleri</a:t>
            </a:r>
          </a:p>
          <a:p>
            <a:pPr marL="342900" indent="-342900">
              <a:buFont typeface="Wingdings" panose="05000000000000000000" pitchFamily="2" charset="2"/>
              <a:buChar char="ü"/>
              <a:defRPr/>
            </a:pPr>
            <a:r>
              <a:rPr lang="tr-TR" kern="0" dirty="0">
                <a:solidFill>
                  <a:prstClr val="black"/>
                </a:solidFill>
              </a:rPr>
              <a:t>İşletmeler</a:t>
            </a:r>
          </a:p>
          <a:p>
            <a:pPr marL="342900" indent="-342900">
              <a:buFont typeface="Wingdings" panose="05000000000000000000" pitchFamily="2" charset="2"/>
              <a:buChar char="ü"/>
              <a:defRPr/>
            </a:pPr>
            <a:r>
              <a:rPr lang="tr-TR" kern="0" dirty="0" smtClean="0">
                <a:solidFill>
                  <a:prstClr val="black"/>
                </a:solidFill>
              </a:rPr>
              <a:t>Kurucu niteliği taşıyanlar,</a:t>
            </a:r>
          </a:p>
          <a:p>
            <a:pPr marL="285750" indent="-285750">
              <a:buFont typeface="Wingdings" panose="05000000000000000000" pitchFamily="2" charset="2"/>
              <a:buChar char="ü"/>
              <a:defRPr/>
            </a:pPr>
            <a:r>
              <a:rPr lang="tr-TR" kern="0" dirty="0" smtClean="0">
                <a:solidFill>
                  <a:prstClr val="black"/>
                </a:solidFill>
              </a:rPr>
              <a:t> </a:t>
            </a:r>
            <a:r>
              <a:rPr lang="tr-TR" kern="0" dirty="0">
                <a:solidFill>
                  <a:prstClr val="black"/>
                </a:solidFill>
              </a:rPr>
              <a:t>TOBB’a bağlı odalar ve borsalar, </a:t>
            </a:r>
          </a:p>
          <a:p>
            <a:pPr marL="285750" indent="-285750">
              <a:buFont typeface="Wingdings" panose="05000000000000000000" pitchFamily="2" charset="2"/>
              <a:buChar char="ü"/>
              <a:defRPr/>
            </a:pPr>
            <a:r>
              <a:rPr lang="tr-TR" kern="0" dirty="0">
                <a:solidFill>
                  <a:prstClr val="black"/>
                </a:solidFill>
              </a:rPr>
              <a:t> İhracatçı birlikleri, </a:t>
            </a:r>
          </a:p>
          <a:p>
            <a:pPr marL="285750" indent="-285750">
              <a:buFont typeface="Wingdings" panose="05000000000000000000" pitchFamily="2" charset="2"/>
              <a:buChar char="ü"/>
              <a:defRPr/>
            </a:pPr>
            <a:r>
              <a:rPr lang="tr-TR" kern="0" dirty="0">
                <a:solidFill>
                  <a:prstClr val="black"/>
                </a:solidFill>
              </a:rPr>
              <a:t> Araştırma ve geliştirme enstitüleri/merkezleri,</a:t>
            </a:r>
          </a:p>
          <a:p>
            <a:pPr marL="285750" indent="-285750">
              <a:buFont typeface="Wingdings" panose="05000000000000000000" pitchFamily="2" charset="2"/>
              <a:buChar char="ü"/>
              <a:defRPr/>
            </a:pPr>
            <a:r>
              <a:rPr lang="tr-TR" kern="0" dirty="0">
                <a:solidFill>
                  <a:prstClr val="black"/>
                </a:solidFill>
              </a:rPr>
              <a:t> Girişimcilik, ar-ge, teknoloji geliştirme veya  tema/temalar ile ilgili vakıf, kooperatif, dernek ve birlikler, </a:t>
            </a:r>
          </a:p>
          <a:p>
            <a:pPr marL="285750" indent="-285750">
              <a:buFont typeface="Wingdings" panose="05000000000000000000" pitchFamily="2" charset="2"/>
              <a:buChar char="ü"/>
              <a:defRPr/>
            </a:pPr>
            <a:r>
              <a:rPr lang="tr-TR" kern="0" dirty="0" smtClean="0">
                <a:solidFill>
                  <a:prstClr val="black"/>
                </a:solidFill>
              </a:rPr>
              <a:t> Bireysel katılım yatırımcıları</a:t>
            </a:r>
          </a:p>
          <a:p>
            <a:pPr>
              <a:defRPr/>
            </a:pPr>
            <a:r>
              <a:rPr lang="tr-TR" sz="2000" dirty="0" smtClean="0">
                <a:solidFill>
                  <a:prstClr val="black"/>
                </a:solidFill>
              </a:rPr>
              <a:t>ise </a:t>
            </a:r>
            <a:r>
              <a:rPr lang="tr-TR" sz="2400" b="1" dirty="0">
                <a:solidFill>
                  <a:srgbClr val="FF0000"/>
                </a:solidFill>
              </a:rPr>
              <a:t>üniversite </a:t>
            </a:r>
            <a:r>
              <a:rPr lang="tr-TR" sz="2400" b="1" dirty="0" smtClean="0">
                <a:solidFill>
                  <a:srgbClr val="FF0000"/>
                </a:solidFill>
              </a:rPr>
              <a:t>ve TGB yönetici şirketleri ile </a:t>
            </a:r>
            <a:r>
              <a:rPr lang="tr-TR" sz="2400" b="1" dirty="0">
                <a:solidFill>
                  <a:srgbClr val="FF0000"/>
                </a:solidFill>
              </a:rPr>
              <a:t>işbirliği </a:t>
            </a:r>
            <a:r>
              <a:rPr lang="tr-TR" sz="2000" dirty="0">
                <a:solidFill>
                  <a:prstClr val="black"/>
                </a:solidFill>
              </a:rPr>
              <a:t>içerisinde başvuru yapabilirler</a:t>
            </a:r>
          </a:p>
        </p:txBody>
      </p:sp>
      <p:sp>
        <p:nvSpPr>
          <p:cNvPr id="13" name="Dikdörtgen 12"/>
          <p:cNvSpPr/>
          <p:nvPr/>
        </p:nvSpPr>
        <p:spPr>
          <a:xfrm>
            <a:off x="6136149" y="226525"/>
            <a:ext cx="4365041" cy="584775"/>
          </a:xfrm>
          <a:prstGeom prst="rect">
            <a:avLst/>
          </a:prstGeom>
        </p:spPr>
        <p:txBody>
          <a:bodyPr wrap="none">
            <a:spAutoFit/>
          </a:bodyPr>
          <a:lstStyle/>
          <a:p>
            <a:r>
              <a:rPr lang="tr-TR" sz="3200" b="1" dirty="0" smtClean="0">
                <a:solidFill>
                  <a:srgbClr val="0070C0"/>
                </a:solidFill>
              </a:rPr>
              <a:t>KİMLER BAŞVURABİLİR ?</a:t>
            </a:r>
            <a:endParaRPr lang="en-US" sz="3200" dirty="0"/>
          </a:p>
        </p:txBody>
      </p:sp>
    </p:spTree>
    <p:extLst>
      <p:ext uri="{BB962C8B-B14F-4D97-AF65-F5344CB8AC3E}">
        <p14:creationId xmlns:p14="http://schemas.microsoft.com/office/powerpoint/2010/main" val="19938540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33</a:t>
            </a:fld>
            <a:endParaRPr lang="en-CA">
              <a:solidFill>
                <a:prstClr val="black">
                  <a:tint val="75000"/>
                </a:prstClr>
              </a:solidFill>
            </a:endParaRPr>
          </a:p>
        </p:txBody>
      </p:sp>
      <p:pic>
        <p:nvPicPr>
          <p:cNvPr id="168" name="Picture 3"/>
          <p:cNvPicPr>
            <a:picLocks noChangeAspect="1" noChangeArrowheads="1"/>
          </p:cNvPicPr>
          <p:nvPr/>
        </p:nvPicPr>
        <p:blipFill>
          <a:blip r:embed="rId10" cstate="print"/>
          <a:srcRect/>
          <a:stretch>
            <a:fillRect/>
          </a:stretch>
        </p:blipFill>
        <p:spPr bwMode="auto">
          <a:xfrm>
            <a:off x="10859643" y="345041"/>
            <a:ext cx="722757" cy="509801"/>
          </a:xfrm>
          <a:prstGeom prst="rect">
            <a:avLst/>
          </a:prstGeom>
          <a:noFill/>
          <a:ln w="9525">
            <a:noFill/>
            <a:miter lim="800000"/>
            <a:headEnd/>
            <a:tailEnd/>
          </a:ln>
        </p:spPr>
      </p:pic>
      <p:grpSp>
        <p:nvGrpSpPr>
          <p:cNvPr id="13" name="Grup 12"/>
          <p:cNvGrpSpPr/>
          <p:nvPr/>
        </p:nvGrpSpPr>
        <p:grpSpPr>
          <a:xfrm>
            <a:off x="0" y="5108267"/>
            <a:ext cx="12185119" cy="1775439"/>
            <a:chOff x="0" y="3190567"/>
            <a:chExt cx="12185119" cy="1775439"/>
          </a:xfrm>
        </p:grpSpPr>
        <p:pic>
          <p:nvPicPr>
            <p:cNvPr id="2" name="Resim 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35571" y="3190568"/>
              <a:ext cx="2862029" cy="1773439"/>
            </a:xfrm>
            <a:prstGeom prst="rect">
              <a:avLst/>
            </a:prstGeom>
          </p:spPr>
        </p:pic>
        <p:pic>
          <p:nvPicPr>
            <p:cNvPr id="8" name="Resim 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197600" y="3190568"/>
              <a:ext cx="3073401" cy="1775438"/>
            </a:xfrm>
            <a:prstGeom prst="rect">
              <a:avLst/>
            </a:prstGeom>
          </p:spPr>
        </p:pic>
        <p:pic>
          <p:nvPicPr>
            <p:cNvPr id="10" name="Resim 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71001" y="3190567"/>
              <a:ext cx="2914118" cy="1773439"/>
            </a:xfrm>
            <a:prstGeom prst="rect">
              <a:avLst/>
            </a:prstGeom>
          </p:spPr>
        </p:pic>
        <p:pic>
          <p:nvPicPr>
            <p:cNvPr id="12" name="Resim 11"/>
            <p:cNvPicPr>
              <a:picLocks noChangeAspect="1"/>
            </p:cNvPicPr>
            <p:nvPr/>
          </p:nvPicPr>
          <p:blipFill rotWithShape="1">
            <a:blip r:embed="rId14" cstate="print">
              <a:extLst>
                <a:ext uri="{28A0092B-C50C-407E-A947-70E740481C1C}">
                  <a14:useLocalDpi xmlns:a14="http://schemas.microsoft.com/office/drawing/2010/main" val="0"/>
                </a:ext>
              </a:extLst>
            </a:blip>
            <a:srcRect b="8154"/>
            <a:stretch/>
          </p:blipFill>
          <p:spPr>
            <a:xfrm>
              <a:off x="0" y="3190569"/>
              <a:ext cx="3335571" cy="1773438"/>
            </a:xfrm>
            <a:prstGeom prst="rect">
              <a:avLst/>
            </a:prstGeom>
          </p:spPr>
        </p:pic>
      </p:grpSp>
      <p:sp>
        <p:nvSpPr>
          <p:cNvPr id="83" name="Rectangle 45"/>
          <p:cNvSpPr/>
          <p:nvPr/>
        </p:nvSpPr>
        <p:spPr>
          <a:xfrm>
            <a:off x="444727" y="1175814"/>
            <a:ext cx="4598761" cy="4840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defRPr/>
            </a:pPr>
            <a:r>
              <a:rPr lang="tr-TR" kern="0" dirty="0">
                <a:solidFill>
                  <a:prstClr val="black"/>
                </a:solidFill>
              </a:rPr>
              <a:t>En az 1.000 m2 kapalı kullanım alanı </a:t>
            </a:r>
          </a:p>
        </p:txBody>
      </p:sp>
      <p:sp>
        <p:nvSpPr>
          <p:cNvPr id="84" name="Rectangle 46"/>
          <p:cNvSpPr/>
          <p:nvPr/>
        </p:nvSpPr>
        <p:spPr>
          <a:xfrm>
            <a:off x="409685" y="3835780"/>
            <a:ext cx="4633803" cy="781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defRPr/>
            </a:pPr>
            <a:r>
              <a:rPr lang="tr-TR" sz="2000" kern="0" dirty="0" smtClean="0">
                <a:solidFill>
                  <a:schemeClr val="tx1"/>
                </a:solidFill>
                <a:latin typeface="Calibri" panose="020F0502020204030204" pitchFamily="34" charset="0"/>
                <a:cs typeface="Arial" pitchFamily="34" charset="0"/>
              </a:rPr>
              <a:t>D</a:t>
            </a:r>
            <a:r>
              <a:rPr lang="en-US" sz="2000" kern="0" dirty="0" err="1" smtClean="0">
                <a:solidFill>
                  <a:schemeClr val="tx1"/>
                </a:solidFill>
                <a:latin typeface="Calibri" panose="020F0502020204030204" pitchFamily="34" charset="0"/>
                <a:cs typeface="Arial" pitchFamily="34" charset="0"/>
              </a:rPr>
              <a:t>oluluk</a:t>
            </a:r>
            <a:r>
              <a:rPr lang="en-US" sz="2000" kern="0" dirty="0" smtClean="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oranı</a:t>
            </a:r>
            <a:r>
              <a:rPr lang="en-US" sz="2000" kern="0" dirty="0">
                <a:solidFill>
                  <a:schemeClr val="tx1"/>
                </a:solidFill>
                <a:latin typeface="Calibri" panose="020F0502020204030204" pitchFamily="34" charset="0"/>
                <a:cs typeface="Arial" pitchFamily="34" charset="0"/>
              </a:rPr>
              <a:t> program </a:t>
            </a:r>
            <a:r>
              <a:rPr lang="en-US" sz="2000" kern="0" dirty="0" err="1">
                <a:solidFill>
                  <a:schemeClr val="tx1"/>
                </a:solidFill>
                <a:latin typeface="Calibri" panose="020F0502020204030204" pitchFamily="34" charset="0"/>
                <a:cs typeface="Arial" pitchFamily="34" charset="0"/>
              </a:rPr>
              <a:t>başlangıç</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tarihinden</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itibaren</a:t>
            </a:r>
            <a:r>
              <a:rPr lang="en-US" sz="2000" kern="0" dirty="0">
                <a:solidFill>
                  <a:schemeClr val="tx1"/>
                </a:solidFill>
                <a:latin typeface="Calibri" panose="020F0502020204030204" pitchFamily="34" charset="0"/>
                <a:cs typeface="Arial" pitchFamily="34" charset="0"/>
              </a:rPr>
              <a:t> 2 </a:t>
            </a:r>
            <a:r>
              <a:rPr lang="en-US" sz="2000" kern="0" dirty="0" err="1">
                <a:solidFill>
                  <a:schemeClr val="tx1"/>
                </a:solidFill>
                <a:latin typeface="Calibri" panose="020F0502020204030204" pitchFamily="34" charset="0"/>
                <a:cs typeface="Arial" pitchFamily="34" charset="0"/>
              </a:rPr>
              <a:t>inci</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yılın</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sonunda</a:t>
            </a:r>
            <a:r>
              <a:rPr lang="en-US" sz="2000" kern="0" dirty="0">
                <a:solidFill>
                  <a:schemeClr val="tx1"/>
                </a:solidFill>
                <a:latin typeface="Calibri" panose="020F0502020204030204" pitchFamily="34" charset="0"/>
                <a:cs typeface="Arial" pitchFamily="34" charset="0"/>
              </a:rPr>
              <a:t> en </a:t>
            </a:r>
            <a:r>
              <a:rPr lang="en-US" sz="2000" kern="0" dirty="0" err="1">
                <a:solidFill>
                  <a:schemeClr val="tx1"/>
                </a:solidFill>
                <a:latin typeface="Calibri" panose="020F0502020204030204" pitchFamily="34" charset="0"/>
                <a:cs typeface="Arial" pitchFamily="34" charset="0"/>
              </a:rPr>
              <a:t>az</a:t>
            </a:r>
            <a:r>
              <a:rPr lang="en-US" sz="2000" kern="0" dirty="0">
                <a:solidFill>
                  <a:schemeClr val="tx1"/>
                </a:solidFill>
                <a:latin typeface="Calibri" panose="020F0502020204030204" pitchFamily="34" charset="0"/>
                <a:cs typeface="Arial" pitchFamily="34" charset="0"/>
              </a:rPr>
              <a:t> %50 </a:t>
            </a:r>
            <a:r>
              <a:rPr lang="en-US" sz="2000" kern="0" dirty="0" err="1" smtClean="0">
                <a:solidFill>
                  <a:schemeClr val="tx1"/>
                </a:solidFill>
                <a:latin typeface="Calibri" panose="020F0502020204030204" pitchFamily="34" charset="0"/>
                <a:cs typeface="Arial" pitchFamily="34" charset="0"/>
              </a:rPr>
              <a:t>olmalı</a:t>
            </a:r>
            <a:endParaRPr kumimoji="0" lang="en-US" sz="2000" i="0" u="none" strike="noStrike" kern="0" cap="none" spc="0" normalizeH="0" baseline="0" noProof="0" dirty="0">
              <a:ln>
                <a:noFill/>
              </a:ln>
              <a:solidFill>
                <a:schemeClr val="tx1"/>
              </a:solidFill>
              <a:effectLst/>
              <a:uLnTx/>
              <a:uFillTx/>
              <a:latin typeface="Calibri" panose="020F0502020204030204" pitchFamily="34" charset="0"/>
              <a:cs typeface="Arial" pitchFamily="34" charset="0"/>
            </a:endParaRPr>
          </a:p>
        </p:txBody>
      </p:sp>
      <p:sp>
        <p:nvSpPr>
          <p:cNvPr id="85" name="Rectangle 47"/>
          <p:cNvSpPr/>
          <p:nvPr/>
        </p:nvSpPr>
        <p:spPr>
          <a:xfrm>
            <a:off x="435095" y="2247015"/>
            <a:ext cx="4608393" cy="996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defRPr/>
            </a:pPr>
            <a:r>
              <a:rPr lang="en-US" sz="2000" kern="0" dirty="0">
                <a:solidFill>
                  <a:schemeClr val="tx1"/>
                </a:solidFill>
                <a:latin typeface="Calibri" panose="020F0502020204030204" pitchFamily="34" charset="0"/>
                <a:cs typeface="Arial" pitchFamily="34" charset="0"/>
              </a:rPr>
              <a:t>Yönetim </a:t>
            </a:r>
            <a:r>
              <a:rPr lang="en-US" sz="2000" kern="0" dirty="0" err="1">
                <a:solidFill>
                  <a:schemeClr val="tx1"/>
                </a:solidFill>
                <a:latin typeface="Calibri" panose="020F0502020204030204" pitchFamily="34" charset="0"/>
                <a:cs typeface="Arial" pitchFamily="34" charset="0"/>
              </a:rPr>
              <a:t>ofisleri</a:t>
            </a:r>
            <a:r>
              <a:rPr lang="en-US" sz="2000" kern="0" dirty="0">
                <a:solidFill>
                  <a:schemeClr val="tx1"/>
                </a:solidFill>
                <a:latin typeface="Calibri" panose="020F0502020204030204" pitchFamily="34" charset="0"/>
                <a:cs typeface="Arial" pitchFamily="34" charset="0"/>
              </a:rPr>
              <a:t>, </a:t>
            </a:r>
            <a:r>
              <a:rPr lang="tr-TR" sz="2000" kern="0" dirty="0" smtClean="0">
                <a:solidFill>
                  <a:schemeClr val="tx1"/>
                </a:solidFill>
                <a:latin typeface="Calibri" panose="020F0502020204030204" pitchFamily="34" charset="0"/>
                <a:cs typeface="Arial" pitchFamily="34" charset="0"/>
              </a:rPr>
              <a:t>o</a:t>
            </a:r>
            <a:r>
              <a:rPr lang="en-US" sz="2000" kern="0" dirty="0" err="1" smtClean="0">
                <a:solidFill>
                  <a:schemeClr val="tx1"/>
                </a:solidFill>
                <a:latin typeface="Calibri" panose="020F0502020204030204" pitchFamily="34" charset="0"/>
                <a:cs typeface="Arial" pitchFamily="34" charset="0"/>
              </a:rPr>
              <a:t>rtak</a:t>
            </a:r>
            <a:r>
              <a:rPr lang="en-US" sz="2000" kern="0" dirty="0" smtClean="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çalışma</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alanı</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işlikler</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toplantı</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odası</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etkinlik</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alanı</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ile</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ortak</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kullanıma</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yönelik</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makine-teçhizat</a:t>
            </a:r>
            <a:r>
              <a:rPr lang="en-US" sz="2000" kern="0" dirty="0">
                <a:solidFill>
                  <a:schemeClr val="tx1"/>
                </a:solidFill>
                <a:latin typeface="Calibri" panose="020F0502020204030204" pitchFamily="34" charset="0"/>
                <a:cs typeface="Arial" pitchFamily="34" charset="0"/>
              </a:rPr>
              <a:t> ve </a:t>
            </a:r>
            <a:r>
              <a:rPr lang="en-US" sz="2000" kern="0" dirty="0" err="1">
                <a:solidFill>
                  <a:schemeClr val="tx1"/>
                </a:solidFill>
                <a:latin typeface="Calibri" panose="020F0502020204030204" pitchFamily="34" charset="0"/>
                <a:cs typeface="Arial" pitchFamily="34" charset="0"/>
              </a:rPr>
              <a:t>yazılım</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için</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ayrılmış</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bağımsız</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bir</a:t>
            </a:r>
            <a:r>
              <a:rPr lang="en-US" sz="2000" kern="0" dirty="0">
                <a:solidFill>
                  <a:schemeClr val="tx1"/>
                </a:solidFill>
                <a:latin typeface="Calibri" panose="020F0502020204030204" pitchFamily="34" charset="0"/>
                <a:cs typeface="Arial" pitchFamily="34" charset="0"/>
              </a:rPr>
              <a:t> </a:t>
            </a:r>
            <a:r>
              <a:rPr lang="en-US" sz="2000" kern="0" dirty="0" err="1" smtClean="0">
                <a:solidFill>
                  <a:schemeClr val="tx1"/>
                </a:solidFill>
                <a:latin typeface="Calibri" panose="020F0502020204030204" pitchFamily="34" charset="0"/>
                <a:cs typeface="Arial" pitchFamily="34" charset="0"/>
              </a:rPr>
              <a:t>alan</a:t>
            </a:r>
            <a:r>
              <a:rPr lang="tr-TR" sz="2000" kern="0" dirty="0" smtClean="0">
                <a:solidFill>
                  <a:schemeClr val="tx1"/>
                </a:solidFill>
                <a:latin typeface="Calibri" panose="020F0502020204030204" pitchFamily="34" charset="0"/>
                <a:cs typeface="Arial" pitchFamily="34" charset="0"/>
              </a:rPr>
              <a:t> olmalı</a:t>
            </a:r>
            <a:endParaRPr lang="en-US" sz="2000" kern="0" dirty="0">
              <a:solidFill>
                <a:schemeClr val="tx1"/>
              </a:solidFill>
              <a:latin typeface="Calibri" panose="020F0502020204030204" pitchFamily="34" charset="0"/>
              <a:cs typeface="Arial" pitchFamily="34" charset="0"/>
            </a:endParaRPr>
          </a:p>
        </p:txBody>
      </p:sp>
      <p:sp>
        <p:nvSpPr>
          <p:cNvPr id="88" name="Rectangle 50"/>
          <p:cNvSpPr/>
          <p:nvPr/>
        </p:nvSpPr>
        <p:spPr>
          <a:xfrm>
            <a:off x="5545056" y="1257092"/>
            <a:ext cx="6385086" cy="7776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defRPr/>
            </a:pPr>
            <a:r>
              <a:rPr lang="en-US" sz="2000" kern="0" dirty="0" err="1">
                <a:solidFill>
                  <a:schemeClr val="tx1"/>
                </a:solidFill>
                <a:latin typeface="Calibri" panose="020F0502020204030204" pitchFamily="34" charset="0"/>
                <a:cs typeface="Arial" pitchFamily="34" charset="0"/>
              </a:rPr>
              <a:t>İşletici</a:t>
            </a:r>
            <a:r>
              <a:rPr lang="en-US" sz="2000" kern="0" dirty="0">
                <a:solidFill>
                  <a:schemeClr val="tx1"/>
                </a:solidFill>
                <a:latin typeface="Calibri" panose="020F0502020204030204" pitchFamily="34" charset="0"/>
                <a:cs typeface="Arial" pitchFamily="34" charset="0"/>
              </a:rPr>
              <a:t> </a:t>
            </a:r>
            <a:r>
              <a:rPr lang="en-US" sz="2000" kern="0" dirty="0" err="1" smtClean="0">
                <a:solidFill>
                  <a:schemeClr val="tx1"/>
                </a:solidFill>
                <a:latin typeface="Calibri" panose="020F0502020204030204" pitchFamily="34" charset="0"/>
                <a:cs typeface="Arial" pitchFamily="34" charset="0"/>
              </a:rPr>
              <a:t>kuruluş</a:t>
            </a:r>
            <a:r>
              <a:rPr lang="en-US" sz="2000" kern="0" dirty="0" smtClean="0">
                <a:solidFill>
                  <a:schemeClr val="tx1"/>
                </a:solidFill>
                <a:latin typeface="Calibri" panose="020F0502020204030204" pitchFamily="34" charset="0"/>
                <a:cs typeface="Arial" pitchFamily="34" charset="0"/>
              </a:rPr>
              <a:t> </a:t>
            </a:r>
            <a:r>
              <a:rPr lang="en-US" sz="2000" kern="0" dirty="0">
                <a:solidFill>
                  <a:schemeClr val="tx1"/>
                </a:solidFill>
                <a:latin typeface="Calibri" panose="020F0502020204030204" pitchFamily="34" charset="0"/>
                <a:cs typeface="Arial" pitchFamily="34" charset="0"/>
              </a:rPr>
              <a:t>program </a:t>
            </a:r>
            <a:r>
              <a:rPr lang="en-US" sz="2000" kern="0" dirty="0" err="1">
                <a:solidFill>
                  <a:schemeClr val="tx1"/>
                </a:solidFill>
                <a:latin typeface="Calibri" panose="020F0502020204030204" pitchFamily="34" charset="0"/>
                <a:cs typeface="Arial" pitchFamily="34" charset="0"/>
              </a:rPr>
              <a:t>süresinde</a:t>
            </a:r>
            <a:r>
              <a:rPr lang="en-US" sz="2000" kern="0" dirty="0">
                <a:solidFill>
                  <a:schemeClr val="tx1"/>
                </a:solidFill>
                <a:latin typeface="Calibri" panose="020F0502020204030204" pitchFamily="34" charset="0"/>
                <a:cs typeface="Arial" pitchFamily="34" charset="0"/>
              </a:rPr>
              <a:t> </a:t>
            </a:r>
            <a:r>
              <a:rPr lang="en-US" sz="2000" kern="0" dirty="0" err="1">
                <a:solidFill>
                  <a:schemeClr val="tx1"/>
                </a:solidFill>
                <a:latin typeface="Calibri" panose="020F0502020204030204" pitchFamily="34" charset="0"/>
                <a:cs typeface="Arial" pitchFamily="34" charset="0"/>
              </a:rPr>
              <a:t>bilanço</a:t>
            </a:r>
            <a:r>
              <a:rPr lang="en-US" sz="2000" kern="0" dirty="0">
                <a:solidFill>
                  <a:schemeClr val="tx1"/>
                </a:solidFill>
                <a:latin typeface="Calibri" panose="020F0502020204030204" pitchFamily="34" charset="0"/>
                <a:cs typeface="Arial" pitchFamily="34" charset="0"/>
              </a:rPr>
              <a:t> </a:t>
            </a:r>
            <a:r>
              <a:rPr lang="en-US" sz="2000" kern="0" dirty="0" err="1" smtClean="0">
                <a:solidFill>
                  <a:schemeClr val="tx1"/>
                </a:solidFill>
                <a:latin typeface="Calibri" panose="020F0502020204030204" pitchFamily="34" charset="0"/>
                <a:cs typeface="Arial" pitchFamily="34" charset="0"/>
              </a:rPr>
              <a:t>kârını</a:t>
            </a:r>
            <a:r>
              <a:rPr lang="tr-TR" sz="2000" kern="0" dirty="0" smtClean="0">
                <a:solidFill>
                  <a:schemeClr val="tx1"/>
                </a:solidFill>
                <a:latin typeface="Calibri" panose="020F0502020204030204" pitchFamily="34" charset="0"/>
                <a:cs typeface="Arial" pitchFamily="34" charset="0"/>
              </a:rPr>
              <a:t> ortaklarına dağıtamaz</a:t>
            </a:r>
            <a:endParaRPr lang="en-US" sz="2000" kern="0" dirty="0">
              <a:solidFill>
                <a:schemeClr val="tx1"/>
              </a:solidFill>
              <a:latin typeface="Calibri" panose="020F0502020204030204" pitchFamily="34" charset="0"/>
              <a:cs typeface="Arial" pitchFamily="34" charset="0"/>
            </a:endParaRPr>
          </a:p>
        </p:txBody>
      </p:sp>
      <p:sp>
        <p:nvSpPr>
          <p:cNvPr id="89" name="TextBox 57"/>
          <p:cNvSpPr txBox="1"/>
          <p:nvPr/>
        </p:nvSpPr>
        <p:spPr>
          <a:xfrm>
            <a:off x="5545056" y="2121777"/>
            <a:ext cx="6385086" cy="710066"/>
          </a:xfrm>
          <a:prstGeom prst="rect">
            <a:avLst/>
          </a:prstGeom>
          <a:noFill/>
        </p:spPr>
        <p:txBody>
          <a:bodyPr wrap="square" rtlCol="0">
            <a:spAutoFit/>
          </a:bodyPr>
          <a:lstStyle/>
          <a:p>
            <a:pPr defTabSz="914388">
              <a:defRPr/>
            </a:pPr>
            <a:r>
              <a:rPr lang="tr-TR" sz="2007" dirty="0" smtClean="0">
                <a:latin typeface="Calibri"/>
              </a:rPr>
              <a:t>Girişimci ve işletmeye bir ar-ge veya </a:t>
            </a:r>
            <a:r>
              <a:rPr lang="tr-TR" sz="2007" dirty="0" err="1" smtClean="0">
                <a:latin typeface="Calibri"/>
              </a:rPr>
              <a:t>inovasyon</a:t>
            </a:r>
            <a:r>
              <a:rPr lang="tr-TR" sz="2007" dirty="0" smtClean="0">
                <a:latin typeface="Calibri"/>
              </a:rPr>
              <a:t> iş fikri veya projesi kapsamında yer tahsis edilir</a:t>
            </a:r>
            <a:endParaRPr lang="en-US" sz="2007" dirty="0">
              <a:latin typeface="Calibri"/>
            </a:endParaRPr>
          </a:p>
        </p:txBody>
      </p:sp>
      <p:sp>
        <p:nvSpPr>
          <p:cNvPr id="90" name="TextBox 58"/>
          <p:cNvSpPr txBox="1"/>
          <p:nvPr/>
        </p:nvSpPr>
        <p:spPr>
          <a:xfrm>
            <a:off x="5545056" y="3919221"/>
            <a:ext cx="6385086" cy="1018933"/>
          </a:xfrm>
          <a:prstGeom prst="rect">
            <a:avLst/>
          </a:prstGeom>
          <a:noFill/>
        </p:spPr>
        <p:txBody>
          <a:bodyPr wrap="square" rtlCol="0">
            <a:spAutoFit/>
          </a:bodyPr>
          <a:lstStyle/>
          <a:p>
            <a:pPr defTabSz="914388">
              <a:defRPr/>
            </a:pPr>
            <a:r>
              <a:rPr lang="tr-TR" sz="2007" dirty="0" err="1" smtClean="0">
                <a:latin typeface="Calibri"/>
              </a:rPr>
              <a:t>TEKMER’e</a:t>
            </a:r>
            <a:r>
              <a:rPr lang="tr-TR" sz="2007" dirty="0" smtClean="0">
                <a:latin typeface="Calibri"/>
              </a:rPr>
              <a:t> kabul şartını sağlamayan çapa işletmeler olabilir ve bu işletmeler en fazla toplam işlik alanının %30’unu oluşturabilir </a:t>
            </a:r>
            <a:endParaRPr lang="en-US" sz="2007" dirty="0">
              <a:latin typeface="Calibri"/>
            </a:endParaRPr>
          </a:p>
        </p:txBody>
      </p:sp>
      <p:sp>
        <p:nvSpPr>
          <p:cNvPr id="93" name="Dikdörtgen 92"/>
          <p:cNvSpPr/>
          <p:nvPr/>
        </p:nvSpPr>
        <p:spPr>
          <a:xfrm>
            <a:off x="435095" y="304825"/>
            <a:ext cx="5109961" cy="584775"/>
          </a:xfrm>
          <a:prstGeom prst="rect">
            <a:avLst/>
          </a:prstGeom>
        </p:spPr>
        <p:txBody>
          <a:bodyPr wrap="square">
            <a:spAutoFit/>
          </a:bodyPr>
          <a:lstStyle/>
          <a:p>
            <a:r>
              <a:rPr lang="tr-TR" sz="3200" b="1" dirty="0" smtClean="0">
                <a:solidFill>
                  <a:schemeClr val="accent6"/>
                </a:solidFill>
                <a:latin typeface="Times New Roman" panose="02020603050405020304" pitchFamily="18" charset="0"/>
                <a:cs typeface="Times New Roman" panose="02020603050405020304" pitchFamily="18" charset="0"/>
              </a:rPr>
              <a:t>KRİTERLER</a:t>
            </a:r>
            <a:endParaRPr lang="en-US" sz="2800" b="1" dirty="0">
              <a:solidFill>
                <a:schemeClr val="accent6"/>
              </a:solidFill>
              <a:latin typeface="Times New Roman" panose="02020603050405020304" pitchFamily="18" charset="0"/>
              <a:cs typeface="Times New Roman" panose="02020603050405020304" pitchFamily="18" charset="0"/>
            </a:endParaRPr>
          </a:p>
        </p:txBody>
      </p:sp>
      <p:sp>
        <p:nvSpPr>
          <p:cNvPr id="20" name="Pin"/>
          <p:cNvSpPr>
            <a:spLocks noChangeAspect="1"/>
          </p:cNvSpPr>
          <p:nvPr>
            <p:custDataLst>
              <p:tags r:id="rId1"/>
            </p:custDataLst>
          </p:nvPr>
        </p:nvSpPr>
        <p:spPr bwMode="auto">
          <a:xfrm rot="-2700000">
            <a:off x="159368" y="1216675"/>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Pin"/>
          <p:cNvSpPr>
            <a:spLocks noChangeAspect="1"/>
          </p:cNvSpPr>
          <p:nvPr>
            <p:custDataLst>
              <p:tags r:id="rId2"/>
            </p:custDataLst>
          </p:nvPr>
        </p:nvSpPr>
        <p:spPr bwMode="auto">
          <a:xfrm rot="-2700000">
            <a:off x="159368" y="3797856"/>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Pin"/>
          <p:cNvSpPr>
            <a:spLocks noChangeAspect="1"/>
          </p:cNvSpPr>
          <p:nvPr>
            <p:custDataLst>
              <p:tags r:id="rId3"/>
            </p:custDataLst>
          </p:nvPr>
        </p:nvSpPr>
        <p:spPr bwMode="auto">
          <a:xfrm rot="-2700000">
            <a:off x="159368" y="1855545"/>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Pin"/>
          <p:cNvSpPr>
            <a:spLocks noChangeAspect="1"/>
          </p:cNvSpPr>
          <p:nvPr>
            <p:custDataLst>
              <p:tags r:id="rId4"/>
            </p:custDataLst>
          </p:nvPr>
        </p:nvSpPr>
        <p:spPr bwMode="auto">
          <a:xfrm rot="-2700000">
            <a:off x="5294739" y="1191631"/>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Pin"/>
          <p:cNvSpPr>
            <a:spLocks noChangeAspect="1"/>
          </p:cNvSpPr>
          <p:nvPr>
            <p:custDataLst>
              <p:tags r:id="rId5"/>
            </p:custDataLst>
          </p:nvPr>
        </p:nvSpPr>
        <p:spPr bwMode="auto">
          <a:xfrm rot="-2700000">
            <a:off x="5298639" y="2089611"/>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Pin"/>
          <p:cNvSpPr>
            <a:spLocks noChangeAspect="1"/>
          </p:cNvSpPr>
          <p:nvPr>
            <p:custDataLst>
              <p:tags r:id="rId6"/>
            </p:custDataLst>
          </p:nvPr>
        </p:nvSpPr>
        <p:spPr bwMode="auto">
          <a:xfrm rot="-2700000">
            <a:off x="5294739" y="3780038"/>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xtBox 57"/>
          <p:cNvSpPr txBox="1"/>
          <p:nvPr/>
        </p:nvSpPr>
        <p:spPr>
          <a:xfrm>
            <a:off x="5541156" y="3089899"/>
            <a:ext cx="6385086" cy="401200"/>
          </a:xfrm>
          <a:prstGeom prst="rect">
            <a:avLst/>
          </a:prstGeom>
          <a:noFill/>
        </p:spPr>
        <p:txBody>
          <a:bodyPr wrap="square" rtlCol="0">
            <a:spAutoFit/>
          </a:bodyPr>
          <a:lstStyle/>
          <a:p>
            <a:pPr defTabSz="914388">
              <a:defRPr/>
            </a:pPr>
            <a:r>
              <a:rPr lang="tr-TR" sz="2007" dirty="0" smtClean="0">
                <a:latin typeface="Calibri"/>
              </a:rPr>
              <a:t>Girişimci ve işletmelerde herhangi bir yaş sınırı aranmaz</a:t>
            </a:r>
            <a:endParaRPr lang="en-US" sz="2007" dirty="0">
              <a:latin typeface="Calibri"/>
            </a:endParaRPr>
          </a:p>
        </p:txBody>
      </p:sp>
      <p:sp>
        <p:nvSpPr>
          <p:cNvPr id="28" name="Pin"/>
          <p:cNvSpPr>
            <a:spLocks noChangeAspect="1"/>
          </p:cNvSpPr>
          <p:nvPr>
            <p:custDataLst>
              <p:tags r:id="rId7"/>
            </p:custDataLst>
          </p:nvPr>
        </p:nvSpPr>
        <p:spPr bwMode="auto">
          <a:xfrm rot="-2700000">
            <a:off x="5294739" y="3057733"/>
            <a:ext cx="224853" cy="395334"/>
          </a:xfrm>
          <a:custGeom>
            <a:avLst/>
            <a:gdLst>
              <a:gd name="T0" fmla="*/ 400 w 400"/>
              <a:gd name="T1" fmla="*/ 66 h 702"/>
              <a:gd name="T2" fmla="*/ 200 w 400"/>
              <a:gd name="T3" fmla="*/ 0 h 702"/>
              <a:gd name="T4" fmla="*/ 0 w 400"/>
              <a:gd name="T5" fmla="*/ 66 h 702"/>
              <a:gd name="T6" fmla="*/ 84 w 400"/>
              <a:gd name="T7" fmla="*/ 134 h 702"/>
              <a:gd name="T8" fmla="*/ 84 w 400"/>
              <a:gd name="T9" fmla="*/ 367 h 702"/>
              <a:gd name="T10" fmla="*/ 0 w 400"/>
              <a:gd name="T11" fmla="*/ 435 h 702"/>
              <a:gd name="T12" fmla="*/ 167 w 400"/>
              <a:gd name="T13" fmla="*/ 517 h 702"/>
              <a:gd name="T14" fmla="*/ 167 w 400"/>
              <a:gd name="T15" fmla="*/ 635 h 702"/>
              <a:gd name="T16" fmla="*/ 200 w 400"/>
              <a:gd name="T17" fmla="*/ 702 h 702"/>
              <a:gd name="T18" fmla="*/ 234 w 400"/>
              <a:gd name="T19" fmla="*/ 635 h 702"/>
              <a:gd name="T20" fmla="*/ 234 w 400"/>
              <a:gd name="T21" fmla="*/ 517 h 702"/>
              <a:gd name="T22" fmla="*/ 400 w 400"/>
              <a:gd name="T23" fmla="*/ 435 h 702"/>
              <a:gd name="T24" fmla="*/ 317 w 400"/>
              <a:gd name="T25" fmla="*/ 367 h 702"/>
              <a:gd name="T26" fmla="*/ 317 w 400"/>
              <a:gd name="T27" fmla="*/ 134 h 702"/>
              <a:gd name="T28" fmla="*/ 400 w 400"/>
              <a:gd name="T29" fmla="*/ 66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702">
                <a:moveTo>
                  <a:pt x="400" y="66"/>
                </a:moveTo>
                <a:cubicBezTo>
                  <a:pt x="400" y="20"/>
                  <a:pt x="311" y="0"/>
                  <a:pt x="200" y="0"/>
                </a:cubicBezTo>
                <a:cubicBezTo>
                  <a:pt x="90" y="0"/>
                  <a:pt x="0" y="20"/>
                  <a:pt x="0" y="66"/>
                </a:cubicBezTo>
                <a:cubicBezTo>
                  <a:pt x="0" y="94"/>
                  <a:pt x="33" y="119"/>
                  <a:pt x="84" y="134"/>
                </a:cubicBezTo>
                <a:lnTo>
                  <a:pt x="84" y="367"/>
                </a:lnTo>
                <a:cubicBezTo>
                  <a:pt x="33" y="382"/>
                  <a:pt x="0" y="407"/>
                  <a:pt x="0" y="435"/>
                </a:cubicBezTo>
                <a:cubicBezTo>
                  <a:pt x="0" y="476"/>
                  <a:pt x="72" y="510"/>
                  <a:pt x="167" y="517"/>
                </a:cubicBezTo>
                <a:lnTo>
                  <a:pt x="167" y="635"/>
                </a:lnTo>
                <a:lnTo>
                  <a:pt x="200" y="702"/>
                </a:lnTo>
                <a:lnTo>
                  <a:pt x="234" y="635"/>
                </a:lnTo>
                <a:lnTo>
                  <a:pt x="234" y="517"/>
                </a:lnTo>
                <a:cubicBezTo>
                  <a:pt x="328" y="510"/>
                  <a:pt x="400" y="476"/>
                  <a:pt x="400" y="435"/>
                </a:cubicBezTo>
                <a:cubicBezTo>
                  <a:pt x="400" y="407"/>
                  <a:pt x="367" y="382"/>
                  <a:pt x="317" y="367"/>
                </a:cubicBezTo>
                <a:lnTo>
                  <a:pt x="317" y="134"/>
                </a:lnTo>
                <a:cubicBezTo>
                  <a:pt x="367" y="119"/>
                  <a:pt x="400" y="94"/>
                  <a:pt x="400" y="66"/>
                </a:cubicBezTo>
                <a:close/>
              </a:path>
            </a:pathLst>
          </a:custGeom>
          <a:solidFill>
            <a:srgbClr val="F79646"/>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7877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34</a:t>
            </a:fld>
            <a:endParaRPr lang="en-CA">
              <a:solidFill>
                <a:prstClr val="black">
                  <a:tint val="75000"/>
                </a:prstClr>
              </a:solidFill>
            </a:endParaRPr>
          </a:p>
        </p:txBody>
      </p:sp>
      <p:sp>
        <p:nvSpPr>
          <p:cNvPr id="5" name="Dikdörtgen 4"/>
          <p:cNvSpPr/>
          <p:nvPr/>
        </p:nvSpPr>
        <p:spPr>
          <a:xfrm>
            <a:off x="2016795" y="2325914"/>
            <a:ext cx="2002971" cy="34544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b="1" kern="0" dirty="0">
              <a:solidFill>
                <a:srgbClr val="C0504D"/>
              </a:solidFill>
            </a:endParaRPr>
          </a:p>
        </p:txBody>
      </p:sp>
      <p:sp>
        <p:nvSpPr>
          <p:cNvPr id="6" name="Metin kutusu 5"/>
          <p:cNvSpPr txBox="1"/>
          <p:nvPr/>
        </p:nvSpPr>
        <p:spPr>
          <a:xfrm>
            <a:off x="1912956" y="3189515"/>
            <a:ext cx="2165216" cy="1631216"/>
          </a:xfrm>
          <a:prstGeom prst="rect">
            <a:avLst/>
          </a:prstGeom>
          <a:noFill/>
        </p:spPr>
        <p:txBody>
          <a:bodyPr wrap="square" rtlCol="0">
            <a:spAutoFit/>
          </a:bodyPr>
          <a:lstStyle/>
          <a:p>
            <a:pPr algn="ctr"/>
            <a:r>
              <a:rPr lang="en-US" sz="2000" kern="0" dirty="0">
                <a:solidFill>
                  <a:srgbClr val="C00000"/>
                </a:solidFill>
              </a:rPr>
              <a:t>ORTAK </a:t>
            </a:r>
            <a:endParaRPr lang="tr-TR" sz="2000" kern="0" dirty="0" smtClean="0">
              <a:solidFill>
                <a:srgbClr val="C00000"/>
              </a:solidFill>
            </a:endParaRPr>
          </a:p>
          <a:p>
            <a:pPr algn="ctr"/>
            <a:r>
              <a:rPr lang="en-US" sz="2000" kern="0" dirty="0" smtClean="0">
                <a:solidFill>
                  <a:srgbClr val="C00000"/>
                </a:solidFill>
              </a:rPr>
              <a:t>KULLANIMA </a:t>
            </a:r>
            <a:r>
              <a:rPr lang="en-US" sz="2000" kern="0" dirty="0">
                <a:solidFill>
                  <a:srgbClr val="C00000"/>
                </a:solidFill>
              </a:rPr>
              <a:t>YÖNELİK </a:t>
            </a:r>
            <a:r>
              <a:rPr lang="en-US" sz="2000" kern="0" dirty="0" smtClean="0">
                <a:solidFill>
                  <a:srgbClr val="C00000"/>
                </a:solidFill>
              </a:rPr>
              <a:t>MAKİNE-TEÇHİZAT </a:t>
            </a:r>
            <a:r>
              <a:rPr lang="tr-TR" sz="2000" kern="0" dirty="0" smtClean="0">
                <a:solidFill>
                  <a:srgbClr val="C00000"/>
                </a:solidFill>
              </a:rPr>
              <a:t>VE</a:t>
            </a:r>
            <a:r>
              <a:rPr lang="en-US" sz="2000" kern="0" dirty="0" smtClean="0">
                <a:solidFill>
                  <a:srgbClr val="C00000"/>
                </a:solidFill>
              </a:rPr>
              <a:t> YAZILIM</a:t>
            </a:r>
            <a:endParaRPr lang="en-US" sz="2000" kern="0" dirty="0">
              <a:solidFill>
                <a:srgbClr val="C00000"/>
              </a:solidFill>
            </a:endParaRPr>
          </a:p>
        </p:txBody>
      </p:sp>
      <p:sp>
        <p:nvSpPr>
          <p:cNvPr id="7" name="Metin kutusu 6"/>
          <p:cNvSpPr txBox="1"/>
          <p:nvPr/>
        </p:nvSpPr>
        <p:spPr>
          <a:xfrm>
            <a:off x="2088622" y="4813442"/>
            <a:ext cx="1801262" cy="1323439"/>
          </a:xfrm>
          <a:prstGeom prst="rect">
            <a:avLst/>
          </a:prstGeom>
          <a:noFill/>
        </p:spPr>
        <p:txBody>
          <a:bodyPr wrap="none" rtlCol="0">
            <a:spAutoFit/>
          </a:bodyPr>
          <a:lstStyle/>
          <a:p>
            <a:pPr algn="ctr"/>
            <a:r>
              <a:rPr lang="tr-TR" sz="2000" b="1" dirty="0">
                <a:solidFill>
                  <a:schemeClr val="tx2"/>
                </a:solidFill>
              </a:rPr>
              <a:t>500.000-TL </a:t>
            </a:r>
          </a:p>
          <a:p>
            <a:pPr algn="ctr"/>
            <a:r>
              <a:rPr lang="tr-TR" sz="2000" b="1" dirty="0">
                <a:solidFill>
                  <a:schemeClr val="tx2"/>
                </a:solidFill>
              </a:rPr>
              <a:t>1.000.000-TL – </a:t>
            </a:r>
            <a:endParaRPr lang="tr-TR" sz="2000" b="1" dirty="0" smtClean="0">
              <a:solidFill>
                <a:schemeClr val="tx2"/>
              </a:solidFill>
            </a:endParaRPr>
          </a:p>
          <a:p>
            <a:pPr algn="ctr"/>
            <a:r>
              <a:rPr lang="tr-TR" sz="2000" b="1" dirty="0" smtClean="0">
                <a:solidFill>
                  <a:schemeClr val="tx2"/>
                </a:solidFill>
              </a:rPr>
              <a:t>Geri </a:t>
            </a:r>
            <a:r>
              <a:rPr lang="tr-TR" sz="2000" b="1" dirty="0">
                <a:solidFill>
                  <a:schemeClr val="tx2"/>
                </a:solidFill>
              </a:rPr>
              <a:t>Ödemeli </a:t>
            </a:r>
          </a:p>
          <a:p>
            <a:endParaRPr lang="en-US" sz="2000" dirty="0">
              <a:solidFill>
                <a:schemeClr val="tx2"/>
              </a:solidFill>
            </a:endParaRPr>
          </a:p>
        </p:txBody>
      </p:sp>
      <p:grpSp>
        <p:nvGrpSpPr>
          <p:cNvPr id="43" name="Tools"/>
          <p:cNvGrpSpPr>
            <a:grpSpLocks noChangeAspect="1"/>
          </p:cNvGrpSpPr>
          <p:nvPr>
            <p:custDataLst>
              <p:tags r:id="rId1"/>
            </p:custDataLst>
          </p:nvPr>
        </p:nvGrpSpPr>
        <p:grpSpPr bwMode="auto">
          <a:xfrm>
            <a:off x="2622980" y="2346789"/>
            <a:ext cx="790599" cy="800564"/>
            <a:chOff x="2" y="3"/>
            <a:chExt cx="476" cy="482"/>
          </a:xfrm>
          <a:solidFill>
            <a:schemeClr val="tx2"/>
          </a:solidFill>
        </p:grpSpPr>
        <p:sp>
          <p:nvSpPr>
            <p:cNvPr id="44" name="Tools"/>
            <p:cNvSpPr>
              <a:spLocks/>
            </p:cNvSpPr>
            <p:nvPr>
              <p:custDataLst>
                <p:tags r:id="rId8"/>
              </p:custDataLst>
            </p:nvPr>
          </p:nvSpPr>
          <p:spPr bwMode="auto">
            <a:xfrm>
              <a:off x="135" y="135"/>
              <a:ext cx="255" cy="254"/>
            </a:xfrm>
            <a:custGeom>
              <a:avLst/>
              <a:gdLst>
                <a:gd name="T0" fmla="*/ 637 w 677"/>
                <a:gd name="T1" fmla="*/ 633 h 674"/>
                <a:gd name="T2" fmla="*/ 630 w 677"/>
                <a:gd name="T3" fmla="*/ 481 h 674"/>
                <a:gd name="T4" fmla="*/ 194 w 677"/>
                <a:gd name="T5" fmla="*/ 48 h 674"/>
                <a:gd name="T6" fmla="*/ 40 w 677"/>
                <a:gd name="T7" fmla="*/ 40 h 674"/>
                <a:gd name="T8" fmla="*/ 48 w 677"/>
                <a:gd name="T9" fmla="*/ 193 h 674"/>
                <a:gd name="T10" fmla="*/ 484 w 677"/>
                <a:gd name="T11" fmla="*/ 626 h 674"/>
                <a:gd name="T12" fmla="*/ 637 w 677"/>
                <a:gd name="T13" fmla="*/ 633 h 674"/>
              </a:gdLst>
              <a:ahLst/>
              <a:cxnLst>
                <a:cxn ang="0">
                  <a:pos x="T0" y="T1"/>
                </a:cxn>
                <a:cxn ang="0">
                  <a:pos x="T2" y="T3"/>
                </a:cxn>
                <a:cxn ang="0">
                  <a:pos x="T4" y="T5"/>
                </a:cxn>
                <a:cxn ang="0">
                  <a:pos x="T6" y="T7"/>
                </a:cxn>
                <a:cxn ang="0">
                  <a:pos x="T8" y="T9"/>
                </a:cxn>
                <a:cxn ang="0">
                  <a:pos x="T10" y="T11"/>
                </a:cxn>
                <a:cxn ang="0">
                  <a:pos x="T12" y="T13"/>
                </a:cxn>
              </a:cxnLst>
              <a:rect l="0" t="0" r="r" b="b"/>
              <a:pathLst>
                <a:path w="677" h="674">
                  <a:moveTo>
                    <a:pt x="637" y="633"/>
                  </a:moveTo>
                  <a:cubicBezTo>
                    <a:pt x="677" y="593"/>
                    <a:pt x="674" y="525"/>
                    <a:pt x="630" y="481"/>
                  </a:cubicBezTo>
                  <a:lnTo>
                    <a:pt x="194" y="48"/>
                  </a:lnTo>
                  <a:cubicBezTo>
                    <a:pt x="149" y="4"/>
                    <a:pt x="81" y="0"/>
                    <a:pt x="40" y="40"/>
                  </a:cubicBezTo>
                  <a:cubicBezTo>
                    <a:pt x="0" y="80"/>
                    <a:pt x="3" y="149"/>
                    <a:pt x="48" y="193"/>
                  </a:cubicBezTo>
                  <a:lnTo>
                    <a:pt x="484" y="626"/>
                  </a:lnTo>
                  <a:cubicBezTo>
                    <a:pt x="528" y="670"/>
                    <a:pt x="597" y="674"/>
                    <a:pt x="637" y="63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Tools"/>
            <p:cNvSpPr>
              <a:spLocks noEditPoints="1"/>
            </p:cNvSpPr>
            <p:nvPr>
              <p:custDataLst>
                <p:tags r:id="rId9"/>
              </p:custDataLst>
            </p:nvPr>
          </p:nvSpPr>
          <p:spPr bwMode="auto">
            <a:xfrm>
              <a:off x="2" y="3"/>
              <a:ext cx="476" cy="473"/>
            </a:xfrm>
            <a:custGeom>
              <a:avLst/>
              <a:gdLst>
                <a:gd name="T0" fmla="*/ 278 w 1265"/>
                <a:gd name="T1" fmla="*/ 476 h 1257"/>
                <a:gd name="T2" fmla="*/ 1008 w 1265"/>
                <a:gd name="T3" fmla="*/ 1201 h 1257"/>
                <a:gd name="T4" fmla="*/ 1209 w 1265"/>
                <a:gd name="T5" fmla="*/ 1201 h 1257"/>
                <a:gd name="T6" fmla="*/ 1209 w 1265"/>
                <a:gd name="T7" fmla="*/ 1001 h 1257"/>
                <a:gd name="T8" fmla="*/ 479 w 1265"/>
                <a:gd name="T9" fmla="*/ 276 h 1257"/>
                <a:gd name="T10" fmla="*/ 413 w 1265"/>
                <a:gd name="T11" fmla="*/ 82 h 1257"/>
                <a:gd name="T12" fmla="*/ 177 w 1265"/>
                <a:gd name="T13" fmla="*/ 25 h 1257"/>
                <a:gd name="T14" fmla="*/ 272 w 1265"/>
                <a:gd name="T15" fmla="*/ 120 h 1257"/>
                <a:gd name="T16" fmla="*/ 294 w 1265"/>
                <a:gd name="T17" fmla="*/ 245 h 1257"/>
                <a:gd name="T18" fmla="*/ 247 w 1265"/>
                <a:gd name="T19" fmla="*/ 291 h 1257"/>
                <a:gd name="T20" fmla="*/ 121 w 1265"/>
                <a:gd name="T21" fmla="*/ 269 h 1257"/>
                <a:gd name="T22" fmla="*/ 26 w 1265"/>
                <a:gd name="T23" fmla="*/ 175 h 1257"/>
                <a:gd name="T24" fmla="*/ 83 w 1265"/>
                <a:gd name="T25" fmla="*/ 410 h 1257"/>
                <a:gd name="T26" fmla="*/ 278 w 1265"/>
                <a:gd name="T27" fmla="*/ 476 h 1257"/>
                <a:gd name="T28" fmla="*/ 1181 w 1265"/>
                <a:gd name="T29" fmla="*/ 1174 h 1257"/>
                <a:gd name="T30" fmla="*/ 1021 w 1265"/>
                <a:gd name="T31" fmla="*/ 1174 h 1257"/>
                <a:gd name="T32" fmla="*/ 1021 w 1265"/>
                <a:gd name="T33" fmla="*/ 1014 h 1257"/>
                <a:gd name="T34" fmla="*/ 1181 w 1265"/>
                <a:gd name="T35" fmla="*/ 1014 h 1257"/>
                <a:gd name="T36" fmla="*/ 1181 w 1265"/>
                <a:gd name="T37" fmla="*/ 1174 h 1257"/>
                <a:gd name="T38" fmla="*/ 380 w 1265"/>
                <a:gd name="T39" fmla="*/ 543 h 1257"/>
                <a:gd name="T40" fmla="*/ 380 w 1265"/>
                <a:gd name="T41" fmla="*/ 376 h 1257"/>
                <a:gd name="T42" fmla="*/ 547 w 1265"/>
                <a:gd name="T43" fmla="*/ 376 h 1257"/>
                <a:gd name="T44" fmla="*/ 1002 w 1265"/>
                <a:gd name="T45" fmla="*/ 829 h 1257"/>
                <a:gd name="T46" fmla="*/ 1002 w 1265"/>
                <a:gd name="T47" fmla="*/ 996 h 1257"/>
                <a:gd name="T48" fmla="*/ 834 w 1265"/>
                <a:gd name="T49" fmla="*/ 996 h 1257"/>
                <a:gd name="T50" fmla="*/ 380 w 1265"/>
                <a:gd name="T51" fmla="*/ 54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5" h="1257">
                  <a:moveTo>
                    <a:pt x="278" y="476"/>
                  </a:moveTo>
                  <a:lnTo>
                    <a:pt x="1008" y="1201"/>
                  </a:lnTo>
                  <a:cubicBezTo>
                    <a:pt x="1063" y="1257"/>
                    <a:pt x="1154" y="1257"/>
                    <a:pt x="1209" y="1201"/>
                  </a:cubicBezTo>
                  <a:cubicBezTo>
                    <a:pt x="1265" y="1146"/>
                    <a:pt x="1265" y="1056"/>
                    <a:pt x="1209" y="1001"/>
                  </a:cubicBezTo>
                  <a:lnTo>
                    <a:pt x="479" y="276"/>
                  </a:lnTo>
                  <a:cubicBezTo>
                    <a:pt x="488" y="207"/>
                    <a:pt x="466" y="135"/>
                    <a:pt x="413" y="82"/>
                  </a:cubicBezTo>
                  <a:cubicBezTo>
                    <a:pt x="349" y="18"/>
                    <a:pt x="258" y="0"/>
                    <a:pt x="177" y="25"/>
                  </a:cubicBezTo>
                  <a:cubicBezTo>
                    <a:pt x="224" y="72"/>
                    <a:pt x="261" y="108"/>
                    <a:pt x="272" y="120"/>
                  </a:cubicBezTo>
                  <a:cubicBezTo>
                    <a:pt x="313" y="160"/>
                    <a:pt x="322" y="216"/>
                    <a:pt x="294" y="245"/>
                  </a:cubicBezTo>
                  <a:lnTo>
                    <a:pt x="247" y="291"/>
                  </a:lnTo>
                  <a:cubicBezTo>
                    <a:pt x="219" y="320"/>
                    <a:pt x="162" y="310"/>
                    <a:pt x="121" y="269"/>
                  </a:cubicBezTo>
                  <a:cubicBezTo>
                    <a:pt x="110" y="258"/>
                    <a:pt x="73" y="222"/>
                    <a:pt x="26" y="175"/>
                  </a:cubicBezTo>
                  <a:cubicBezTo>
                    <a:pt x="0" y="255"/>
                    <a:pt x="19" y="346"/>
                    <a:pt x="83" y="410"/>
                  </a:cubicBezTo>
                  <a:cubicBezTo>
                    <a:pt x="136" y="463"/>
                    <a:pt x="209" y="485"/>
                    <a:pt x="278" y="476"/>
                  </a:cubicBezTo>
                  <a:close/>
                  <a:moveTo>
                    <a:pt x="1181" y="1174"/>
                  </a:moveTo>
                  <a:cubicBezTo>
                    <a:pt x="1137" y="1218"/>
                    <a:pt x="1065" y="1218"/>
                    <a:pt x="1021" y="1174"/>
                  </a:cubicBezTo>
                  <a:cubicBezTo>
                    <a:pt x="977" y="1129"/>
                    <a:pt x="977" y="1058"/>
                    <a:pt x="1021" y="1014"/>
                  </a:cubicBezTo>
                  <a:cubicBezTo>
                    <a:pt x="1065" y="970"/>
                    <a:pt x="1137" y="970"/>
                    <a:pt x="1181" y="1014"/>
                  </a:cubicBezTo>
                  <a:cubicBezTo>
                    <a:pt x="1226" y="1058"/>
                    <a:pt x="1226" y="1129"/>
                    <a:pt x="1181" y="1174"/>
                  </a:cubicBezTo>
                  <a:close/>
                  <a:moveTo>
                    <a:pt x="380" y="543"/>
                  </a:moveTo>
                  <a:cubicBezTo>
                    <a:pt x="333" y="497"/>
                    <a:pt x="333" y="422"/>
                    <a:pt x="380" y="376"/>
                  </a:cubicBezTo>
                  <a:cubicBezTo>
                    <a:pt x="426" y="330"/>
                    <a:pt x="501" y="330"/>
                    <a:pt x="547" y="376"/>
                  </a:cubicBezTo>
                  <a:lnTo>
                    <a:pt x="1002" y="829"/>
                  </a:lnTo>
                  <a:cubicBezTo>
                    <a:pt x="1049" y="875"/>
                    <a:pt x="1049" y="949"/>
                    <a:pt x="1002" y="996"/>
                  </a:cubicBezTo>
                  <a:cubicBezTo>
                    <a:pt x="956" y="1042"/>
                    <a:pt x="881" y="1042"/>
                    <a:pt x="834" y="996"/>
                  </a:cubicBezTo>
                  <a:lnTo>
                    <a:pt x="380" y="5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Tools"/>
            <p:cNvSpPr>
              <a:spLocks/>
            </p:cNvSpPr>
            <p:nvPr>
              <p:custDataLst>
                <p:tags r:id="rId10"/>
              </p:custDataLst>
            </p:nvPr>
          </p:nvSpPr>
          <p:spPr bwMode="auto">
            <a:xfrm>
              <a:off x="10" y="252"/>
              <a:ext cx="234" cy="233"/>
            </a:xfrm>
            <a:custGeom>
              <a:avLst/>
              <a:gdLst>
                <a:gd name="T0" fmla="*/ 255 w 623"/>
                <a:gd name="T1" fmla="*/ 585 h 620"/>
                <a:gd name="T2" fmla="*/ 623 w 623"/>
                <a:gd name="T3" fmla="*/ 219 h 620"/>
                <a:gd name="T4" fmla="*/ 575 w 623"/>
                <a:gd name="T5" fmla="*/ 171 h 620"/>
                <a:gd name="T6" fmla="*/ 232 w 623"/>
                <a:gd name="T7" fmla="*/ 512 h 620"/>
                <a:gd name="T8" fmla="*/ 200 w 623"/>
                <a:gd name="T9" fmla="*/ 510 h 620"/>
                <a:gd name="T10" fmla="*/ 197 w 623"/>
                <a:gd name="T11" fmla="*/ 478 h 620"/>
                <a:gd name="T12" fmla="*/ 541 w 623"/>
                <a:gd name="T13" fmla="*/ 137 h 620"/>
                <a:gd name="T14" fmla="*/ 486 w 623"/>
                <a:gd name="T15" fmla="*/ 82 h 620"/>
                <a:gd name="T16" fmla="*/ 142 w 623"/>
                <a:gd name="T17" fmla="*/ 424 h 620"/>
                <a:gd name="T18" fmla="*/ 110 w 623"/>
                <a:gd name="T19" fmla="*/ 421 h 620"/>
                <a:gd name="T20" fmla="*/ 108 w 623"/>
                <a:gd name="T21" fmla="*/ 389 h 620"/>
                <a:gd name="T22" fmla="*/ 451 w 623"/>
                <a:gd name="T23" fmla="*/ 48 h 620"/>
                <a:gd name="T24" fmla="*/ 403 w 623"/>
                <a:gd name="T25" fmla="*/ 0 h 620"/>
                <a:gd name="T26" fmla="*/ 35 w 623"/>
                <a:gd name="T27" fmla="*/ 366 h 620"/>
                <a:gd name="T28" fmla="*/ 81 w 623"/>
                <a:gd name="T29" fmla="*/ 539 h 620"/>
                <a:gd name="T30" fmla="*/ 255 w 623"/>
                <a:gd name="T31" fmla="*/ 5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3" h="620">
                  <a:moveTo>
                    <a:pt x="255" y="585"/>
                  </a:moveTo>
                  <a:lnTo>
                    <a:pt x="623" y="219"/>
                  </a:lnTo>
                  <a:lnTo>
                    <a:pt x="575" y="171"/>
                  </a:lnTo>
                  <a:lnTo>
                    <a:pt x="232" y="512"/>
                  </a:lnTo>
                  <a:cubicBezTo>
                    <a:pt x="223" y="521"/>
                    <a:pt x="209" y="519"/>
                    <a:pt x="200" y="510"/>
                  </a:cubicBezTo>
                  <a:cubicBezTo>
                    <a:pt x="190" y="501"/>
                    <a:pt x="189" y="486"/>
                    <a:pt x="197" y="478"/>
                  </a:cubicBezTo>
                  <a:lnTo>
                    <a:pt x="541" y="137"/>
                  </a:lnTo>
                  <a:lnTo>
                    <a:pt x="486" y="82"/>
                  </a:lnTo>
                  <a:lnTo>
                    <a:pt x="142" y="424"/>
                  </a:lnTo>
                  <a:cubicBezTo>
                    <a:pt x="134" y="432"/>
                    <a:pt x="120" y="430"/>
                    <a:pt x="110" y="421"/>
                  </a:cubicBezTo>
                  <a:cubicBezTo>
                    <a:pt x="101" y="412"/>
                    <a:pt x="100" y="397"/>
                    <a:pt x="108" y="389"/>
                  </a:cubicBezTo>
                  <a:lnTo>
                    <a:pt x="451" y="48"/>
                  </a:lnTo>
                  <a:lnTo>
                    <a:pt x="403" y="0"/>
                  </a:lnTo>
                  <a:lnTo>
                    <a:pt x="35" y="366"/>
                  </a:lnTo>
                  <a:cubicBezTo>
                    <a:pt x="0" y="401"/>
                    <a:pt x="20" y="479"/>
                    <a:pt x="81" y="539"/>
                  </a:cubicBezTo>
                  <a:cubicBezTo>
                    <a:pt x="141" y="600"/>
                    <a:pt x="220" y="620"/>
                    <a:pt x="255" y="58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Tools"/>
            <p:cNvSpPr>
              <a:spLocks/>
            </p:cNvSpPr>
            <p:nvPr>
              <p:custDataLst>
                <p:tags r:id="rId11"/>
              </p:custDataLst>
            </p:nvPr>
          </p:nvSpPr>
          <p:spPr bwMode="auto">
            <a:xfrm>
              <a:off x="277" y="25"/>
              <a:ext cx="196" cy="194"/>
            </a:xfrm>
            <a:custGeom>
              <a:avLst/>
              <a:gdLst>
                <a:gd name="T0" fmla="*/ 94 w 520"/>
                <a:gd name="T1" fmla="*/ 517 h 517"/>
                <a:gd name="T2" fmla="*/ 218 w 520"/>
                <a:gd name="T3" fmla="*/ 394 h 517"/>
                <a:gd name="T4" fmla="*/ 321 w 520"/>
                <a:gd name="T5" fmla="*/ 366 h 517"/>
                <a:gd name="T6" fmla="*/ 520 w 520"/>
                <a:gd name="T7" fmla="*/ 84 h 517"/>
                <a:gd name="T8" fmla="*/ 435 w 520"/>
                <a:gd name="T9" fmla="*/ 0 h 517"/>
                <a:gd name="T10" fmla="*/ 151 w 520"/>
                <a:gd name="T11" fmla="*/ 198 h 517"/>
                <a:gd name="T12" fmla="*/ 124 w 520"/>
                <a:gd name="T13" fmla="*/ 300 h 517"/>
                <a:gd name="T14" fmla="*/ 0 w 520"/>
                <a:gd name="T15" fmla="*/ 423 h 517"/>
                <a:gd name="T16" fmla="*/ 94 w 520"/>
                <a:gd name="T17" fmla="*/ 5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0" h="517">
                  <a:moveTo>
                    <a:pt x="94" y="517"/>
                  </a:moveTo>
                  <a:lnTo>
                    <a:pt x="218" y="394"/>
                  </a:lnTo>
                  <a:lnTo>
                    <a:pt x="321" y="366"/>
                  </a:lnTo>
                  <a:lnTo>
                    <a:pt x="520" y="84"/>
                  </a:lnTo>
                  <a:lnTo>
                    <a:pt x="435" y="0"/>
                  </a:lnTo>
                  <a:lnTo>
                    <a:pt x="151" y="198"/>
                  </a:lnTo>
                  <a:lnTo>
                    <a:pt x="124" y="300"/>
                  </a:lnTo>
                  <a:lnTo>
                    <a:pt x="0" y="423"/>
                  </a:lnTo>
                  <a:lnTo>
                    <a:pt x="94" y="5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0" name="Dikdörtgen 49"/>
          <p:cNvSpPr/>
          <p:nvPr/>
        </p:nvSpPr>
        <p:spPr>
          <a:xfrm>
            <a:off x="4062705" y="1462315"/>
            <a:ext cx="2002971" cy="34544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b="1" kern="0" dirty="0">
              <a:solidFill>
                <a:srgbClr val="C0504D"/>
              </a:solidFill>
            </a:endParaRPr>
          </a:p>
        </p:txBody>
      </p:sp>
      <p:sp>
        <p:nvSpPr>
          <p:cNvPr id="51" name="Metin kutusu 50"/>
          <p:cNvSpPr txBox="1"/>
          <p:nvPr/>
        </p:nvSpPr>
        <p:spPr>
          <a:xfrm>
            <a:off x="4065263" y="2746465"/>
            <a:ext cx="1973943" cy="707886"/>
          </a:xfrm>
          <a:prstGeom prst="rect">
            <a:avLst/>
          </a:prstGeom>
          <a:noFill/>
        </p:spPr>
        <p:txBody>
          <a:bodyPr wrap="square" rtlCol="0">
            <a:spAutoFit/>
          </a:bodyPr>
          <a:lstStyle/>
          <a:p>
            <a:pPr algn="ctr"/>
            <a:r>
              <a:rPr lang="tr-TR" sz="2000" kern="0" dirty="0" smtClean="0">
                <a:solidFill>
                  <a:srgbClr val="C00000"/>
                </a:solidFill>
              </a:rPr>
              <a:t>PERSONEL GİDERLERİ</a:t>
            </a:r>
            <a:endParaRPr lang="en-US" sz="2000" kern="0" dirty="0">
              <a:solidFill>
                <a:srgbClr val="C00000"/>
              </a:solidFill>
            </a:endParaRPr>
          </a:p>
        </p:txBody>
      </p:sp>
      <p:sp>
        <p:nvSpPr>
          <p:cNvPr id="52" name="Metin kutusu 51"/>
          <p:cNvSpPr txBox="1"/>
          <p:nvPr/>
        </p:nvSpPr>
        <p:spPr>
          <a:xfrm>
            <a:off x="3998596" y="4024793"/>
            <a:ext cx="2073132" cy="1015663"/>
          </a:xfrm>
          <a:prstGeom prst="rect">
            <a:avLst/>
          </a:prstGeom>
          <a:noFill/>
        </p:spPr>
        <p:txBody>
          <a:bodyPr wrap="none" rtlCol="0">
            <a:spAutoFit/>
          </a:bodyPr>
          <a:lstStyle/>
          <a:p>
            <a:pPr algn="ctr"/>
            <a:r>
              <a:rPr lang="tr-TR" sz="2000" b="1" dirty="0" smtClean="0">
                <a:solidFill>
                  <a:schemeClr val="tx2"/>
                </a:solidFill>
              </a:rPr>
              <a:t>1.000.000-TL</a:t>
            </a:r>
          </a:p>
          <a:p>
            <a:pPr algn="ctr"/>
            <a:r>
              <a:rPr lang="tr-TR" sz="2000" b="1" dirty="0" smtClean="0">
                <a:solidFill>
                  <a:schemeClr val="tx2"/>
                </a:solidFill>
              </a:rPr>
              <a:t>(</a:t>
            </a:r>
            <a:r>
              <a:rPr lang="tr-TR" sz="2000" b="1" dirty="0">
                <a:solidFill>
                  <a:schemeClr val="tx2"/>
                </a:solidFill>
              </a:rPr>
              <a:t>Yıllık 200.000-TL)</a:t>
            </a:r>
          </a:p>
          <a:p>
            <a:endParaRPr lang="en-US" sz="2000" dirty="0">
              <a:solidFill>
                <a:schemeClr val="tx2"/>
              </a:solidFill>
            </a:endParaRPr>
          </a:p>
        </p:txBody>
      </p:sp>
      <p:grpSp>
        <p:nvGrpSpPr>
          <p:cNvPr id="60" name="Group"/>
          <p:cNvGrpSpPr>
            <a:grpSpLocks noChangeAspect="1"/>
          </p:cNvGrpSpPr>
          <p:nvPr>
            <p:custDataLst>
              <p:tags r:id="rId2"/>
            </p:custDataLst>
          </p:nvPr>
        </p:nvGrpSpPr>
        <p:grpSpPr bwMode="auto">
          <a:xfrm>
            <a:off x="4416324" y="1582189"/>
            <a:ext cx="1295732" cy="723304"/>
            <a:chOff x="91" y="165"/>
            <a:chExt cx="292" cy="163"/>
          </a:xfrm>
          <a:solidFill>
            <a:schemeClr val="tx2"/>
          </a:solidFill>
        </p:grpSpPr>
        <p:sp>
          <p:nvSpPr>
            <p:cNvPr id="61" name="Group"/>
            <p:cNvSpPr>
              <a:spLocks/>
            </p:cNvSpPr>
            <p:nvPr>
              <p:custDataLst>
                <p:tags r:id="rId5"/>
              </p:custDataLst>
            </p:nvPr>
          </p:nvSpPr>
          <p:spPr bwMode="auto">
            <a:xfrm>
              <a:off x="275" y="174"/>
              <a:ext cx="108" cy="114"/>
            </a:xfrm>
            <a:custGeom>
              <a:avLst/>
              <a:gdLst>
                <a:gd name="T0" fmla="*/ 227 w 286"/>
                <a:gd name="T1" fmla="*/ 213 h 302"/>
                <a:gd name="T2" fmla="*/ 275 w 286"/>
                <a:gd name="T3" fmla="*/ 302 h 302"/>
                <a:gd name="T4" fmla="*/ 129 w 286"/>
                <a:gd name="T5" fmla="*/ 302 h 302"/>
                <a:gd name="T6" fmla="*/ 80 w 286"/>
                <a:gd name="T7" fmla="*/ 259 h 302"/>
                <a:gd name="T8" fmla="*/ 70 w 286"/>
                <a:gd name="T9" fmla="*/ 256 h 302"/>
                <a:gd name="T10" fmla="*/ 1 w 286"/>
                <a:gd name="T11" fmla="*/ 225 h 302"/>
                <a:gd name="T12" fmla="*/ 14 w 286"/>
                <a:gd name="T13" fmla="*/ 210 h 302"/>
                <a:gd name="T14" fmla="*/ 85 w 286"/>
                <a:gd name="T15" fmla="*/ 174 h 302"/>
                <a:gd name="T16" fmla="*/ 88 w 286"/>
                <a:gd name="T17" fmla="*/ 174 h 302"/>
                <a:gd name="T18" fmla="*/ 86 w 286"/>
                <a:gd name="T19" fmla="*/ 172 h 302"/>
                <a:gd name="T20" fmla="*/ 48 w 286"/>
                <a:gd name="T21" fmla="*/ 77 h 302"/>
                <a:gd name="T22" fmla="*/ 117 w 286"/>
                <a:gd name="T23" fmla="*/ 0 h 302"/>
                <a:gd name="T24" fmla="*/ 185 w 286"/>
                <a:gd name="T25" fmla="*/ 80 h 302"/>
                <a:gd name="T26" fmla="*/ 144 w 286"/>
                <a:gd name="T27" fmla="*/ 173 h 302"/>
                <a:gd name="T28" fmla="*/ 227 w 286"/>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302">
                  <a:moveTo>
                    <a:pt x="227" y="213"/>
                  </a:moveTo>
                  <a:cubicBezTo>
                    <a:pt x="286" y="231"/>
                    <a:pt x="276" y="273"/>
                    <a:pt x="275" y="302"/>
                  </a:cubicBezTo>
                  <a:lnTo>
                    <a:pt x="129" y="302"/>
                  </a:lnTo>
                  <a:cubicBezTo>
                    <a:pt x="124" y="284"/>
                    <a:pt x="111" y="268"/>
                    <a:pt x="80" y="259"/>
                  </a:cubicBezTo>
                  <a:lnTo>
                    <a:pt x="70" y="256"/>
                  </a:lnTo>
                  <a:cubicBezTo>
                    <a:pt x="29" y="244"/>
                    <a:pt x="7" y="238"/>
                    <a:pt x="1" y="225"/>
                  </a:cubicBezTo>
                  <a:cubicBezTo>
                    <a:pt x="0" y="220"/>
                    <a:pt x="0" y="215"/>
                    <a:pt x="14" y="210"/>
                  </a:cubicBezTo>
                  <a:cubicBezTo>
                    <a:pt x="58" y="197"/>
                    <a:pt x="80" y="191"/>
                    <a:pt x="85" y="174"/>
                  </a:cubicBezTo>
                  <a:lnTo>
                    <a:pt x="88" y="174"/>
                  </a:lnTo>
                  <a:cubicBezTo>
                    <a:pt x="88" y="174"/>
                    <a:pt x="87" y="173"/>
                    <a:pt x="86" y="172"/>
                  </a:cubicBezTo>
                  <a:cubicBezTo>
                    <a:pt x="64" y="151"/>
                    <a:pt x="48" y="110"/>
                    <a:pt x="48" y="77"/>
                  </a:cubicBezTo>
                  <a:cubicBezTo>
                    <a:pt x="48" y="31"/>
                    <a:pt x="84" y="0"/>
                    <a:pt x="117" y="0"/>
                  </a:cubicBezTo>
                  <a:cubicBezTo>
                    <a:pt x="151" y="0"/>
                    <a:pt x="185" y="33"/>
                    <a:pt x="185" y="80"/>
                  </a:cubicBezTo>
                  <a:cubicBezTo>
                    <a:pt x="185" y="113"/>
                    <a:pt x="167" y="152"/>
                    <a:pt x="144" y="173"/>
                  </a:cubicBezTo>
                  <a:cubicBezTo>
                    <a:pt x="149" y="192"/>
                    <a:pt x="174" y="198"/>
                    <a:pt x="227" y="2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Group"/>
            <p:cNvSpPr>
              <a:spLocks/>
            </p:cNvSpPr>
            <p:nvPr>
              <p:custDataLst>
                <p:tags r:id="rId6"/>
              </p:custDataLst>
            </p:nvPr>
          </p:nvSpPr>
          <p:spPr bwMode="auto">
            <a:xfrm>
              <a:off x="150" y="165"/>
              <a:ext cx="173" cy="163"/>
            </a:xfrm>
            <a:custGeom>
              <a:avLst/>
              <a:gdLst>
                <a:gd name="T0" fmla="*/ 458 w 460"/>
                <a:gd name="T1" fmla="*/ 432 h 432"/>
                <a:gd name="T2" fmla="*/ 4 w 460"/>
                <a:gd name="T3" fmla="*/ 432 h 432"/>
                <a:gd name="T4" fmla="*/ 3 w 460"/>
                <a:gd name="T5" fmla="*/ 418 h 432"/>
                <a:gd name="T6" fmla="*/ 5 w 460"/>
                <a:gd name="T7" fmla="*/ 364 h 432"/>
                <a:gd name="T8" fmla="*/ 64 w 460"/>
                <a:gd name="T9" fmla="*/ 316 h 432"/>
                <a:gd name="T10" fmla="*/ 78 w 460"/>
                <a:gd name="T11" fmla="*/ 312 h 432"/>
                <a:gd name="T12" fmla="*/ 189 w 460"/>
                <a:gd name="T13" fmla="*/ 258 h 432"/>
                <a:gd name="T14" fmla="*/ 192 w 460"/>
                <a:gd name="T15" fmla="*/ 252 h 432"/>
                <a:gd name="T16" fmla="*/ 192 w 460"/>
                <a:gd name="T17" fmla="*/ 245 h 432"/>
                <a:gd name="T18" fmla="*/ 189 w 460"/>
                <a:gd name="T19" fmla="*/ 242 h 432"/>
                <a:gd name="T20" fmla="*/ 178 w 460"/>
                <a:gd name="T21" fmla="*/ 229 h 432"/>
                <a:gd name="T22" fmla="*/ 135 w 460"/>
                <a:gd name="T23" fmla="*/ 107 h 432"/>
                <a:gd name="T24" fmla="*/ 231 w 460"/>
                <a:gd name="T25" fmla="*/ 0 h 432"/>
                <a:gd name="T26" fmla="*/ 324 w 460"/>
                <a:gd name="T27" fmla="*/ 111 h 432"/>
                <a:gd name="T28" fmla="*/ 272 w 460"/>
                <a:gd name="T29" fmla="*/ 237 h 432"/>
                <a:gd name="T30" fmla="*/ 266 w 460"/>
                <a:gd name="T31" fmla="*/ 243 h 432"/>
                <a:gd name="T32" fmla="*/ 262 w 460"/>
                <a:gd name="T33" fmla="*/ 246 h 432"/>
                <a:gd name="T34" fmla="*/ 263 w 460"/>
                <a:gd name="T35" fmla="*/ 251 h 432"/>
                <a:gd name="T36" fmla="*/ 377 w 460"/>
                <a:gd name="T37" fmla="*/ 312 h 432"/>
                <a:gd name="T38" fmla="*/ 392 w 460"/>
                <a:gd name="T39" fmla="*/ 316 h 432"/>
                <a:gd name="T40" fmla="*/ 453 w 460"/>
                <a:gd name="T41" fmla="*/ 364 h 432"/>
                <a:gd name="T42" fmla="*/ 453 w 460"/>
                <a:gd name="T43" fmla="*/ 364 h 432"/>
                <a:gd name="T44" fmla="*/ 459 w 460"/>
                <a:gd name="T45" fmla="*/ 423 h 432"/>
                <a:gd name="T46" fmla="*/ 458 w 460"/>
                <a:gd name="T47"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0" h="432">
                  <a:moveTo>
                    <a:pt x="458" y="432"/>
                  </a:moveTo>
                  <a:lnTo>
                    <a:pt x="4" y="432"/>
                  </a:lnTo>
                  <a:cubicBezTo>
                    <a:pt x="3" y="427"/>
                    <a:pt x="3" y="423"/>
                    <a:pt x="3" y="418"/>
                  </a:cubicBezTo>
                  <a:cubicBezTo>
                    <a:pt x="1" y="400"/>
                    <a:pt x="0" y="381"/>
                    <a:pt x="5" y="364"/>
                  </a:cubicBezTo>
                  <a:cubicBezTo>
                    <a:pt x="11" y="344"/>
                    <a:pt x="27" y="327"/>
                    <a:pt x="64" y="316"/>
                  </a:cubicBezTo>
                  <a:lnTo>
                    <a:pt x="78" y="312"/>
                  </a:lnTo>
                  <a:cubicBezTo>
                    <a:pt x="143" y="293"/>
                    <a:pt x="177" y="283"/>
                    <a:pt x="189" y="258"/>
                  </a:cubicBezTo>
                  <a:lnTo>
                    <a:pt x="192" y="252"/>
                  </a:lnTo>
                  <a:lnTo>
                    <a:pt x="192" y="245"/>
                  </a:lnTo>
                  <a:cubicBezTo>
                    <a:pt x="191" y="244"/>
                    <a:pt x="191" y="243"/>
                    <a:pt x="189" y="242"/>
                  </a:cubicBezTo>
                  <a:cubicBezTo>
                    <a:pt x="186" y="238"/>
                    <a:pt x="182" y="234"/>
                    <a:pt x="178" y="229"/>
                  </a:cubicBezTo>
                  <a:cubicBezTo>
                    <a:pt x="153" y="197"/>
                    <a:pt x="135" y="148"/>
                    <a:pt x="135" y="107"/>
                  </a:cubicBezTo>
                  <a:cubicBezTo>
                    <a:pt x="135" y="55"/>
                    <a:pt x="174" y="0"/>
                    <a:pt x="231" y="0"/>
                  </a:cubicBezTo>
                  <a:cubicBezTo>
                    <a:pt x="276" y="0"/>
                    <a:pt x="324" y="45"/>
                    <a:pt x="324" y="111"/>
                  </a:cubicBezTo>
                  <a:cubicBezTo>
                    <a:pt x="324" y="153"/>
                    <a:pt x="302" y="206"/>
                    <a:pt x="272" y="237"/>
                  </a:cubicBezTo>
                  <a:cubicBezTo>
                    <a:pt x="270" y="239"/>
                    <a:pt x="268" y="241"/>
                    <a:pt x="266" y="243"/>
                  </a:cubicBezTo>
                  <a:lnTo>
                    <a:pt x="262" y="246"/>
                  </a:lnTo>
                  <a:lnTo>
                    <a:pt x="263" y="251"/>
                  </a:lnTo>
                  <a:cubicBezTo>
                    <a:pt x="271" y="281"/>
                    <a:pt x="306" y="292"/>
                    <a:pt x="377" y="312"/>
                  </a:cubicBezTo>
                  <a:lnTo>
                    <a:pt x="392" y="316"/>
                  </a:lnTo>
                  <a:cubicBezTo>
                    <a:pt x="428" y="327"/>
                    <a:pt x="445" y="345"/>
                    <a:pt x="453" y="364"/>
                  </a:cubicBezTo>
                  <a:lnTo>
                    <a:pt x="453" y="364"/>
                  </a:lnTo>
                  <a:cubicBezTo>
                    <a:pt x="460" y="383"/>
                    <a:pt x="459" y="404"/>
                    <a:pt x="459" y="423"/>
                  </a:cubicBezTo>
                  <a:cubicBezTo>
                    <a:pt x="458" y="426"/>
                    <a:pt x="458" y="429"/>
                    <a:pt x="458" y="4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Group"/>
            <p:cNvSpPr>
              <a:spLocks/>
            </p:cNvSpPr>
            <p:nvPr>
              <p:custDataLst>
                <p:tags r:id="rId7"/>
              </p:custDataLst>
            </p:nvPr>
          </p:nvSpPr>
          <p:spPr bwMode="auto">
            <a:xfrm>
              <a:off x="91" y="174"/>
              <a:ext cx="107" cy="114"/>
            </a:xfrm>
            <a:custGeom>
              <a:avLst/>
              <a:gdLst>
                <a:gd name="T0" fmla="*/ 58 w 285"/>
                <a:gd name="T1" fmla="*/ 213 h 302"/>
                <a:gd name="T2" fmla="*/ 10 w 285"/>
                <a:gd name="T3" fmla="*/ 302 h 302"/>
                <a:gd name="T4" fmla="*/ 156 w 285"/>
                <a:gd name="T5" fmla="*/ 302 h 302"/>
                <a:gd name="T6" fmla="*/ 206 w 285"/>
                <a:gd name="T7" fmla="*/ 259 h 302"/>
                <a:gd name="T8" fmla="*/ 215 w 285"/>
                <a:gd name="T9" fmla="*/ 256 h 302"/>
                <a:gd name="T10" fmla="*/ 284 w 285"/>
                <a:gd name="T11" fmla="*/ 225 h 302"/>
                <a:gd name="T12" fmla="*/ 271 w 285"/>
                <a:gd name="T13" fmla="*/ 210 h 302"/>
                <a:gd name="T14" fmla="*/ 200 w 285"/>
                <a:gd name="T15" fmla="*/ 174 h 302"/>
                <a:gd name="T16" fmla="*/ 197 w 285"/>
                <a:gd name="T17" fmla="*/ 174 h 302"/>
                <a:gd name="T18" fmla="*/ 199 w 285"/>
                <a:gd name="T19" fmla="*/ 172 h 302"/>
                <a:gd name="T20" fmla="*/ 238 w 285"/>
                <a:gd name="T21" fmla="*/ 77 h 302"/>
                <a:gd name="T22" fmla="*/ 168 w 285"/>
                <a:gd name="T23" fmla="*/ 0 h 302"/>
                <a:gd name="T24" fmla="*/ 100 w 285"/>
                <a:gd name="T25" fmla="*/ 80 h 302"/>
                <a:gd name="T26" fmla="*/ 141 w 285"/>
                <a:gd name="T27" fmla="*/ 173 h 302"/>
                <a:gd name="T28" fmla="*/ 58 w 285"/>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302">
                  <a:moveTo>
                    <a:pt x="58" y="213"/>
                  </a:moveTo>
                  <a:cubicBezTo>
                    <a:pt x="0" y="231"/>
                    <a:pt x="10" y="273"/>
                    <a:pt x="10" y="302"/>
                  </a:cubicBezTo>
                  <a:lnTo>
                    <a:pt x="156" y="302"/>
                  </a:lnTo>
                  <a:cubicBezTo>
                    <a:pt x="162" y="284"/>
                    <a:pt x="174" y="268"/>
                    <a:pt x="206" y="259"/>
                  </a:cubicBezTo>
                  <a:lnTo>
                    <a:pt x="215" y="256"/>
                  </a:lnTo>
                  <a:cubicBezTo>
                    <a:pt x="256" y="244"/>
                    <a:pt x="278" y="238"/>
                    <a:pt x="284" y="225"/>
                  </a:cubicBezTo>
                  <a:cubicBezTo>
                    <a:pt x="283" y="220"/>
                    <a:pt x="285" y="212"/>
                    <a:pt x="271" y="210"/>
                  </a:cubicBezTo>
                  <a:cubicBezTo>
                    <a:pt x="227" y="197"/>
                    <a:pt x="205" y="191"/>
                    <a:pt x="200" y="174"/>
                  </a:cubicBezTo>
                  <a:lnTo>
                    <a:pt x="197" y="174"/>
                  </a:lnTo>
                  <a:cubicBezTo>
                    <a:pt x="198" y="174"/>
                    <a:pt x="199" y="173"/>
                    <a:pt x="199" y="172"/>
                  </a:cubicBezTo>
                  <a:cubicBezTo>
                    <a:pt x="221" y="151"/>
                    <a:pt x="238" y="110"/>
                    <a:pt x="238" y="77"/>
                  </a:cubicBezTo>
                  <a:cubicBezTo>
                    <a:pt x="238" y="31"/>
                    <a:pt x="202" y="0"/>
                    <a:pt x="168" y="0"/>
                  </a:cubicBezTo>
                  <a:cubicBezTo>
                    <a:pt x="134" y="0"/>
                    <a:pt x="100" y="33"/>
                    <a:pt x="100" y="80"/>
                  </a:cubicBezTo>
                  <a:cubicBezTo>
                    <a:pt x="100" y="113"/>
                    <a:pt x="119" y="152"/>
                    <a:pt x="141" y="173"/>
                  </a:cubicBezTo>
                  <a:cubicBezTo>
                    <a:pt x="137" y="192"/>
                    <a:pt x="111" y="198"/>
                    <a:pt x="58" y="2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5" name="Dikdörtgen 64"/>
          <p:cNvSpPr/>
          <p:nvPr/>
        </p:nvSpPr>
        <p:spPr>
          <a:xfrm>
            <a:off x="6111196" y="2334067"/>
            <a:ext cx="2002971" cy="34544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b="1" kern="0" dirty="0">
              <a:solidFill>
                <a:srgbClr val="C0504D"/>
              </a:solidFill>
            </a:endParaRPr>
          </a:p>
        </p:txBody>
      </p:sp>
      <p:sp>
        <p:nvSpPr>
          <p:cNvPr id="66" name="Metin kutusu 65"/>
          <p:cNvSpPr txBox="1"/>
          <p:nvPr/>
        </p:nvSpPr>
        <p:spPr>
          <a:xfrm>
            <a:off x="6111196" y="3402247"/>
            <a:ext cx="1973943" cy="1631216"/>
          </a:xfrm>
          <a:prstGeom prst="rect">
            <a:avLst/>
          </a:prstGeom>
          <a:noFill/>
        </p:spPr>
        <p:txBody>
          <a:bodyPr wrap="square" rtlCol="0">
            <a:spAutoFit/>
          </a:bodyPr>
          <a:lstStyle/>
          <a:p>
            <a:pPr algn="ctr">
              <a:defRPr/>
            </a:pPr>
            <a:r>
              <a:rPr lang="en-US" sz="2000" kern="0" dirty="0">
                <a:solidFill>
                  <a:srgbClr val="C00000"/>
                </a:solidFill>
              </a:rPr>
              <a:t>EĞİTİM, DANIŞMANLIK,  ORGANİZASYON VE TANITIM GİDERLERİ</a:t>
            </a:r>
          </a:p>
        </p:txBody>
      </p:sp>
      <p:sp>
        <p:nvSpPr>
          <p:cNvPr id="94" name="Metin kutusu 93"/>
          <p:cNvSpPr txBox="1"/>
          <p:nvPr/>
        </p:nvSpPr>
        <p:spPr>
          <a:xfrm>
            <a:off x="6276826" y="5195210"/>
            <a:ext cx="1545616" cy="400110"/>
          </a:xfrm>
          <a:prstGeom prst="rect">
            <a:avLst/>
          </a:prstGeom>
          <a:noFill/>
        </p:spPr>
        <p:txBody>
          <a:bodyPr wrap="none" rtlCol="0">
            <a:spAutoFit/>
          </a:bodyPr>
          <a:lstStyle/>
          <a:p>
            <a:pPr algn="ctr"/>
            <a:r>
              <a:rPr lang="tr-TR" sz="2000" b="1" dirty="0" smtClean="0">
                <a:solidFill>
                  <a:schemeClr val="tx2"/>
                </a:solidFill>
              </a:rPr>
              <a:t>1.000.000-TL</a:t>
            </a:r>
            <a:endParaRPr lang="tr-TR" sz="2000" b="1" dirty="0">
              <a:solidFill>
                <a:schemeClr val="tx2"/>
              </a:solidFill>
            </a:endParaRPr>
          </a:p>
        </p:txBody>
      </p:sp>
      <p:sp>
        <p:nvSpPr>
          <p:cNvPr id="96" name="Dikdörtgen 95"/>
          <p:cNvSpPr/>
          <p:nvPr/>
        </p:nvSpPr>
        <p:spPr>
          <a:xfrm>
            <a:off x="8154524" y="1553069"/>
            <a:ext cx="2002971" cy="34544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b="1" kern="0" dirty="0">
              <a:solidFill>
                <a:srgbClr val="C0504D"/>
              </a:solidFill>
            </a:endParaRPr>
          </a:p>
        </p:txBody>
      </p:sp>
      <p:sp>
        <p:nvSpPr>
          <p:cNvPr id="97" name="Metin kutusu 96"/>
          <p:cNvSpPr txBox="1"/>
          <p:nvPr/>
        </p:nvSpPr>
        <p:spPr>
          <a:xfrm>
            <a:off x="8111562" y="2755631"/>
            <a:ext cx="1973943" cy="707886"/>
          </a:xfrm>
          <a:prstGeom prst="rect">
            <a:avLst/>
          </a:prstGeom>
          <a:noFill/>
        </p:spPr>
        <p:txBody>
          <a:bodyPr wrap="square" rtlCol="0">
            <a:spAutoFit/>
          </a:bodyPr>
          <a:lstStyle/>
          <a:p>
            <a:pPr algn="ctr">
              <a:defRPr/>
            </a:pPr>
            <a:r>
              <a:rPr lang="en-US" sz="2000" kern="0" dirty="0">
                <a:solidFill>
                  <a:srgbClr val="C00000"/>
                </a:solidFill>
              </a:rPr>
              <a:t>MOBİ</a:t>
            </a:r>
            <a:r>
              <a:rPr lang="tr-TR" sz="2000" kern="0" dirty="0">
                <a:solidFill>
                  <a:srgbClr val="C00000"/>
                </a:solidFill>
              </a:rPr>
              <a:t>L</a:t>
            </a:r>
            <a:r>
              <a:rPr lang="en-US" sz="2000" kern="0" dirty="0">
                <a:solidFill>
                  <a:srgbClr val="C00000"/>
                </a:solidFill>
              </a:rPr>
              <a:t>YA DONANIM</a:t>
            </a:r>
          </a:p>
        </p:txBody>
      </p:sp>
      <p:sp>
        <p:nvSpPr>
          <p:cNvPr id="98" name="Metin kutusu 97"/>
          <p:cNvSpPr txBox="1"/>
          <p:nvPr/>
        </p:nvSpPr>
        <p:spPr>
          <a:xfrm>
            <a:off x="8421498" y="4040597"/>
            <a:ext cx="1410964" cy="707886"/>
          </a:xfrm>
          <a:prstGeom prst="rect">
            <a:avLst/>
          </a:prstGeom>
          <a:noFill/>
        </p:spPr>
        <p:txBody>
          <a:bodyPr wrap="none" rtlCol="0">
            <a:spAutoFit/>
          </a:bodyPr>
          <a:lstStyle/>
          <a:p>
            <a:pPr algn="ctr"/>
            <a:r>
              <a:rPr lang="tr-TR" sz="2000" b="1" dirty="0" smtClean="0">
                <a:solidFill>
                  <a:schemeClr val="tx2"/>
                </a:solidFill>
              </a:rPr>
              <a:t>300.000-TL </a:t>
            </a:r>
            <a:endParaRPr lang="tr-TR" sz="2000" b="1" dirty="0">
              <a:solidFill>
                <a:schemeClr val="tx2"/>
              </a:solidFill>
            </a:endParaRPr>
          </a:p>
          <a:p>
            <a:endParaRPr lang="en-US" sz="2000" dirty="0">
              <a:solidFill>
                <a:schemeClr val="tx2"/>
              </a:solidFill>
            </a:endParaRPr>
          </a:p>
        </p:txBody>
      </p:sp>
      <p:sp>
        <p:nvSpPr>
          <p:cNvPr id="104" name="Desk"/>
          <p:cNvSpPr>
            <a:spLocks noChangeAspect="1" noEditPoints="1"/>
          </p:cNvSpPr>
          <p:nvPr>
            <p:custDataLst>
              <p:tags r:id="rId3"/>
            </p:custDataLst>
          </p:nvPr>
        </p:nvSpPr>
        <p:spPr bwMode="auto">
          <a:xfrm>
            <a:off x="8659292" y="1671961"/>
            <a:ext cx="878482" cy="762167"/>
          </a:xfrm>
          <a:custGeom>
            <a:avLst/>
            <a:gdLst>
              <a:gd name="T0" fmla="*/ 550 w 763"/>
              <a:gd name="T1" fmla="*/ 175 h 662"/>
              <a:gd name="T2" fmla="*/ 463 w 763"/>
              <a:gd name="T3" fmla="*/ 0 h 662"/>
              <a:gd name="T4" fmla="*/ 188 w 763"/>
              <a:gd name="T5" fmla="*/ 250 h 662"/>
              <a:gd name="T6" fmla="*/ 138 w 763"/>
              <a:gd name="T7" fmla="*/ 213 h 662"/>
              <a:gd name="T8" fmla="*/ 113 w 763"/>
              <a:gd name="T9" fmla="*/ 200 h 662"/>
              <a:gd name="T10" fmla="*/ 88 w 763"/>
              <a:gd name="T11" fmla="*/ 213 h 662"/>
              <a:gd name="T12" fmla="*/ 0 w 763"/>
              <a:gd name="T13" fmla="*/ 263 h 662"/>
              <a:gd name="T14" fmla="*/ 25 w 763"/>
              <a:gd name="T15" fmla="*/ 662 h 662"/>
              <a:gd name="T16" fmla="*/ 225 w 763"/>
              <a:gd name="T17" fmla="*/ 462 h 662"/>
              <a:gd name="T18" fmla="*/ 350 w 763"/>
              <a:gd name="T19" fmla="*/ 574 h 662"/>
              <a:gd name="T20" fmla="*/ 213 w 763"/>
              <a:gd name="T21" fmla="*/ 588 h 662"/>
              <a:gd name="T22" fmla="*/ 225 w 763"/>
              <a:gd name="T23" fmla="*/ 613 h 662"/>
              <a:gd name="T24" fmla="*/ 275 w 763"/>
              <a:gd name="T25" fmla="*/ 624 h 662"/>
              <a:gd name="T26" fmla="*/ 350 w 763"/>
              <a:gd name="T27" fmla="*/ 612 h 662"/>
              <a:gd name="T28" fmla="*/ 388 w 763"/>
              <a:gd name="T29" fmla="*/ 637 h 662"/>
              <a:gd name="T30" fmla="*/ 400 w 763"/>
              <a:gd name="T31" fmla="*/ 612 h 662"/>
              <a:gd name="T32" fmla="*/ 488 w 763"/>
              <a:gd name="T33" fmla="*/ 637 h 662"/>
              <a:gd name="T34" fmla="*/ 525 w 763"/>
              <a:gd name="T35" fmla="*/ 612 h 662"/>
              <a:gd name="T36" fmla="*/ 525 w 763"/>
              <a:gd name="T37" fmla="*/ 575 h 662"/>
              <a:gd name="T38" fmla="*/ 400 w 763"/>
              <a:gd name="T39" fmla="*/ 499 h 662"/>
              <a:gd name="T40" fmla="*/ 700 w 763"/>
              <a:gd name="T41" fmla="*/ 462 h 662"/>
              <a:gd name="T42" fmla="*/ 750 w 763"/>
              <a:gd name="T43" fmla="*/ 649 h 662"/>
              <a:gd name="T44" fmla="*/ 750 w 763"/>
              <a:gd name="T45" fmla="*/ 250 h 662"/>
              <a:gd name="T46" fmla="*/ 225 w 763"/>
              <a:gd name="T47" fmla="*/ 600 h 662"/>
              <a:gd name="T48" fmla="*/ 338 w 763"/>
              <a:gd name="T49" fmla="*/ 599 h 662"/>
              <a:gd name="T50" fmla="*/ 525 w 763"/>
              <a:gd name="T51" fmla="*/ 600 h 662"/>
              <a:gd name="T52" fmla="*/ 413 w 763"/>
              <a:gd name="T53" fmla="*/ 599 h 662"/>
              <a:gd name="T54" fmla="*/ 700 w 763"/>
              <a:gd name="T55" fmla="*/ 187 h 662"/>
              <a:gd name="T56" fmla="*/ 563 w 763"/>
              <a:gd name="T57" fmla="*/ 212 h 662"/>
              <a:gd name="T58" fmla="*/ 563 w 763"/>
              <a:gd name="T59" fmla="*/ 212 h 662"/>
              <a:gd name="T60" fmla="*/ 563 w 763"/>
              <a:gd name="T61" fmla="*/ 250 h 662"/>
              <a:gd name="T62" fmla="*/ 463 w 763"/>
              <a:gd name="T63" fmla="*/ 12 h 662"/>
              <a:gd name="T64" fmla="*/ 238 w 763"/>
              <a:gd name="T65" fmla="*/ 63 h 662"/>
              <a:gd name="T66" fmla="*/ 238 w 763"/>
              <a:gd name="T67" fmla="*/ 138 h 662"/>
              <a:gd name="T68" fmla="*/ 513 w 763"/>
              <a:gd name="T69" fmla="*/ 175 h 662"/>
              <a:gd name="T70" fmla="*/ 513 w 763"/>
              <a:gd name="T71" fmla="*/ 188 h 662"/>
              <a:gd name="T72" fmla="*/ 238 w 763"/>
              <a:gd name="T73" fmla="*/ 225 h 662"/>
              <a:gd name="T74" fmla="*/ 238 w 763"/>
              <a:gd name="T75" fmla="*/ 225 h 662"/>
              <a:gd name="T76" fmla="*/ 138 w 763"/>
              <a:gd name="T77" fmla="*/ 250 h 662"/>
              <a:gd name="T78" fmla="*/ 125 w 763"/>
              <a:gd name="T79" fmla="*/ 238 h 662"/>
              <a:gd name="T80" fmla="*/ 400 w 763"/>
              <a:gd name="T81" fmla="*/ 587 h 662"/>
              <a:gd name="T82" fmla="*/ 350 w 763"/>
              <a:gd name="T83" fmla="*/ 600 h 662"/>
              <a:gd name="T84" fmla="*/ 388 w 763"/>
              <a:gd name="T85" fmla="*/ 587 h 662"/>
              <a:gd name="T86" fmla="*/ 363 w 763"/>
              <a:gd name="T87" fmla="*/ 499 h 662"/>
              <a:gd name="T88" fmla="*/ 513 w 763"/>
              <a:gd name="T89" fmla="*/ 474 h 662"/>
              <a:gd name="T90" fmla="*/ 238 w 763"/>
              <a:gd name="T91" fmla="*/ 462 h 662"/>
              <a:gd name="T92" fmla="*/ 713 w 763"/>
              <a:gd name="T93" fmla="*/ 650 h 662"/>
              <a:gd name="T94" fmla="*/ 25 w 763"/>
              <a:gd name="T95" fmla="*/ 650 h 662"/>
              <a:gd name="T96" fmla="*/ 750 w 763"/>
              <a:gd name="T97" fmla="*/ 288 h 662"/>
              <a:gd name="T98" fmla="*/ 138 w 763"/>
              <a:gd name="T99" fmla="*/ 263 h 662"/>
              <a:gd name="T100" fmla="*/ 238 w 763"/>
              <a:gd name="T101" fmla="*/ 263 h 662"/>
              <a:gd name="T102" fmla="*/ 750 w 763"/>
              <a:gd name="T103" fmla="*/ 288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3" h="662">
                <a:moveTo>
                  <a:pt x="750" y="250"/>
                </a:moveTo>
                <a:lnTo>
                  <a:pt x="713" y="250"/>
                </a:lnTo>
                <a:lnTo>
                  <a:pt x="713" y="175"/>
                </a:lnTo>
                <a:lnTo>
                  <a:pt x="550" y="175"/>
                </a:lnTo>
                <a:lnTo>
                  <a:pt x="550" y="250"/>
                </a:lnTo>
                <a:lnTo>
                  <a:pt x="525" y="250"/>
                </a:lnTo>
                <a:lnTo>
                  <a:pt x="525" y="63"/>
                </a:lnTo>
                <a:cubicBezTo>
                  <a:pt x="525" y="29"/>
                  <a:pt x="497" y="0"/>
                  <a:pt x="463" y="0"/>
                </a:cubicBezTo>
                <a:lnTo>
                  <a:pt x="288" y="0"/>
                </a:lnTo>
                <a:cubicBezTo>
                  <a:pt x="253" y="0"/>
                  <a:pt x="225" y="29"/>
                  <a:pt x="225" y="63"/>
                </a:cubicBezTo>
                <a:lnTo>
                  <a:pt x="225" y="250"/>
                </a:lnTo>
                <a:lnTo>
                  <a:pt x="188" y="250"/>
                </a:lnTo>
                <a:lnTo>
                  <a:pt x="188" y="238"/>
                </a:lnTo>
                <a:cubicBezTo>
                  <a:pt x="188" y="231"/>
                  <a:pt x="182" y="225"/>
                  <a:pt x="175" y="225"/>
                </a:cubicBezTo>
                <a:lnTo>
                  <a:pt x="138" y="225"/>
                </a:lnTo>
                <a:lnTo>
                  <a:pt x="138" y="213"/>
                </a:lnTo>
                <a:lnTo>
                  <a:pt x="125" y="213"/>
                </a:lnTo>
                <a:lnTo>
                  <a:pt x="125" y="188"/>
                </a:lnTo>
                <a:lnTo>
                  <a:pt x="113" y="188"/>
                </a:lnTo>
                <a:lnTo>
                  <a:pt x="113" y="200"/>
                </a:lnTo>
                <a:lnTo>
                  <a:pt x="100" y="200"/>
                </a:lnTo>
                <a:lnTo>
                  <a:pt x="100" y="188"/>
                </a:lnTo>
                <a:lnTo>
                  <a:pt x="88" y="188"/>
                </a:lnTo>
                <a:lnTo>
                  <a:pt x="88" y="213"/>
                </a:lnTo>
                <a:lnTo>
                  <a:pt x="75" y="213"/>
                </a:lnTo>
                <a:lnTo>
                  <a:pt x="75" y="250"/>
                </a:lnTo>
                <a:lnTo>
                  <a:pt x="13" y="250"/>
                </a:lnTo>
                <a:cubicBezTo>
                  <a:pt x="6" y="250"/>
                  <a:pt x="0" y="256"/>
                  <a:pt x="0" y="263"/>
                </a:cubicBezTo>
                <a:lnTo>
                  <a:pt x="0" y="287"/>
                </a:lnTo>
                <a:cubicBezTo>
                  <a:pt x="0" y="294"/>
                  <a:pt x="6" y="299"/>
                  <a:pt x="13" y="299"/>
                </a:cubicBezTo>
                <a:lnTo>
                  <a:pt x="13" y="649"/>
                </a:lnTo>
                <a:cubicBezTo>
                  <a:pt x="13" y="656"/>
                  <a:pt x="18" y="662"/>
                  <a:pt x="25" y="662"/>
                </a:cubicBezTo>
                <a:lnTo>
                  <a:pt x="50" y="662"/>
                </a:lnTo>
                <a:cubicBezTo>
                  <a:pt x="57" y="662"/>
                  <a:pt x="63" y="656"/>
                  <a:pt x="63" y="649"/>
                </a:cubicBezTo>
                <a:lnTo>
                  <a:pt x="63" y="462"/>
                </a:lnTo>
                <a:lnTo>
                  <a:pt x="225" y="462"/>
                </a:lnTo>
                <a:lnTo>
                  <a:pt x="225" y="474"/>
                </a:lnTo>
                <a:cubicBezTo>
                  <a:pt x="225" y="488"/>
                  <a:pt x="236" y="499"/>
                  <a:pt x="250" y="499"/>
                </a:cubicBezTo>
                <a:lnTo>
                  <a:pt x="350" y="499"/>
                </a:lnTo>
                <a:lnTo>
                  <a:pt x="350" y="574"/>
                </a:lnTo>
                <a:cubicBezTo>
                  <a:pt x="350" y="575"/>
                  <a:pt x="350" y="575"/>
                  <a:pt x="350" y="575"/>
                </a:cubicBezTo>
                <a:lnTo>
                  <a:pt x="350" y="575"/>
                </a:lnTo>
                <a:lnTo>
                  <a:pt x="225" y="575"/>
                </a:lnTo>
                <a:cubicBezTo>
                  <a:pt x="218" y="575"/>
                  <a:pt x="213" y="581"/>
                  <a:pt x="213" y="588"/>
                </a:cubicBezTo>
                <a:lnTo>
                  <a:pt x="213" y="599"/>
                </a:lnTo>
                <a:cubicBezTo>
                  <a:pt x="213" y="606"/>
                  <a:pt x="218" y="612"/>
                  <a:pt x="225" y="612"/>
                </a:cubicBezTo>
                <a:lnTo>
                  <a:pt x="225" y="612"/>
                </a:lnTo>
                <a:cubicBezTo>
                  <a:pt x="225" y="612"/>
                  <a:pt x="225" y="612"/>
                  <a:pt x="225" y="613"/>
                </a:cubicBezTo>
                <a:lnTo>
                  <a:pt x="225" y="624"/>
                </a:lnTo>
                <a:cubicBezTo>
                  <a:pt x="225" y="631"/>
                  <a:pt x="231" y="637"/>
                  <a:pt x="238" y="637"/>
                </a:cubicBezTo>
                <a:lnTo>
                  <a:pt x="263" y="637"/>
                </a:lnTo>
                <a:cubicBezTo>
                  <a:pt x="269" y="637"/>
                  <a:pt x="275" y="631"/>
                  <a:pt x="275" y="624"/>
                </a:cubicBezTo>
                <a:lnTo>
                  <a:pt x="275" y="613"/>
                </a:lnTo>
                <a:cubicBezTo>
                  <a:pt x="275" y="613"/>
                  <a:pt x="275" y="612"/>
                  <a:pt x="275" y="612"/>
                </a:cubicBezTo>
                <a:lnTo>
                  <a:pt x="350" y="612"/>
                </a:lnTo>
                <a:lnTo>
                  <a:pt x="350" y="612"/>
                </a:lnTo>
                <a:cubicBezTo>
                  <a:pt x="350" y="612"/>
                  <a:pt x="350" y="612"/>
                  <a:pt x="350" y="613"/>
                </a:cubicBezTo>
                <a:lnTo>
                  <a:pt x="350" y="624"/>
                </a:lnTo>
                <a:cubicBezTo>
                  <a:pt x="350" y="631"/>
                  <a:pt x="356" y="637"/>
                  <a:pt x="363" y="637"/>
                </a:cubicBezTo>
                <a:lnTo>
                  <a:pt x="388" y="637"/>
                </a:lnTo>
                <a:cubicBezTo>
                  <a:pt x="394" y="637"/>
                  <a:pt x="400" y="631"/>
                  <a:pt x="400" y="624"/>
                </a:cubicBezTo>
                <a:lnTo>
                  <a:pt x="400" y="613"/>
                </a:lnTo>
                <a:cubicBezTo>
                  <a:pt x="400" y="613"/>
                  <a:pt x="400" y="612"/>
                  <a:pt x="400" y="612"/>
                </a:cubicBezTo>
                <a:lnTo>
                  <a:pt x="400" y="612"/>
                </a:lnTo>
                <a:lnTo>
                  <a:pt x="475" y="612"/>
                </a:lnTo>
                <a:cubicBezTo>
                  <a:pt x="475" y="612"/>
                  <a:pt x="475" y="612"/>
                  <a:pt x="475" y="613"/>
                </a:cubicBezTo>
                <a:lnTo>
                  <a:pt x="475" y="624"/>
                </a:lnTo>
                <a:cubicBezTo>
                  <a:pt x="475" y="631"/>
                  <a:pt x="481" y="637"/>
                  <a:pt x="488" y="637"/>
                </a:cubicBezTo>
                <a:lnTo>
                  <a:pt x="513" y="637"/>
                </a:lnTo>
                <a:cubicBezTo>
                  <a:pt x="519" y="637"/>
                  <a:pt x="525" y="631"/>
                  <a:pt x="525" y="624"/>
                </a:cubicBezTo>
                <a:lnTo>
                  <a:pt x="525" y="613"/>
                </a:lnTo>
                <a:cubicBezTo>
                  <a:pt x="525" y="613"/>
                  <a:pt x="525" y="612"/>
                  <a:pt x="525" y="612"/>
                </a:cubicBezTo>
                <a:lnTo>
                  <a:pt x="525" y="612"/>
                </a:lnTo>
                <a:cubicBezTo>
                  <a:pt x="532" y="612"/>
                  <a:pt x="538" y="606"/>
                  <a:pt x="538" y="599"/>
                </a:cubicBezTo>
                <a:lnTo>
                  <a:pt x="538" y="588"/>
                </a:lnTo>
                <a:cubicBezTo>
                  <a:pt x="538" y="581"/>
                  <a:pt x="532" y="575"/>
                  <a:pt x="525" y="575"/>
                </a:cubicBezTo>
                <a:lnTo>
                  <a:pt x="400" y="575"/>
                </a:lnTo>
                <a:lnTo>
                  <a:pt x="400" y="575"/>
                </a:lnTo>
                <a:cubicBezTo>
                  <a:pt x="400" y="575"/>
                  <a:pt x="400" y="575"/>
                  <a:pt x="400" y="574"/>
                </a:cubicBezTo>
                <a:lnTo>
                  <a:pt x="400" y="499"/>
                </a:lnTo>
                <a:lnTo>
                  <a:pt x="500" y="499"/>
                </a:lnTo>
                <a:cubicBezTo>
                  <a:pt x="514" y="499"/>
                  <a:pt x="525" y="488"/>
                  <a:pt x="525" y="474"/>
                </a:cubicBezTo>
                <a:lnTo>
                  <a:pt x="525" y="462"/>
                </a:lnTo>
                <a:lnTo>
                  <a:pt x="700" y="462"/>
                </a:lnTo>
                <a:lnTo>
                  <a:pt x="700" y="649"/>
                </a:lnTo>
                <a:cubicBezTo>
                  <a:pt x="700" y="656"/>
                  <a:pt x="706" y="662"/>
                  <a:pt x="713" y="662"/>
                </a:cubicBezTo>
                <a:lnTo>
                  <a:pt x="738" y="662"/>
                </a:lnTo>
                <a:cubicBezTo>
                  <a:pt x="744" y="662"/>
                  <a:pt x="750" y="656"/>
                  <a:pt x="750" y="649"/>
                </a:cubicBezTo>
                <a:lnTo>
                  <a:pt x="750" y="299"/>
                </a:lnTo>
                <a:cubicBezTo>
                  <a:pt x="757" y="299"/>
                  <a:pt x="763" y="294"/>
                  <a:pt x="763" y="287"/>
                </a:cubicBezTo>
                <a:lnTo>
                  <a:pt x="763" y="263"/>
                </a:lnTo>
                <a:cubicBezTo>
                  <a:pt x="763" y="256"/>
                  <a:pt x="757" y="250"/>
                  <a:pt x="750" y="250"/>
                </a:cubicBezTo>
                <a:close/>
                <a:moveTo>
                  <a:pt x="338" y="600"/>
                </a:moveTo>
                <a:lnTo>
                  <a:pt x="263" y="600"/>
                </a:lnTo>
                <a:lnTo>
                  <a:pt x="238" y="600"/>
                </a:lnTo>
                <a:lnTo>
                  <a:pt x="225" y="600"/>
                </a:lnTo>
                <a:lnTo>
                  <a:pt x="225" y="587"/>
                </a:lnTo>
                <a:lnTo>
                  <a:pt x="338" y="587"/>
                </a:lnTo>
                <a:cubicBezTo>
                  <a:pt x="338" y="587"/>
                  <a:pt x="338" y="587"/>
                  <a:pt x="338" y="588"/>
                </a:cubicBezTo>
                <a:lnTo>
                  <a:pt x="338" y="599"/>
                </a:lnTo>
                <a:cubicBezTo>
                  <a:pt x="338" y="600"/>
                  <a:pt x="338" y="600"/>
                  <a:pt x="338" y="600"/>
                </a:cubicBezTo>
                <a:close/>
                <a:moveTo>
                  <a:pt x="412" y="587"/>
                </a:moveTo>
                <a:lnTo>
                  <a:pt x="525" y="587"/>
                </a:lnTo>
                <a:lnTo>
                  <a:pt x="525" y="600"/>
                </a:lnTo>
                <a:lnTo>
                  <a:pt x="513" y="600"/>
                </a:lnTo>
                <a:lnTo>
                  <a:pt x="488" y="600"/>
                </a:lnTo>
                <a:lnTo>
                  <a:pt x="412" y="600"/>
                </a:lnTo>
                <a:cubicBezTo>
                  <a:pt x="412" y="600"/>
                  <a:pt x="413" y="600"/>
                  <a:pt x="413" y="599"/>
                </a:cubicBezTo>
                <a:lnTo>
                  <a:pt x="413" y="588"/>
                </a:lnTo>
                <a:cubicBezTo>
                  <a:pt x="413" y="587"/>
                  <a:pt x="412" y="587"/>
                  <a:pt x="412" y="587"/>
                </a:cubicBezTo>
                <a:close/>
                <a:moveTo>
                  <a:pt x="563" y="187"/>
                </a:moveTo>
                <a:lnTo>
                  <a:pt x="700" y="187"/>
                </a:lnTo>
                <a:lnTo>
                  <a:pt x="700" y="200"/>
                </a:lnTo>
                <a:lnTo>
                  <a:pt x="563" y="200"/>
                </a:lnTo>
                <a:lnTo>
                  <a:pt x="563" y="187"/>
                </a:lnTo>
                <a:close/>
                <a:moveTo>
                  <a:pt x="563" y="212"/>
                </a:moveTo>
                <a:lnTo>
                  <a:pt x="700" y="212"/>
                </a:lnTo>
                <a:lnTo>
                  <a:pt x="700" y="225"/>
                </a:lnTo>
                <a:lnTo>
                  <a:pt x="563" y="225"/>
                </a:lnTo>
                <a:lnTo>
                  <a:pt x="563" y="212"/>
                </a:lnTo>
                <a:close/>
                <a:moveTo>
                  <a:pt x="563" y="237"/>
                </a:moveTo>
                <a:lnTo>
                  <a:pt x="700" y="237"/>
                </a:lnTo>
                <a:lnTo>
                  <a:pt x="700" y="250"/>
                </a:lnTo>
                <a:lnTo>
                  <a:pt x="563" y="250"/>
                </a:lnTo>
                <a:lnTo>
                  <a:pt x="563" y="237"/>
                </a:lnTo>
                <a:close/>
                <a:moveTo>
                  <a:pt x="238" y="63"/>
                </a:moveTo>
                <a:cubicBezTo>
                  <a:pt x="238" y="35"/>
                  <a:pt x="260" y="13"/>
                  <a:pt x="288" y="12"/>
                </a:cubicBezTo>
                <a:lnTo>
                  <a:pt x="463" y="12"/>
                </a:lnTo>
                <a:cubicBezTo>
                  <a:pt x="490" y="13"/>
                  <a:pt x="513" y="35"/>
                  <a:pt x="513" y="63"/>
                </a:cubicBezTo>
                <a:lnTo>
                  <a:pt x="513" y="100"/>
                </a:lnTo>
                <a:lnTo>
                  <a:pt x="238" y="100"/>
                </a:lnTo>
                <a:lnTo>
                  <a:pt x="238" y="63"/>
                </a:lnTo>
                <a:close/>
                <a:moveTo>
                  <a:pt x="238" y="113"/>
                </a:moveTo>
                <a:lnTo>
                  <a:pt x="513" y="113"/>
                </a:lnTo>
                <a:lnTo>
                  <a:pt x="513" y="138"/>
                </a:lnTo>
                <a:lnTo>
                  <a:pt x="238" y="138"/>
                </a:lnTo>
                <a:lnTo>
                  <a:pt x="238" y="113"/>
                </a:lnTo>
                <a:close/>
                <a:moveTo>
                  <a:pt x="238" y="150"/>
                </a:moveTo>
                <a:lnTo>
                  <a:pt x="513" y="150"/>
                </a:lnTo>
                <a:lnTo>
                  <a:pt x="513" y="175"/>
                </a:lnTo>
                <a:lnTo>
                  <a:pt x="238" y="175"/>
                </a:lnTo>
                <a:lnTo>
                  <a:pt x="238" y="150"/>
                </a:lnTo>
                <a:close/>
                <a:moveTo>
                  <a:pt x="238" y="188"/>
                </a:moveTo>
                <a:lnTo>
                  <a:pt x="513" y="188"/>
                </a:lnTo>
                <a:lnTo>
                  <a:pt x="513" y="213"/>
                </a:lnTo>
                <a:lnTo>
                  <a:pt x="238" y="213"/>
                </a:lnTo>
                <a:lnTo>
                  <a:pt x="238" y="188"/>
                </a:lnTo>
                <a:close/>
                <a:moveTo>
                  <a:pt x="238" y="225"/>
                </a:moveTo>
                <a:lnTo>
                  <a:pt x="513" y="225"/>
                </a:lnTo>
                <a:lnTo>
                  <a:pt x="513" y="250"/>
                </a:lnTo>
                <a:lnTo>
                  <a:pt x="238" y="250"/>
                </a:lnTo>
                <a:lnTo>
                  <a:pt x="238" y="225"/>
                </a:lnTo>
                <a:close/>
                <a:moveTo>
                  <a:pt x="138" y="238"/>
                </a:moveTo>
                <a:lnTo>
                  <a:pt x="175" y="238"/>
                </a:lnTo>
                <a:lnTo>
                  <a:pt x="175" y="250"/>
                </a:lnTo>
                <a:lnTo>
                  <a:pt x="138" y="250"/>
                </a:lnTo>
                <a:lnTo>
                  <a:pt x="138" y="238"/>
                </a:lnTo>
                <a:close/>
                <a:moveTo>
                  <a:pt x="88" y="224"/>
                </a:moveTo>
                <a:lnTo>
                  <a:pt x="125" y="224"/>
                </a:lnTo>
                <a:lnTo>
                  <a:pt x="125" y="238"/>
                </a:lnTo>
                <a:lnTo>
                  <a:pt x="125" y="250"/>
                </a:lnTo>
                <a:lnTo>
                  <a:pt x="88" y="250"/>
                </a:lnTo>
                <a:lnTo>
                  <a:pt x="88" y="224"/>
                </a:lnTo>
                <a:close/>
                <a:moveTo>
                  <a:pt x="400" y="587"/>
                </a:moveTo>
                <a:lnTo>
                  <a:pt x="400" y="600"/>
                </a:lnTo>
                <a:lnTo>
                  <a:pt x="388" y="600"/>
                </a:lnTo>
                <a:lnTo>
                  <a:pt x="363" y="600"/>
                </a:lnTo>
                <a:lnTo>
                  <a:pt x="350" y="600"/>
                </a:lnTo>
                <a:lnTo>
                  <a:pt x="350" y="587"/>
                </a:lnTo>
                <a:lnTo>
                  <a:pt x="362" y="587"/>
                </a:lnTo>
                <a:lnTo>
                  <a:pt x="363" y="587"/>
                </a:lnTo>
                <a:lnTo>
                  <a:pt x="388" y="587"/>
                </a:lnTo>
                <a:lnTo>
                  <a:pt x="388" y="587"/>
                </a:lnTo>
                <a:lnTo>
                  <a:pt x="400" y="587"/>
                </a:lnTo>
                <a:close/>
                <a:moveTo>
                  <a:pt x="363" y="575"/>
                </a:moveTo>
                <a:lnTo>
                  <a:pt x="363" y="499"/>
                </a:lnTo>
                <a:lnTo>
                  <a:pt x="388" y="499"/>
                </a:lnTo>
                <a:lnTo>
                  <a:pt x="388" y="575"/>
                </a:lnTo>
                <a:lnTo>
                  <a:pt x="363" y="575"/>
                </a:lnTo>
                <a:close/>
                <a:moveTo>
                  <a:pt x="513" y="474"/>
                </a:moveTo>
                <a:cubicBezTo>
                  <a:pt x="513" y="481"/>
                  <a:pt x="507" y="487"/>
                  <a:pt x="500" y="488"/>
                </a:cubicBezTo>
                <a:lnTo>
                  <a:pt x="250" y="488"/>
                </a:lnTo>
                <a:cubicBezTo>
                  <a:pt x="243" y="487"/>
                  <a:pt x="238" y="481"/>
                  <a:pt x="238" y="474"/>
                </a:cubicBezTo>
                <a:lnTo>
                  <a:pt x="238" y="462"/>
                </a:lnTo>
                <a:lnTo>
                  <a:pt x="513" y="462"/>
                </a:lnTo>
                <a:lnTo>
                  <a:pt x="513" y="474"/>
                </a:lnTo>
                <a:close/>
                <a:moveTo>
                  <a:pt x="738" y="650"/>
                </a:moveTo>
                <a:lnTo>
                  <a:pt x="713" y="650"/>
                </a:lnTo>
                <a:lnTo>
                  <a:pt x="713" y="450"/>
                </a:lnTo>
                <a:lnTo>
                  <a:pt x="50" y="450"/>
                </a:lnTo>
                <a:lnTo>
                  <a:pt x="50" y="650"/>
                </a:lnTo>
                <a:lnTo>
                  <a:pt x="25" y="650"/>
                </a:lnTo>
                <a:lnTo>
                  <a:pt x="25" y="299"/>
                </a:lnTo>
                <a:lnTo>
                  <a:pt x="738" y="299"/>
                </a:lnTo>
                <a:lnTo>
                  <a:pt x="738" y="650"/>
                </a:lnTo>
                <a:close/>
                <a:moveTo>
                  <a:pt x="750" y="288"/>
                </a:moveTo>
                <a:lnTo>
                  <a:pt x="13" y="288"/>
                </a:lnTo>
                <a:lnTo>
                  <a:pt x="13" y="262"/>
                </a:lnTo>
                <a:lnTo>
                  <a:pt x="132" y="262"/>
                </a:lnTo>
                <a:cubicBezTo>
                  <a:pt x="134" y="262"/>
                  <a:pt x="136" y="263"/>
                  <a:pt x="138" y="263"/>
                </a:cubicBezTo>
                <a:lnTo>
                  <a:pt x="175" y="263"/>
                </a:lnTo>
                <a:cubicBezTo>
                  <a:pt x="177" y="263"/>
                  <a:pt x="179" y="262"/>
                  <a:pt x="180" y="262"/>
                </a:cubicBezTo>
                <a:lnTo>
                  <a:pt x="238" y="262"/>
                </a:lnTo>
                <a:lnTo>
                  <a:pt x="238" y="263"/>
                </a:lnTo>
                <a:lnTo>
                  <a:pt x="513" y="263"/>
                </a:lnTo>
                <a:lnTo>
                  <a:pt x="513" y="262"/>
                </a:lnTo>
                <a:lnTo>
                  <a:pt x="750" y="262"/>
                </a:lnTo>
                <a:lnTo>
                  <a:pt x="750" y="288"/>
                </a:lnTo>
                <a:close/>
              </a:path>
            </a:pathLst>
          </a:custGeom>
          <a:solidFill>
            <a:schemeClr val="tx2"/>
          </a:solidFill>
          <a:ln w="3175">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14" name="Network4"/>
          <p:cNvGrpSpPr>
            <a:grpSpLocks noChangeAspect="1"/>
          </p:cNvGrpSpPr>
          <p:nvPr>
            <p:custDataLst>
              <p:tags r:id="rId4"/>
            </p:custDataLst>
          </p:nvPr>
        </p:nvGrpSpPr>
        <p:grpSpPr bwMode="auto">
          <a:xfrm>
            <a:off x="6573831" y="2405814"/>
            <a:ext cx="1058459" cy="862825"/>
            <a:chOff x="1142" y="-46"/>
            <a:chExt cx="5313" cy="4331"/>
          </a:xfrm>
          <a:solidFill>
            <a:schemeClr val="tx2"/>
          </a:solidFill>
        </p:grpSpPr>
        <p:sp>
          <p:nvSpPr>
            <p:cNvPr id="115" name="Freeform 47"/>
            <p:cNvSpPr>
              <a:spLocks noEditPoints="1"/>
            </p:cNvSpPr>
            <p:nvPr/>
          </p:nvSpPr>
          <p:spPr bwMode="auto">
            <a:xfrm>
              <a:off x="1142" y="332"/>
              <a:ext cx="5313" cy="3953"/>
            </a:xfrm>
            <a:custGeom>
              <a:avLst/>
              <a:gdLst>
                <a:gd name="T0" fmla="*/ 2448 w 2677"/>
                <a:gd name="T1" fmla="*/ 987 h 1988"/>
                <a:gd name="T2" fmla="*/ 1191 w 2677"/>
                <a:gd name="T3" fmla="*/ 1974 h 1988"/>
                <a:gd name="T4" fmla="*/ 198 w 2677"/>
                <a:gd name="T5" fmla="*/ 784 h 1988"/>
                <a:gd name="T6" fmla="*/ 384 w 2677"/>
                <a:gd name="T7" fmla="*/ 437 h 1988"/>
                <a:gd name="T8" fmla="*/ 1422 w 2677"/>
                <a:gd name="T9" fmla="*/ 9 h 1988"/>
                <a:gd name="T10" fmla="*/ 2345 w 2677"/>
                <a:gd name="T11" fmla="*/ 611 h 1988"/>
                <a:gd name="T12" fmla="*/ 2562 w 2677"/>
                <a:gd name="T13" fmla="*/ 801 h 1988"/>
                <a:gd name="T14" fmla="*/ 2207 w 2677"/>
                <a:gd name="T15" fmla="*/ 769 h 1988"/>
                <a:gd name="T16" fmla="*/ 2441 w 2677"/>
                <a:gd name="T17" fmla="*/ 923 h 1988"/>
                <a:gd name="T18" fmla="*/ 2562 w 2677"/>
                <a:gd name="T19" fmla="*/ 801 h 1988"/>
                <a:gd name="T20" fmla="*/ 2143 w 2677"/>
                <a:gd name="T21" fmla="*/ 800 h 1988"/>
                <a:gd name="T22" fmla="*/ 1341 w 2677"/>
                <a:gd name="T23" fmla="*/ 887 h 1988"/>
                <a:gd name="T24" fmla="*/ 1575 w 2677"/>
                <a:gd name="T25" fmla="*/ 1642 h 1988"/>
                <a:gd name="T26" fmla="*/ 2364 w 2677"/>
                <a:gd name="T27" fmla="*/ 971 h 1988"/>
                <a:gd name="T28" fmla="*/ 1598 w 2677"/>
                <a:gd name="T29" fmla="*/ 160 h 1988"/>
                <a:gd name="T30" fmla="*/ 1370 w 2677"/>
                <a:gd name="T31" fmla="*/ 524 h 1988"/>
                <a:gd name="T32" fmla="*/ 2129 w 2677"/>
                <a:gd name="T33" fmla="*/ 743 h 1988"/>
                <a:gd name="T34" fmla="*/ 1471 w 2677"/>
                <a:gd name="T35" fmla="*/ 1633 h 1988"/>
                <a:gd name="T36" fmla="*/ 996 w 2677"/>
                <a:gd name="T37" fmla="*/ 1589 h 1988"/>
                <a:gd name="T38" fmla="*/ 1471 w 2677"/>
                <a:gd name="T39" fmla="*/ 1633 h 1988"/>
                <a:gd name="T40" fmla="*/ 1356 w 2677"/>
                <a:gd name="T41" fmla="*/ 572 h 1988"/>
                <a:gd name="T42" fmla="*/ 1326 w 2677"/>
                <a:gd name="T43" fmla="*/ 824 h 1988"/>
                <a:gd name="T44" fmla="*/ 1547 w 2677"/>
                <a:gd name="T45" fmla="*/ 125 h 1988"/>
                <a:gd name="T46" fmla="*/ 1273 w 2677"/>
                <a:gd name="T47" fmla="*/ 101 h 1988"/>
                <a:gd name="T48" fmla="*/ 1547 w 2677"/>
                <a:gd name="T49" fmla="*/ 125 h 1988"/>
                <a:gd name="T50" fmla="*/ 1259 w 2677"/>
                <a:gd name="T51" fmla="*/ 875 h 1988"/>
                <a:gd name="T52" fmla="*/ 552 w 2677"/>
                <a:gd name="T53" fmla="*/ 643 h 1988"/>
                <a:gd name="T54" fmla="*/ 889 w 2677"/>
                <a:gd name="T55" fmla="*/ 1601 h 1988"/>
                <a:gd name="T56" fmla="*/ 1198 w 2677"/>
                <a:gd name="T57" fmla="*/ 1311 h 1988"/>
                <a:gd name="T58" fmla="*/ 1341 w 2677"/>
                <a:gd name="T59" fmla="*/ 219 h 1988"/>
                <a:gd name="T60" fmla="*/ 453 w 2677"/>
                <a:gd name="T61" fmla="*/ 448 h 1988"/>
                <a:gd name="T62" fmla="*/ 1101 w 2677"/>
                <a:gd name="T63" fmla="*/ 637 h 1988"/>
                <a:gd name="T64" fmla="*/ 486 w 2677"/>
                <a:gd name="T65" fmla="*/ 616 h 1988"/>
                <a:gd name="T66" fmla="*/ 136 w 2677"/>
                <a:gd name="T67" fmla="*/ 585 h 1988"/>
                <a:gd name="T68" fmla="*/ 486 w 2677"/>
                <a:gd name="T69" fmla="*/ 616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7" h="1988">
                  <a:moveTo>
                    <a:pt x="2639" y="807"/>
                  </a:moveTo>
                  <a:cubicBezTo>
                    <a:pt x="2677" y="914"/>
                    <a:pt x="2593" y="996"/>
                    <a:pt x="2448" y="987"/>
                  </a:cubicBezTo>
                  <a:cubicBezTo>
                    <a:pt x="2437" y="1364"/>
                    <a:pt x="2095" y="1706"/>
                    <a:pt x="1542" y="1775"/>
                  </a:cubicBezTo>
                  <a:cubicBezTo>
                    <a:pt x="1482" y="1902"/>
                    <a:pt x="1345" y="1988"/>
                    <a:pt x="1191" y="1974"/>
                  </a:cubicBezTo>
                  <a:cubicBezTo>
                    <a:pt x="1036" y="1959"/>
                    <a:pt x="922" y="1850"/>
                    <a:pt x="893" y="1715"/>
                  </a:cubicBezTo>
                  <a:cubicBezTo>
                    <a:pt x="373" y="1547"/>
                    <a:pt x="121" y="1153"/>
                    <a:pt x="198" y="784"/>
                  </a:cubicBezTo>
                  <a:cubicBezTo>
                    <a:pt x="60" y="766"/>
                    <a:pt x="0" y="673"/>
                    <a:pt x="60" y="578"/>
                  </a:cubicBezTo>
                  <a:cubicBezTo>
                    <a:pt x="116" y="489"/>
                    <a:pt x="258" y="431"/>
                    <a:pt x="384" y="437"/>
                  </a:cubicBezTo>
                  <a:cubicBezTo>
                    <a:pt x="579" y="229"/>
                    <a:pt x="894" y="106"/>
                    <a:pt x="1214" y="93"/>
                  </a:cubicBezTo>
                  <a:cubicBezTo>
                    <a:pt x="1229" y="36"/>
                    <a:pt x="1321" y="0"/>
                    <a:pt x="1422" y="9"/>
                  </a:cubicBezTo>
                  <a:cubicBezTo>
                    <a:pt x="1524" y="18"/>
                    <a:pt x="1605" y="69"/>
                    <a:pt x="1607" y="127"/>
                  </a:cubicBezTo>
                  <a:cubicBezTo>
                    <a:pt x="1919" y="196"/>
                    <a:pt x="2201" y="371"/>
                    <a:pt x="2345" y="611"/>
                  </a:cubicBezTo>
                  <a:cubicBezTo>
                    <a:pt x="2474" y="625"/>
                    <a:pt x="2604" y="709"/>
                    <a:pt x="2639" y="808"/>
                  </a:cubicBezTo>
                  <a:moveTo>
                    <a:pt x="2562" y="801"/>
                  </a:moveTo>
                  <a:cubicBezTo>
                    <a:pt x="2538" y="729"/>
                    <a:pt x="2445" y="669"/>
                    <a:pt x="2351" y="660"/>
                  </a:cubicBezTo>
                  <a:cubicBezTo>
                    <a:pt x="2257" y="652"/>
                    <a:pt x="2193" y="699"/>
                    <a:pt x="2207" y="769"/>
                  </a:cubicBezTo>
                  <a:cubicBezTo>
                    <a:pt x="2223" y="843"/>
                    <a:pt x="2318" y="913"/>
                    <a:pt x="2422" y="922"/>
                  </a:cubicBezTo>
                  <a:cubicBezTo>
                    <a:pt x="2428" y="923"/>
                    <a:pt x="2435" y="923"/>
                    <a:pt x="2441" y="923"/>
                  </a:cubicBezTo>
                  <a:cubicBezTo>
                    <a:pt x="2533" y="924"/>
                    <a:pt x="2586" y="871"/>
                    <a:pt x="2562" y="801"/>
                  </a:cubicBezTo>
                  <a:lnTo>
                    <a:pt x="2562" y="801"/>
                  </a:lnTo>
                  <a:moveTo>
                    <a:pt x="2364" y="971"/>
                  </a:moveTo>
                  <a:cubicBezTo>
                    <a:pt x="2262" y="941"/>
                    <a:pt x="2175" y="874"/>
                    <a:pt x="2143" y="800"/>
                  </a:cubicBezTo>
                  <a:lnTo>
                    <a:pt x="1588" y="751"/>
                  </a:lnTo>
                  <a:cubicBezTo>
                    <a:pt x="1563" y="832"/>
                    <a:pt x="1462" y="890"/>
                    <a:pt x="1341" y="887"/>
                  </a:cubicBezTo>
                  <a:lnTo>
                    <a:pt x="1294" y="1313"/>
                  </a:lnTo>
                  <a:cubicBezTo>
                    <a:pt x="1454" y="1339"/>
                    <a:pt x="1578" y="1476"/>
                    <a:pt x="1575" y="1642"/>
                  </a:cubicBezTo>
                  <a:cubicBezTo>
                    <a:pt x="1575" y="1649"/>
                    <a:pt x="1574" y="1656"/>
                    <a:pt x="1573" y="1664"/>
                  </a:cubicBezTo>
                  <a:cubicBezTo>
                    <a:pt x="2044" y="1589"/>
                    <a:pt x="2341" y="1299"/>
                    <a:pt x="2364" y="971"/>
                  </a:cubicBezTo>
                  <a:moveTo>
                    <a:pt x="2275" y="610"/>
                  </a:moveTo>
                  <a:cubicBezTo>
                    <a:pt x="2146" y="389"/>
                    <a:pt x="1887" y="226"/>
                    <a:pt x="1598" y="160"/>
                  </a:cubicBezTo>
                  <a:cubicBezTo>
                    <a:pt x="1573" y="205"/>
                    <a:pt x="1496" y="235"/>
                    <a:pt x="1404" y="229"/>
                  </a:cubicBezTo>
                  <a:lnTo>
                    <a:pt x="1370" y="524"/>
                  </a:lnTo>
                  <a:cubicBezTo>
                    <a:pt x="1488" y="538"/>
                    <a:pt x="1583" y="609"/>
                    <a:pt x="1594" y="696"/>
                  </a:cubicBezTo>
                  <a:lnTo>
                    <a:pt x="2129" y="743"/>
                  </a:lnTo>
                  <a:cubicBezTo>
                    <a:pt x="2126" y="671"/>
                    <a:pt x="2186" y="620"/>
                    <a:pt x="2275" y="610"/>
                  </a:cubicBezTo>
                  <a:moveTo>
                    <a:pt x="1471" y="1633"/>
                  </a:moveTo>
                  <a:cubicBezTo>
                    <a:pt x="1478" y="1508"/>
                    <a:pt x="1383" y="1407"/>
                    <a:pt x="1259" y="1395"/>
                  </a:cubicBezTo>
                  <a:cubicBezTo>
                    <a:pt x="1134" y="1384"/>
                    <a:pt x="1019" y="1466"/>
                    <a:pt x="996" y="1589"/>
                  </a:cubicBezTo>
                  <a:cubicBezTo>
                    <a:pt x="971" y="1721"/>
                    <a:pt x="1063" y="1843"/>
                    <a:pt x="1204" y="1856"/>
                  </a:cubicBezTo>
                  <a:cubicBezTo>
                    <a:pt x="1346" y="1869"/>
                    <a:pt x="1465" y="1766"/>
                    <a:pt x="1471" y="1633"/>
                  </a:cubicBezTo>
                  <a:moveTo>
                    <a:pt x="1518" y="708"/>
                  </a:moveTo>
                  <a:cubicBezTo>
                    <a:pt x="1521" y="639"/>
                    <a:pt x="1450" y="580"/>
                    <a:pt x="1356" y="572"/>
                  </a:cubicBezTo>
                  <a:cubicBezTo>
                    <a:pt x="1262" y="564"/>
                    <a:pt x="1178" y="608"/>
                    <a:pt x="1166" y="676"/>
                  </a:cubicBezTo>
                  <a:cubicBezTo>
                    <a:pt x="1152" y="748"/>
                    <a:pt x="1223" y="815"/>
                    <a:pt x="1326" y="824"/>
                  </a:cubicBezTo>
                  <a:cubicBezTo>
                    <a:pt x="1429" y="833"/>
                    <a:pt x="1514" y="780"/>
                    <a:pt x="1518" y="708"/>
                  </a:cubicBezTo>
                  <a:moveTo>
                    <a:pt x="1547" y="125"/>
                  </a:moveTo>
                  <a:cubicBezTo>
                    <a:pt x="1549" y="83"/>
                    <a:pt x="1492" y="46"/>
                    <a:pt x="1419" y="39"/>
                  </a:cubicBezTo>
                  <a:cubicBezTo>
                    <a:pt x="1345" y="33"/>
                    <a:pt x="1281" y="59"/>
                    <a:pt x="1273" y="101"/>
                  </a:cubicBezTo>
                  <a:cubicBezTo>
                    <a:pt x="1265" y="144"/>
                    <a:pt x="1321" y="185"/>
                    <a:pt x="1401" y="192"/>
                  </a:cubicBezTo>
                  <a:cubicBezTo>
                    <a:pt x="1480" y="199"/>
                    <a:pt x="1545" y="168"/>
                    <a:pt x="1547" y="125"/>
                  </a:cubicBezTo>
                  <a:moveTo>
                    <a:pt x="1198" y="1311"/>
                  </a:moveTo>
                  <a:lnTo>
                    <a:pt x="1259" y="875"/>
                  </a:lnTo>
                  <a:cubicBezTo>
                    <a:pt x="1152" y="846"/>
                    <a:pt x="1082" y="771"/>
                    <a:pt x="1087" y="690"/>
                  </a:cubicBezTo>
                  <a:lnTo>
                    <a:pt x="552" y="643"/>
                  </a:lnTo>
                  <a:cubicBezTo>
                    <a:pt x="507" y="718"/>
                    <a:pt x="398" y="775"/>
                    <a:pt x="282" y="786"/>
                  </a:cubicBezTo>
                  <a:cubicBezTo>
                    <a:pt x="229" y="1109"/>
                    <a:pt x="450" y="1444"/>
                    <a:pt x="889" y="1601"/>
                  </a:cubicBezTo>
                  <a:cubicBezTo>
                    <a:pt x="890" y="1594"/>
                    <a:pt x="891" y="1587"/>
                    <a:pt x="892" y="1579"/>
                  </a:cubicBezTo>
                  <a:cubicBezTo>
                    <a:pt x="925" y="1431"/>
                    <a:pt x="1054" y="1326"/>
                    <a:pt x="1198" y="1311"/>
                  </a:cubicBezTo>
                  <a:moveTo>
                    <a:pt x="1298" y="524"/>
                  </a:moveTo>
                  <a:lnTo>
                    <a:pt x="1341" y="219"/>
                  </a:lnTo>
                  <a:cubicBezTo>
                    <a:pt x="1274" y="202"/>
                    <a:pt x="1226" y="166"/>
                    <a:pt x="1215" y="127"/>
                  </a:cubicBezTo>
                  <a:cubicBezTo>
                    <a:pt x="918" y="141"/>
                    <a:pt x="629" y="256"/>
                    <a:pt x="453" y="448"/>
                  </a:cubicBezTo>
                  <a:cubicBezTo>
                    <a:pt x="534" y="470"/>
                    <a:pt x="581" y="525"/>
                    <a:pt x="572" y="590"/>
                  </a:cubicBezTo>
                  <a:lnTo>
                    <a:pt x="1101" y="637"/>
                  </a:lnTo>
                  <a:cubicBezTo>
                    <a:pt x="1132" y="575"/>
                    <a:pt x="1209" y="532"/>
                    <a:pt x="1298" y="524"/>
                  </a:cubicBezTo>
                  <a:moveTo>
                    <a:pt x="486" y="616"/>
                  </a:moveTo>
                  <a:cubicBezTo>
                    <a:pt x="517" y="550"/>
                    <a:pt x="466" y="493"/>
                    <a:pt x="372" y="485"/>
                  </a:cubicBezTo>
                  <a:cubicBezTo>
                    <a:pt x="279" y="476"/>
                    <a:pt x="176" y="519"/>
                    <a:pt x="136" y="585"/>
                  </a:cubicBezTo>
                  <a:cubicBezTo>
                    <a:pt x="95" y="653"/>
                    <a:pt x="142" y="718"/>
                    <a:pt x="244" y="727"/>
                  </a:cubicBezTo>
                  <a:cubicBezTo>
                    <a:pt x="346" y="736"/>
                    <a:pt x="454" y="686"/>
                    <a:pt x="486" y="616"/>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Freeform 48"/>
            <p:cNvSpPr>
              <a:spLocks/>
            </p:cNvSpPr>
            <p:nvPr/>
          </p:nvSpPr>
          <p:spPr bwMode="auto">
            <a:xfrm>
              <a:off x="3160" y="2921"/>
              <a:ext cx="806" cy="891"/>
            </a:xfrm>
            <a:custGeom>
              <a:avLst/>
              <a:gdLst>
                <a:gd name="T0" fmla="*/ 82 w 406"/>
                <a:gd name="T1" fmla="*/ 5 h 448"/>
                <a:gd name="T2" fmla="*/ 324 w 406"/>
                <a:gd name="T3" fmla="*/ 36 h 448"/>
                <a:gd name="T4" fmla="*/ 406 w 406"/>
                <a:gd name="T5" fmla="*/ 128 h 448"/>
                <a:gd name="T6" fmla="*/ 406 w 406"/>
                <a:gd name="T7" fmla="*/ 370 h 448"/>
                <a:gd name="T8" fmla="*/ 324 w 406"/>
                <a:gd name="T9" fmla="*/ 442 h 448"/>
                <a:gd name="T10" fmla="*/ 82 w 406"/>
                <a:gd name="T11" fmla="*/ 412 h 448"/>
                <a:gd name="T12" fmla="*/ 0 w 406"/>
                <a:gd name="T13" fmla="*/ 319 h 448"/>
                <a:gd name="T14" fmla="*/ 0 w 406"/>
                <a:gd name="T15" fmla="*/ 77 h 448"/>
                <a:gd name="T16" fmla="*/ 82 w 406"/>
                <a:gd name="T17" fmla="*/ 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6" h="448">
                  <a:moveTo>
                    <a:pt x="82" y="5"/>
                  </a:moveTo>
                  <a:lnTo>
                    <a:pt x="324" y="36"/>
                  </a:lnTo>
                  <a:cubicBezTo>
                    <a:pt x="370" y="41"/>
                    <a:pt x="406" y="82"/>
                    <a:pt x="406" y="128"/>
                  </a:cubicBezTo>
                  <a:lnTo>
                    <a:pt x="406" y="370"/>
                  </a:lnTo>
                  <a:cubicBezTo>
                    <a:pt x="406" y="416"/>
                    <a:pt x="370" y="448"/>
                    <a:pt x="324" y="442"/>
                  </a:cubicBezTo>
                  <a:lnTo>
                    <a:pt x="82" y="412"/>
                  </a:lnTo>
                  <a:cubicBezTo>
                    <a:pt x="37" y="406"/>
                    <a:pt x="0" y="365"/>
                    <a:pt x="0" y="319"/>
                  </a:cubicBezTo>
                  <a:lnTo>
                    <a:pt x="0" y="77"/>
                  </a:lnTo>
                  <a:cubicBezTo>
                    <a:pt x="0" y="32"/>
                    <a:pt x="37" y="0"/>
                    <a:pt x="82" y="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Freeform 49"/>
            <p:cNvSpPr>
              <a:spLocks/>
            </p:cNvSpPr>
            <p:nvPr/>
          </p:nvSpPr>
          <p:spPr bwMode="auto">
            <a:xfrm>
              <a:off x="3204" y="2947"/>
              <a:ext cx="720" cy="316"/>
            </a:xfrm>
            <a:custGeom>
              <a:avLst/>
              <a:gdLst>
                <a:gd name="T0" fmla="*/ 48 w 363"/>
                <a:gd name="T1" fmla="*/ 3 h 159"/>
                <a:gd name="T2" fmla="*/ 315 w 363"/>
                <a:gd name="T3" fmla="*/ 37 h 159"/>
                <a:gd name="T4" fmla="*/ 363 w 363"/>
                <a:gd name="T5" fmla="*/ 102 h 159"/>
                <a:gd name="T6" fmla="*/ 315 w 363"/>
                <a:gd name="T7" fmla="*/ 156 h 159"/>
                <a:gd name="T8" fmla="*/ 48 w 363"/>
                <a:gd name="T9" fmla="*/ 123 h 159"/>
                <a:gd name="T10" fmla="*/ 0 w 363"/>
                <a:gd name="T11" fmla="*/ 57 h 159"/>
                <a:gd name="T12" fmla="*/ 48 w 363"/>
                <a:gd name="T13" fmla="*/ 3 h 159"/>
              </a:gdLst>
              <a:ahLst/>
              <a:cxnLst>
                <a:cxn ang="0">
                  <a:pos x="T0" y="T1"/>
                </a:cxn>
                <a:cxn ang="0">
                  <a:pos x="T2" y="T3"/>
                </a:cxn>
                <a:cxn ang="0">
                  <a:pos x="T4" y="T5"/>
                </a:cxn>
                <a:cxn ang="0">
                  <a:pos x="T6" y="T7"/>
                </a:cxn>
                <a:cxn ang="0">
                  <a:pos x="T8" y="T9"/>
                </a:cxn>
                <a:cxn ang="0">
                  <a:pos x="T10" y="T11"/>
                </a:cxn>
                <a:cxn ang="0">
                  <a:pos x="T12" y="T13"/>
                </a:cxn>
              </a:cxnLst>
              <a:rect l="0" t="0" r="r" b="b"/>
              <a:pathLst>
                <a:path w="363" h="159">
                  <a:moveTo>
                    <a:pt x="48" y="3"/>
                  </a:moveTo>
                  <a:lnTo>
                    <a:pt x="315" y="37"/>
                  </a:lnTo>
                  <a:cubicBezTo>
                    <a:pt x="341" y="40"/>
                    <a:pt x="363" y="69"/>
                    <a:pt x="363" y="102"/>
                  </a:cubicBezTo>
                  <a:cubicBezTo>
                    <a:pt x="363" y="135"/>
                    <a:pt x="341" y="159"/>
                    <a:pt x="315" y="156"/>
                  </a:cubicBezTo>
                  <a:lnTo>
                    <a:pt x="48" y="123"/>
                  </a:lnTo>
                  <a:cubicBezTo>
                    <a:pt x="21" y="119"/>
                    <a:pt x="0" y="90"/>
                    <a:pt x="0" y="57"/>
                  </a:cubicBezTo>
                  <a:cubicBezTo>
                    <a:pt x="0" y="24"/>
                    <a:pt x="21" y="0"/>
                    <a:pt x="48"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Freeform 50"/>
            <p:cNvSpPr>
              <a:spLocks/>
            </p:cNvSpPr>
            <p:nvPr/>
          </p:nvSpPr>
          <p:spPr bwMode="auto">
            <a:xfrm>
              <a:off x="3160" y="3503"/>
              <a:ext cx="808" cy="309"/>
            </a:xfrm>
            <a:custGeom>
              <a:avLst/>
              <a:gdLst>
                <a:gd name="T0" fmla="*/ 0 w 407"/>
                <a:gd name="T1" fmla="*/ 0 h 155"/>
                <a:gd name="T2" fmla="*/ 0 w 407"/>
                <a:gd name="T3" fmla="*/ 26 h 155"/>
                <a:gd name="T4" fmla="*/ 82 w 407"/>
                <a:gd name="T5" fmla="*/ 119 h 155"/>
                <a:gd name="T6" fmla="*/ 324 w 407"/>
                <a:gd name="T7" fmla="*/ 149 h 155"/>
                <a:gd name="T8" fmla="*/ 407 w 407"/>
                <a:gd name="T9" fmla="*/ 77 h 155"/>
                <a:gd name="T10" fmla="*/ 407 w 407"/>
                <a:gd name="T11" fmla="*/ 51 h 155"/>
                <a:gd name="T12" fmla="*/ 324 w 407"/>
                <a:gd name="T13" fmla="*/ 123 h 155"/>
                <a:gd name="T14" fmla="*/ 82 w 407"/>
                <a:gd name="T15" fmla="*/ 92 h 155"/>
                <a:gd name="T16" fmla="*/ 0 w 407"/>
                <a:gd name="T1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7" h="155">
                  <a:moveTo>
                    <a:pt x="0" y="0"/>
                  </a:moveTo>
                  <a:lnTo>
                    <a:pt x="0" y="26"/>
                  </a:lnTo>
                  <a:cubicBezTo>
                    <a:pt x="0" y="72"/>
                    <a:pt x="37" y="113"/>
                    <a:pt x="82" y="119"/>
                  </a:cubicBezTo>
                  <a:lnTo>
                    <a:pt x="324" y="149"/>
                  </a:lnTo>
                  <a:cubicBezTo>
                    <a:pt x="370" y="155"/>
                    <a:pt x="407" y="123"/>
                    <a:pt x="407" y="77"/>
                  </a:cubicBezTo>
                  <a:lnTo>
                    <a:pt x="407" y="51"/>
                  </a:lnTo>
                  <a:cubicBezTo>
                    <a:pt x="407" y="96"/>
                    <a:pt x="370" y="128"/>
                    <a:pt x="324" y="123"/>
                  </a:cubicBezTo>
                  <a:lnTo>
                    <a:pt x="82" y="92"/>
                  </a:lnTo>
                  <a:cubicBezTo>
                    <a:pt x="37" y="87"/>
                    <a:pt x="0" y="45"/>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Freeform 51"/>
            <p:cNvSpPr>
              <a:spLocks/>
            </p:cNvSpPr>
            <p:nvPr/>
          </p:nvSpPr>
          <p:spPr bwMode="auto">
            <a:xfrm>
              <a:off x="3333" y="2501"/>
              <a:ext cx="454" cy="485"/>
            </a:xfrm>
            <a:custGeom>
              <a:avLst/>
              <a:gdLst>
                <a:gd name="T0" fmla="*/ 229 w 229"/>
                <a:gd name="T1" fmla="*/ 136 h 244"/>
                <a:gd name="T2" fmla="*/ 115 w 229"/>
                <a:gd name="T3" fmla="*/ 236 h 244"/>
                <a:gd name="T4" fmla="*/ 0 w 229"/>
                <a:gd name="T5" fmla="*/ 108 h 244"/>
                <a:gd name="T6" fmla="*/ 115 w 229"/>
                <a:gd name="T7" fmla="*/ 8 h 244"/>
                <a:gd name="T8" fmla="*/ 229 w 229"/>
                <a:gd name="T9" fmla="*/ 136 h 244"/>
              </a:gdLst>
              <a:ahLst/>
              <a:cxnLst>
                <a:cxn ang="0">
                  <a:pos x="T0" y="T1"/>
                </a:cxn>
                <a:cxn ang="0">
                  <a:pos x="T2" y="T3"/>
                </a:cxn>
                <a:cxn ang="0">
                  <a:pos x="T4" y="T5"/>
                </a:cxn>
                <a:cxn ang="0">
                  <a:pos x="T6" y="T7"/>
                </a:cxn>
                <a:cxn ang="0">
                  <a:pos x="T8" y="T9"/>
                </a:cxn>
              </a:cxnLst>
              <a:rect l="0" t="0" r="r" b="b"/>
              <a:pathLst>
                <a:path w="229" h="244">
                  <a:moveTo>
                    <a:pt x="229" y="136"/>
                  </a:moveTo>
                  <a:cubicBezTo>
                    <a:pt x="229" y="199"/>
                    <a:pt x="178" y="244"/>
                    <a:pt x="115" y="236"/>
                  </a:cubicBezTo>
                  <a:cubicBezTo>
                    <a:pt x="52" y="228"/>
                    <a:pt x="0" y="171"/>
                    <a:pt x="0" y="108"/>
                  </a:cubicBezTo>
                  <a:cubicBezTo>
                    <a:pt x="0" y="45"/>
                    <a:pt x="52" y="0"/>
                    <a:pt x="115" y="8"/>
                  </a:cubicBezTo>
                  <a:cubicBezTo>
                    <a:pt x="178" y="15"/>
                    <a:pt x="229" y="73"/>
                    <a:pt x="229" y="13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Freeform 52"/>
            <p:cNvSpPr>
              <a:spLocks/>
            </p:cNvSpPr>
            <p:nvPr/>
          </p:nvSpPr>
          <p:spPr bwMode="auto">
            <a:xfrm>
              <a:off x="3394" y="2471"/>
              <a:ext cx="334" cy="309"/>
            </a:xfrm>
            <a:custGeom>
              <a:avLst/>
              <a:gdLst>
                <a:gd name="T0" fmla="*/ 168 w 168"/>
                <a:gd name="T1" fmla="*/ 100 h 155"/>
                <a:gd name="T2" fmla="*/ 84 w 168"/>
                <a:gd name="T3" fmla="*/ 149 h 155"/>
                <a:gd name="T4" fmla="*/ 0 w 168"/>
                <a:gd name="T5" fmla="*/ 79 h 155"/>
                <a:gd name="T6" fmla="*/ 168 w 168"/>
                <a:gd name="T7" fmla="*/ 100 h 155"/>
              </a:gdLst>
              <a:ahLst/>
              <a:cxnLst>
                <a:cxn ang="0">
                  <a:pos x="T0" y="T1"/>
                </a:cxn>
                <a:cxn ang="0">
                  <a:pos x="T2" y="T3"/>
                </a:cxn>
                <a:cxn ang="0">
                  <a:pos x="T4" y="T5"/>
                </a:cxn>
                <a:cxn ang="0">
                  <a:pos x="T6" y="T7"/>
                </a:cxn>
              </a:cxnLst>
              <a:rect l="0" t="0" r="r" b="b"/>
              <a:pathLst>
                <a:path w="168" h="155">
                  <a:moveTo>
                    <a:pt x="168" y="100"/>
                  </a:moveTo>
                  <a:cubicBezTo>
                    <a:pt x="168" y="133"/>
                    <a:pt x="130" y="155"/>
                    <a:pt x="84" y="149"/>
                  </a:cubicBezTo>
                  <a:cubicBezTo>
                    <a:pt x="37" y="144"/>
                    <a:pt x="0" y="112"/>
                    <a:pt x="0" y="79"/>
                  </a:cubicBezTo>
                  <a:cubicBezTo>
                    <a:pt x="0" y="0"/>
                    <a:pt x="168" y="21"/>
                    <a:pt x="168"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Freeform 53"/>
            <p:cNvSpPr>
              <a:spLocks/>
            </p:cNvSpPr>
            <p:nvPr/>
          </p:nvSpPr>
          <p:spPr bwMode="auto">
            <a:xfrm>
              <a:off x="3333" y="2704"/>
              <a:ext cx="454" cy="282"/>
            </a:xfrm>
            <a:custGeom>
              <a:avLst/>
              <a:gdLst>
                <a:gd name="T0" fmla="*/ 1 w 229"/>
                <a:gd name="T1" fmla="*/ 0 h 142"/>
                <a:gd name="T2" fmla="*/ 0 w 229"/>
                <a:gd name="T3" fmla="*/ 6 h 142"/>
                <a:gd name="T4" fmla="*/ 115 w 229"/>
                <a:gd name="T5" fmla="*/ 134 h 142"/>
                <a:gd name="T6" fmla="*/ 229 w 229"/>
                <a:gd name="T7" fmla="*/ 34 h 142"/>
                <a:gd name="T8" fmla="*/ 228 w 229"/>
                <a:gd name="T9" fmla="*/ 28 h 142"/>
                <a:gd name="T10" fmla="*/ 115 w 229"/>
                <a:gd name="T11" fmla="*/ 123 h 142"/>
                <a:gd name="T12" fmla="*/ 1 w 229"/>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229" h="142">
                  <a:moveTo>
                    <a:pt x="1" y="0"/>
                  </a:moveTo>
                  <a:cubicBezTo>
                    <a:pt x="1" y="2"/>
                    <a:pt x="0" y="4"/>
                    <a:pt x="0" y="6"/>
                  </a:cubicBezTo>
                  <a:cubicBezTo>
                    <a:pt x="0" y="69"/>
                    <a:pt x="51" y="126"/>
                    <a:pt x="115" y="134"/>
                  </a:cubicBezTo>
                  <a:cubicBezTo>
                    <a:pt x="178" y="142"/>
                    <a:pt x="229" y="97"/>
                    <a:pt x="229" y="34"/>
                  </a:cubicBezTo>
                  <a:cubicBezTo>
                    <a:pt x="229" y="32"/>
                    <a:pt x="228" y="30"/>
                    <a:pt x="228" y="28"/>
                  </a:cubicBezTo>
                  <a:cubicBezTo>
                    <a:pt x="225" y="88"/>
                    <a:pt x="176" y="130"/>
                    <a:pt x="115" y="123"/>
                  </a:cubicBezTo>
                  <a:cubicBezTo>
                    <a:pt x="54" y="115"/>
                    <a:pt x="4" y="6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Freeform 54"/>
            <p:cNvSpPr>
              <a:spLocks/>
            </p:cNvSpPr>
            <p:nvPr/>
          </p:nvSpPr>
          <p:spPr bwMode="auto">
            <a:xfrm>
              <a:off x="3333" y="2501"/>
              <a:ext cx="454" cy="485"/>
            </a:xfrm>
            <a:custGeom>
              <a:avLst/>
              <a:gdLst>
                <a:gd name="T0" fmla="*/ 229 w 229"/>
                <a:gd name="T1" fmla="*/ 136 h 244"/>
                <a:gd name="T2" fmla="*/ 115 w 229"/>
                <a:gd name="T3" fmla="*/ 236 h 244"/>
                <a:gd name="T4" fmla="*/ 0 w 229"/>
                <a:gd name="T5" fmla="*/ 108 h 244"/>
                <a:gd name="T6" fmla="*/ 115 w 229"/>
                <a:gd name="T7" fmla="*/ 8 h 244"/>
                <a:gd name="T8" fmla="*/ 229 w 229"/>
                <a:gd name="T9" fmla="*/ 136 h 244"/>
              </a:gdLst>
              <a:ahLst/>
              <a:cxnLst>
                <a:cxn ang="0">
                  <a:pos x="T0" y="T1"/>
                </a:cxn>
                <a:cxn ang="0">
                  <a:pos x="T2" y="T3"/>
                </a:cxn>
                <a:cxn ang="0">
                  <a:pos x="T4" y="T5"/>
                </a:cxn>
                <a:cxn ang="0">
                  <a:pos x="T6" y="T7"/>
                </a:cxn>
                <a:cxn ang="0">
                  <a:pos x="T8" y="T9"/>
                </a:cxn>
              </a:cxnLst>
              <a:rect l="0" t="0" r="r" b="b"/>
              <a:pathLst>
                <a:path w="229" h="244">
                  <a:moveTo>
                    <a:pt x="229" y="136"/>
                  </a:moveTo>
                  <a:cubicBezTo>
                    <a:pt x="229" y="199"/>
                    <a:pt x="178" y="244"/>
                    <a:pt x="115" y="236"/>
                  </a:cubicBezTo>
                  <a:cubicBezTo>
                    <a:pt x="52" y="228"/>
                    <a:pt x="0" y="171"/>
                    <a:pt x="0" y="108"/>
                  </a:cubicBezTo>
                  <a:cubicBezTo>
                    <a:pt x="0" y="45"/>
                    <a:pt x="52" y="0"/>
                    <a:pt x="115" y="8"/>
                  </a:cubicBezTo>
                  <a:cubicBezTo>
                    <a:pt x="178" y="15"/>
                    <a:pt x="229" y="73"/>
                    <a:pt x="229" y="13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Freeform 55"/>
            <p:cNvSpPr>
              <a:spLocks/>
            </p:cNvSpPr>
            <p:nvPr/>
          </p:nvSpPr>
          <p:spPr bwMode="auto">
            <a:xfrm>
              <a:off x="3394" y="2471"/>
              <a:ext cx="334" cy="309"/>
            </a:xfrm>
            <a:custGeom>
              <a:avLst/>
              <a:gdLst>
                <a:gd name="T0" fmla="*/ 168 w 168"/>
                <a:gd name="T1" fmla="*/ 100 h 155"/>
                <a:gd name="T2" fmla="*/ 84 w 168"/>
                <a:gd name="T3" fmla="*/ 149 h 155"/>
                <a:gd name="T4" fmla="*/ 0 w 168"/>
                <a:gd name="T5" fmla="*/ 79 h 155"/>
                <a:gd name="T6" fmla="*/ 168 w 168"/>
                <a:gd name="T7" fmla="*/ 100 h 155"/>
              </a:gdLst>
              <a:ahLst/>
              <a:cxnLst>
                <a:cxn ang="0">
                  <a:pos x="T0" y="T1"/>
                </a:cxn>
                <a:cxn ang="0">
                  <a:pos x="T2" y="T3"/>
                </a:cxn>
                <a:cxn ang="0">
                  <a:pos x="T4" y="T5"/>
                </a:cxn>
                <a:cxn ang="0">
                  <a:pos x="T6" y="T7"/>
                </a:cxn>
              </a:cxnLst>
              <a:rect l="0" t="0" r="r" b="b"/>
              <a:pathLst>
                <a:path w="168" h="155">
                  <a:moveTo>
                    <a:pt x="168" y="100"/>
                  </a:moveTo>
                  <a:cubicBezTo>
                    <a:pt x="168" y="133"/>
                    <a:pt x="130" y="155"/>
                    <a:pt x="84" y="149"/>
                  </a:cubicBezTo>
                  <a:cubicBezTo>
                    <a:pt x="37" y="144"/>
                    <a:pt x="0" y="112"/>
                    <a:pt x="0" y="79"/>
                  </a:cubicBezTo>
                  <a:cubicBezTo>
                    <a:pt x="0" y="0"/>
                    <a:pt x="168" y="21"/>
                    <a:pt x="168"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Freeform 56"/>
            <p:cNvSpPr>
              <a:spLocks/>
            </p:cNvSpPr>
            <p:nvPr/>
          </p:nvSpPr>
          <p:spPr bwMode="auto">
            <a:xfrm>
              <a:off x="3333" y="2704"/>
              <a:ext cx="454" cy="282"/>
            </a:xfrm>
            <a:custGeom>
              <a:avLst/>
              <a:gdLst>
                <a:gd name="T0" fmla="*/ 1 w 229"/>
                <a:gd name="T1" fmla="*/ 0 h 142"/>
                <a:gd name="T2" fmla="*/ 0 w 229"/>
                <a:gd name="T3" fmla="*/ 6 h 142"/>
                <a:gd name="T4" fmla="*/ 115 w 229"/>
                <a:gd name="T5" fmla="*/ 134 h 142"/>
                <a:gd name="T6" fmla="*/ 229 w 229"/>
                <a:gd name="T7" fmla="*/ 34 h 142"/>
                <a:gd name="T8" fmla="*/ 228 w 229"/>
                <a:gd name="T9" fmla="*/ 28 h 142"/>
                <a:gd name="T10" fmla="*/ 115 w 229"/>
                <a:gd name="T11" fmla="*/ 123 h 142"/>
                <a:gd name="T12" fmla="*/ 1 w 229"/>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229" h="142">
                  <a:moveTo>
                    <a:pt x="1" y="0"/>
                  </a:moveTo>
                  <a:cubicBezTo>
                    <a:pt x="1" y="2"/>
                    <a:pt x="0" y="4"/>
                    <a:pt x="0" y="6"/>
                  </a:cubicBezTo>
                  <a:cubicBezTo>
                    <a:pt x="0" y="69"/>
                    <a:pt x="51" y="126"/>
                    <a:pt x="115" y="134"/>
                  </a:cubicBezTo>
                  <a:cubicBezTo>
                    <a:pt x="178" y="142"/>
                    <a:pt x="229" y="97"/>
                    <a:pt x="229" y="34"/>
                  </a:cubicBezTo>
                  <a:cubicBezTo>
                    <a:pt x="229" y="32"/>
                    <a:pt x="228" y="30"/>
                    <a:pt x="228" y="28"/>
                  </a:cubicBezTo>
                  <a:cubicBezTo>
                    <a:pt x="225" y="88"/>
                    <a:pt x="176" y="130"/>
                    <a:pt x="115" y="123"/>
                  </a:cubicBezTo>
                  <a:cubicBezTo>
                    <a:pt x="54" y="115"/>
                    <a:pt x="4" y="61"/>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57"/>
            <p:cNvSpPr>
              <a:spLocks/>
            </p:cNvSpPr>
            <p:nvPr/>
          </p:nvSpPr>
          <p:spPr bwMode="auto">
            <a:xfrm>
              <a:off x="3738" y="221"/>
              <a:ext cx="414" cy="433"/>
            </a:xfrm>
            <a:custGeom>
              <a:avLst/>
              <a:gdLst>
                <a:gd name="T0" fmla="*/ 43 w 209"/>
                <a:gd name="T1" fmla="*/ 1 h 218"/>
                <a:gd name="T2" fmla="*/ 167 w 209"/>
                <a:gd name="T3" fmla="*/ 7 h 218"/>
                <a:gd name="T4" fmla="*/ 209 w 209"/>
                <a:gd name="T5" fmla="*/ 52 h 218"/>
                <a:gd name="T6" fmla="*/ 209 w 209"/>
                <a:gd name="T7" fmla="*/ 176 h 218"/>
                <a:gd name="T8" fmla="*/ 167 w 209"/>
                <a:gd name="T9" fmla="*/ 216 h 218"/>
                <a:gd name="T10" fmla="*/ 43 w 209"/>
                <a:gd name="T11" fmla="*/ 210 h 218"/>
                <a:gd name="T12" fmla="*/ 0 w 209"/>
                <a:gd name="T13" fmla="*/ 165 h 218"/>
                <a:gd name="T14" fmla="*/ 0 w 209"/>
                <a:gd name="T15" fmla="*/ 41 h 218"/>
                <a:gd name="T16" fmla="*/ 43 w 209"/>
                <a:gd name="T17"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218">
                  <a:moveTo>
                    <a:pt x="43" y="1"/>
                  </a:moveTo>
                  <a:lnTo>
                    <a:pt x="167" y="7"/>
                  </a:lnTo>
                  <a:cubicBezTo>
                    <a:pt x="190" y="9"/>
                    <a:pt x="209" y="28"/>
                    <a:pt x="209" y="52"/>
                  </a:cubicBezTo>
                  <a:lnTo>
                    <a:pt x="209" y="176"/>
                  </a:lnTo>
                  <a:cubicBezTo>
                    <a:pt x="209" y="200"/>
                    <a:pt x="190" y="218"/>
                    <a:pt x="167" y="216"/>
                  </a:cubicBezTo>
                  <a:lnTo>
                    <a:pt x="43" y="210"/>
                  </a:lnTo>
                  <a:cubicBezTo>
                    <a:pt x="19" y="209"/>
                    <a:pt x="0" y="189"/>
                    <a:pt x="0" y="165"/>
                  </a:cubicBezTo>
                  <a:lnTo>
                    <a:pt x="0" y="41"/>
                  </a:lnTo>
                  <a:cubicBezTo>
                    <a:pt x="0" y="17"/>
                    <a:pt x="19" y="0"/>
                    <a:pt x="43"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Freeform 58"/>
            <p:cNvSpPr>
              <a:spLocks/>
            </p:cNvSpPr>
            <p:nvPr/>
          </p:nvSpPr>
          <p:spPr bwMode="auto">
            <a:xfrm>
              <a:off x="3759" y="233"/>
              <a:ext cx="371" cy="139"/>
            </a:xfrm>
            <a:custGeom>
              <a:avLst/>
              <a:gdLst>
                <a:gd name="T0" fmla="*/ 25 w 187"/>
                <a:gd name="T1" fmla="*/ 1 h 70"/>
                <a:gd name="T2" fmla="*/ 162 w 187"/>
                <a:gd name="T3" fmla="*/ 8 h 70"/>
                <a:gd name="T4" fmla="*/ 187 w 187"/>
                <a:gd name="T5" fmla="*/ 40 h 70"/>
                <a:gd name="T6" fmla="*/ 187 w 187"/>
                <a:gd name="T7" fmla="*/ 40 h 70"/>
                <a:gd name="T8" fmla="*/ 162 w 187"/>
                <a:gd name="T9" fmla="*/ 69 h 70"/>
                <a:gd name="T10" fmla="*/ 25 w 187"/>
                <a:gd name="T11" fmla="*/ 62 h 70"/>
                <a:gd name="T12" fmla="*/ 0 w 187"/>
                <a:gd name="T13" fmla="*/ 30 h 70"/>
                <a:gd name="T14" fmla="*/ 0 w 187"/>
                <a:gd name="T15" fmla="*/ 30 h 70"/>
                <a:gd name="T16" fmla="*/ 25 w 187"/>
                <a:gd name="T17" fmla="*/ 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70">
                  <a:moveTo>
                    <a:pt x="25" y="1"/>
                  </a:moveTo>
                  <a:lnTo>
                    <a:pt x="162" y="8"/>
                  </a:lnTo>
                  <a:cubicBezTo>
                    <a:pt x="176" y="9"/>
                    <a:pt x="187" y="23"/>
                    <a:pt x="187" y="40"/>
                  </a:cubicBezTo>
                  <a:lnTo>
                    <a:pt x="187" y="40"/>
                  </a:lnTo>
                  <a:cubicBezTo>
                    <a:pt x="187" y="57"/>
                    <a:pt x="176" y="70"/>
                    <a:pt x="162" y="69"/>
                  </a:cubicBezTo>
                  <a:lnTo>
                    <a:pt x="25" y="62"/>
                  </a:lnTo>
                  <a:cubicBezTo>
                    <a:pt x="11" y="62"/>
                    <a:pt x="0" y="47"/>
                    <a:pt x="0" y="30"/>
                  </a:cubicBezTo>
                  <a:lnTo>
                    <a:pt x="0" y="30"/>
                  </a:lnTo>
                  <a:cubicBezTo>
                    <a:pt x="0" y="13"/>
                    <a:pt x="11" y="0"/>
                    <a:pt x="25"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59"/>
            <p:cNvSpPr>
              <a:spLocks/>
            </p:cNvSpPr>
            <p:nvPr/>
          </p:nvSpPr>
          <p:spPr bwMode="auto">
            <a:xfrm>
              <a:off x="3738" y="523"/>
              <a:ext cx="414" cy="131"/>
            </a:xfrm>
            <a:custGeom>
              <a:avLst/>
              <a:gdLst>
                <a:gd name="T0" fmla="*/ 0 w 209"/>
                <a:gd name="T1" fmla="*/ 0 h 66"/>
                <a:gd name="T2" fmla="*/ 0 w 209"/>
                <a:gd name="T3" fmla="*/ 13 h 66"/>
                <a:gd name="T4" fmla="*/ 43 w 209"/>
                <a:gd name="T5" fmla="*/ 58 h 66"/>
                <a:gd name="T6" fmla="*/ 167 w 209"/>
                <a:gd name="T7" fmla="*/ 64 h 66"/>
                <a:gd name="T8" fmla="*/ 209 w 209"/>
                <a:gd name="T9" fmla="*/ 24 h 66"/>
                <a:gd name="T10" fmla="*/ 209 w 209"/>
                <a:gd name="T11" fmla="*/ 11 h 66"/>
                <a:gd name="T12" fmla="*/ 167 w 209"/>
                <a:gd name="T13" fmla="*/ 51 h 66"/>
                <a:gd name="T14" fmla="*/ 43 w 209"/>
                <a:gd name="T15" fmla="*/ 44 h 66"/>
                <a:gd name="T16" fmla="*/ 0 w 209"/>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9" h="66">
                  <a:moveTo>
                    <a:pt x="0" y="0"/>
                  </a:moveTo>
                  <a:lnTo>
                    <a:pt x="0" y="13"/>
                  </a:lnTo>
                  <a:cubicBezTo>
                    <a:pt x="0" y="37"/>
                    <a:pt x="19" y="57"/>
                    <a:pt x="43" y="58"/>
                  </a:cubicBezTo>
                  <a:lnTo>
                    <a:pt x="167" y="64"/>
                  </a:lnTo>
                  <a:cubicBezTo>
                    <a:pt x="190" y="66"/>
                    <a:pt x="209" y="48"/>
                    <a:pt x="209" y="24"/>
                  </a:cubicBezTo>
                  <a:lnTo>
                    <a:pt x="209" y="11"/>
                  </a:lnTo>
                  <a:cubicBezTo>
                    <a:pt x="209" y="34"/>
                    <a:pt x="190" y="52"/>
                    <a:pt x="167" y="51"/>
                  </a:cubicBezTo>
                  <a:lnTo>
                    <a:pt x="43" y="44"/>
                  </a:lnTo>
                  <a:cubicBezTo>
                    <a:pt x="19" y="43"/>
                    <a:pt x="0" y="23"/>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60"/>
            <p:cNvSpPr>
              <a:spLocks/>
            </p:cNvSpPr>
            <p:nvPr/>
          </p:nvSpPr>
          <p:spPr bwMode="auto">
            <a:xfrm>
              <a:off x="3827" y="-46"/>
              <a:ext cx="234" cy="283"/>
            </a:xfrm>
            <a:custGeom>
              <a:avLst/>
              <a:gdLst>
                <a:gd name="T0" fmla="*/ 118 w 118"/>
                <a:gd name="T1" fmla="*/ 85 h 142"/>
                <a:gd name="T2" fmla="*/ 59 w 118"/>
                <a:gd name="T3" fmla="*/ 141 h 142"/>
                <a:gd name="T4" fmla="*/ 0 w 118"/>
                <a:gd name="T5" fmla="*/ 79 h 142"/>
                <a:gd name="T6" fmla="*/ 118 w 118"/>
                <a:gd name="T7" fmla="*/ 85 h 142"/>
              </a:gdLst>
              <a:ahLst/>
              <a:cxnLst>
                <a:cxn ang="0">
                  <a:pos x="T0" y="T1"/>
                </a:cxn>
                <a:cxn ang="0">
                  <a:pos x="T2" y="T3"/>
                </a:cxn>
                <a:cxn ang="0">
                  <a:pos x="T4" y="T5"/>
                </a:cxn>
                <a:cxn ang="0">
                  <a:pos x="T6" y="T7"/>
                </a:cxn>
              </a:cxnLst>
              <a:rect l="0" t="0" r="r" b="b"/>
              <a:pathLst>
                <a:path w="118" h="142">
                  <a:moveTo>
                    <a:pt x="118" y="85"/>
                  </a:moveTo>
                  <a:cubicBezTo>
                    <a:pt x="118" y="117"/>
                    <a:pt x="91" y="142"/>
                    <a:pt x="59" y="141"/>
                  </a:cubicBezTo>
                  <a:cubicBezTo>
                    <a:pt x="26" y="139"/>
                    <a:pt x="0" y="111"/>
                    <a:pt x="0" y="79"/>
                  </a:cubicBezTo>
                  <a:cubicBezTo>
                    <a:pt x="0" y="0"/>
                    <a:pt x="118" y="7"/>
                    <a:pt x="118" y="8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61"/>
            <p:cNvSpPr>
              <a:spLocks/>
            </p:cNvSpPr>
            <p:nvPr/>
          </p:nvSpPr>
          <p:spPr bwMode="auto">
            <a:xfrm>
              <a:off x="3859" y="-18"/>
              <a:ext cx="170" cy="173"/>
            </a:xfrm>
            <a:custGeom>
              <a:avLst/>
              <a:gdLst>
                <a:gd name="T0" fmla="*/ 86 w 86"/>
                <a:gd name="T1" fmla="*/ 46 h 87"/>
                <a:gd name="T2" fmla="*/ 0 w 86"/>
                <a:gd name="T3" fmla="*/ 41 h 87"/>
                <a:gd name="T4" fmla="*/ 86 w 86"/>
                <a:gd name="T5" fmla="*/ 46 h 87"/>
              </a:gdLst>
              <a:ahLst/>
              <a:cxnLst>
                <a:cxn ang="0">
                  <a:pos x="T0" y="T1"/>
                </a:cxn>
                <a:cxn ang="0">
                  <a:pos x="T2" y="T3"/>
                </a:cxn>
                <a:cxn ang="0">
                  <a:pos x="T4" y="T5"/>
                </a:cxn>
              </a:cxnLst>
              <a:rect l="0" t="0" r="r" b="b"/>
              <a:pathLst>
                <a:path w="86" h="87">
                  <a:moveTo>
                    <a:pt x="86" y="46"/>
                  </a:moveTo>
                  <a:cubicBezTo>
                    <a:pt x="86" y="87"/>
                    <a:pt x="0" y="82"/>
                    <a:pt x="0" y="41"/>
                  </a:cubicBezTo>
                  <a:cubicBezTo>
                    <a:pt x="0" y="0"/>
                    <a:pt x="86" y="5"/>
                    <a:pt x="86"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Freeform 62"/>
            <p:cNvSpPr>
              <a:spLocks/>
            </p:cNvSpPr>
            <p:nvPr/>
          </p:nvSpPr>
          <p:spPr bwMode="auto">
            <a:xfrm>
              <a:off x="3827" y="105"/>
              <a:ext cx="234" cy="132"/>
            </a:xfrm>
            <a:custGeom>
              <a:avLst/>
              <a:gdLst>
                <a:gd name="T0" fmla="*/ 0 w 118"/>
                <a:gd name="T1" fmla="*/ 0 h 66"/>
                <a:gd name="T2" fmla="*/ 0 w 118"/>
                <a:gd name="T3" fmla="*/ 3 h 66"/>
                <a:gd name="T4" fmla="*/ 59 w 118"/>
                <a:gd name="T5" fmla="*/ 65 h 66"/>
                <a:gd name="T6" fmla="*/ 118 w 118"/>
                <a:gd name="T7" fmla="*/ 9 h 66"/>
                <a:gd name="T8" fmla="*/ 117 w 118"/>
                <a:gd name="T9" fmla="*/ 6 h 66"/>
                <a:gd name="T10" fmla="*/ 59 w 118"/>
                <a:gd name="T11" fmla="*/ 59 h 66"/>
                <a:gd name="T12" fmla="*/ 0 w 118"/>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18" h="66">
                  <a:moveTo>
                    <a:pt x="0" y="0"/>
                  </a:moveTo>
                  <a:cubicBezTo>
                    <a:pt x="0" y="1"/>
                    <a:pt x="0" y="2"/>
                    <a:pt x="0" y="3"/>
                  </a:cubicBezTo>
                  <a:cubicBezTo>
                    <a:pt x="0" y="35"/>
                    <a:pt x="26" y="63"/>
                    <a:pt x="59" y="65"/>
                  </a:cubicBezTo>
                  <a:cubicBezTo>
                    <a:pt x="91" y="66"/>
                    <a:pt x="118" y="41"/>
                    <a:pt x="118" y="9"/>
                  </a:cubicBezTo>
                  <a:cubicBezTo>
                    <a:pt x="118" y="8"/>
                    <a:pt x="117" y="7"/>
                    <a:pt x="117" y="6"/>
                  </a:cubicBezTo>
                  <a:cubicBezTo>
                    <a:pt x="116" y="37"/>
                    <a:pt x="90" y="60"/>
                    <a:pt x="59" y="59"/>
                  </a:cubicBezTo>
                  <a:cubicBezTo>
                    <a:pt x="28" y="57"/>
                    <a:pt x="2" y="31"/>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Freeform 63"/>
            <p:cNvSpPr>
              <a:spLocks/>
            </p:cNvSpPr>
            <p:nvPr/>
          </p:nvSpPr>
          <p:spPr bwMode="auto">
            <a:xfrm>
              <a:off x="3827" y="-46"/>
              <a:ext cx="234" cy="283"/>
            </a:xfrm>
            <a:custGeom>
              <a:avLst/>
              <a:gdLst>
                <a:gd name="T0" fmla="*/ 118 w 118"/>
                <a:gd name="T1" fmla="*/ 85 h 142"/>
                <a:gd name="T2" fmla="*/ 59 w 118"/>
                <a:gd name="T3" fmla="*/ 141 h 142"/>
                <a:gd name="T4" fmla="*/ 0 w 118"/>
                <a:gd name="T5" fmla="*/ 79 h 142"/>
                <a:gd name="T6" fmla="*/ 118 w 118"/>
                <a:gd name="T7" fmla="*/ 85 h 142"/>
              </a:gdLst>
              <a:ahLst/>
              <a:cxnLst>
                <a:cxn ang="0">
                  <a:pos x="T0" y="T1"/>
                </a:cxn>
                <a:cxn ang="0">
                  <a:pos x="T2" y="T3"/>
                </a:cxn>
                <a:cxn ang="0">
                  <a:pos x="T4" y="T5"/>
                </a:cxn>
                <a:cxn ang="0">
                  <a:pos x="T6" y="T7"/>
                </a:cxn>
              </a:cxnLst>
              <a:rect l="0" t="0" r="r" b="b"/>
              <a:pathLst>
                <a:path w="118" h="142">
                  <a:moveTo>
                    <a:pt x="118" y="85"/>
                  </a:moveTo>
                  <a:cubicBezTo>
                    <a:pt x="118" y="117"/>
                    <a:pt x="91" y="142"/>
                    <a:pt x="59" y="141"/>
                  </a:cubicBezTo>
                  <a:cubicBezTo>
                    <a:pt x="26" y="139"/>
                    <a:pt x="0" y="111"/>
                    <a:pt x="0" y="79"/>
                  </a:cubicBezTo>
                  <a:cubicBezTo>
                    <a:pt x="0" y="0"/>
                    <a:pt x="118" y="7"/>
                    <a:pt x="118" y="8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64"/>
            <p:cNvSpPr>
              <a:spLocks/>
            </p:cNvSpPr>
            <p:nvPr/>
          </p:nvSpPr>
          <p:spPr bwMode="auto">
            <a:xfrm>
              <a:off x="3859" y="-18"/>
              <a:ext cx="170" cy="173"/>
            </a:xfrm>
            <a:custGeom>
              <a:avLst/>
              <a:gdLst>
                <a:gd name="T0" fmla="*/ 86 w 86"/>
                <a:gd name="T1" fmla="*/ 46 h 87"/>
                <a:gd name="T2" fmla="*/ 0 w 86"/>
                <a:gd name="T3" fmla="*/ 41 h 87"/>
                <a:gd name="T4" fmla="*/ 86 w 86"/>
                <a:gd name="T5" fmla="*/ 46 h 87"/>
              </a:gdLst>
              <a:ahLst/>
              <a:cxnLst>
                <a:cxn ang="0">
                  <a:pos x="T0" y="T1"/>
                </a:cxn>
                <a:cxn ang="0">
                  <a:pos x="T2" y="T3"/>
                </a:cxn>
                <a:cxn ang="0">
                  <a:pos x="T4" y="T5"/>
                </a:cxn>
              </a:cxnLst>
              <a:rect l="0" t="0" r="r" b="b"/>
              <a:pathLst>
                <a:path w="86" h="87">
                  <a:moveTo>
                    <a:pt x="86" y="46"/>
                  </a:moveTo>
                  <a:cubicBezTo>
                    <a:pt x="86" y="87"/>
                    <a:pt x="0" y="82"/>
                    <a:pt x="0" y="41"/>
                  </a:cubicBezTo>
                  <a:cubicBezTo>
                    <a:pt x="0" y="0"/>
                    <a:pt x="86" y="5"/>
                    <a:pt x="86" y="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Freeform 65"/>
            <p:cNvSpPr>
              <a:spLocks/>
            </p:cNvSpPr>
            <p:nvPr/>
          </p:nvSpPr>
          <p:spPr bwMode="auto">
            <a:xfrm>
              <a:off x="3827" y="105"/>
              <a:ext cx="234" cy="132"/>
            </a:xfrm>
            <a:custGeom>
              <a:avLst/>
              <a:gdLst>
                <a:gd name="T0" fmla="*/ 0 w 118"/>
                <a:gd name="T1" fmla="*/ 0 h 66"/>
                <a:gd name="T2" fmla="*/ 0 w 118"/>
                <a:gd name="T3" fmla="*/ 3 h 66"/>
                <a:gd name="T4" fmla="*/ 59 w 118"/>
                <a:gd name="T5" fmla="*/ 65 h 66"/>
                <a:gd name="T6" fmla="*/ 118 w 118"/>
                <a:gd name="T7" fmla="*/ 9 h 66"/>
                <a:gd name="T8" fmla="*/ 117 w 118"/>
                <a:gd name="T9" fmla="*/ 6 h 66"/>
                <a:gd name="T10" fmla="*/ 59 w 118"/>
                <a:gd name="T11" fmla="*/ 59 h 66"/>
                <a:gd name="T12" fmla="*/ 0 w 118"/>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18" h="66">
                  <a:moveTo>
                    <a:pt x="0" y="0"/>
                  </a:moveTo>
                  <a:cubicBezTo>
                    <a:pt x="0" y="1"/>
                    <a:pt x="0" y="2"/>
                    <a:pt x="0" y="3"/>
                  </a:cubicBezTo>
                  <a:cubicBezTo>
                    <a:pt x="0" y="35"/>
                    <a:pt x="26" y="63"/>
                    <a:pt x="59" y="65"/>
                  </a:cubicBezTo>
                  <a:cubicBezTo>
                    <a:pt x="91" y="66"/>
                    <a:pt x="118" y="41"/>
                    <a:pt x="118" y="9"/>
                  </a:cubicBezTo>
                  <a:cubicBezTo>
                    <a:pt x="118" y="8"/>
                    <a:pt x="117" y="7"/>
                    <a:pt x="117" y="6"/>
                  </a:cubicBezTo>
                  <a:cubicBezTo>
                    <a:pt x="116" y="37"/>
                    <a:pt x="90" y="60"/>
                    <a:pt x="59" y="59"/>
                  </a:cubicBezTo>
                  <a:cubicBezTo>
                    <a:pt x="28" y="57"/>
                    <a:pt x="2" y="31"/>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Freeform 66"/>
            <p:cNvSpPr>
              <a:spLocks/>
            </p:cNvSpPr>
            <p:nvPr/>
          </p:nvSpPr>
          <p:spPr bwMode="auto">
            <a:xfrm>
              <a:off x="5667" y="1543"/>
              <a:ext cx="504" cy="531"/>
            </a:xfrm>
            <a:custGeom>
              <a:avLst/>
              <a:gdLst>
                <a:gd name="T0" fmla="*/ 51 w 254"/>
                <a:gd name="T1" fmla="*/ 2 h 267"/>
                <a:gd name="T2" fmla="*/ 202 w 254"/>
                <a:gd name="T3" fmla="*/ 12 h 267"/>
                <a:gd name="T4" fmla="*/ 254 w 254"/>
                <a:gd name="T5" fmla="*/ 67 h 267"/>
                <a:gd name="T6" fmla="*/ 254 w 254"/>
                <a:gd name="T7" fmla="*/ 217 h 267"/>
                <a:gd name="T8" fmla="*/ 202 w 254"/>
                <a:gd name="T9" fmla="*/ 265 h 267"/>
                <a:gd name="T10" fmla="*/ 51 w 254"/>
                <a:gd name="T11" fmla="*/ 255 h 267"/>
                <a:gd name="T12" fmla="*/ 0 w 254"/>
                <a:gd name="T13" fmla="*/ 201 h 267"/>
                <a:gd name="T14" fmla="*/ 0 w 254"/>
                <a:gd name="T15" fmla="*/ 50 h 267"/>
                <a:gd name="T16" fmla="*/ 51 w 254"/>
                <a:gd name="T17" fmla="*/ 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67">
                  <a:moveTo>
                    <a:pt x="51" y="2"/>
                  </a:moveTo>
                  <a:lnTo>
                    <a:pt x="202" y="12"/>
                  </a:lnTo>
                  <a:cubicBezTo>
                    <a:pt x="231" y="14"/>
                    <a:pt x="254" y="38"/>
                    <a:pt x="254" y="67"/>
                  </a:cubicBezTo>
                  <a:lnTo>
                    <a:pt x="254" y="217"/>
                  </a:lnTo>
                  <a:cubicBezTo>
                    <a:pt x="254" y="246"/>
                    <a:pt x="231" y="267"/>
                    <a:pt x="202" y="265"/>
                  </a:cubicBezTo>
                  <a:lnTo>
                    <a:pt x="51" y="255"/>
                  </a:lnTo>
                  <a:cubicBezTo>
                    <a:pt x="23" y="253"/>
                    <a:pt x="0" y="229"/>
                    <a:pt x="0" y="201"/>
                  </a:cubicBezTo>
                  <a:lnTo>
                    <a:pt x="0" y="50"/>
                  </a:lnTo>
                  <a:cubicBezTo>
                    <a:pt x="0" y="21"/>
                    <a:pt x="23" y="0"/>
                    <a:pt x="51"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Freeform 67"/>
            <p:cNvSpPr>
              <a:spLocks/>
            </p:cNvSpPr>
            <p:nvPr/>
          </p:nvSpPr>
          <p:spPr bwMode="auto">
            <a:xfrm>
              <a:off x="5694" y="1559"/>
              <a:ext cx="449" cy="175"/>
            </a:xfrm>
            <a:custGeom>
              <a:avLst/>
              <a:gdLst>
                <a:gd name="T0" fmla="*/ 29 w 226"/>
                <a:gd name="T1" fmla="*/ 1 h 88"/>
                <a:gd name="T2" fmla="*/ 196 w 226"/>
                <a:gd name="T3" fmla="*/ 12 h 88"/>
                <a:gd name="T4" fmla="*/ 226 w 226"/>
                <a:gd name="T5" fmla="*/ 51 h 88"/>
                <a:gd name="T6" fmla="*/ 196 w 226"/>
                <a:gd name="T7" fmla="*/ 87 h 88"/>
                <a:gd name="T8" fmla="*/ 29 w 226"/>
                <a:gd name="T9" fmla="*/ 76 h 88"/>
                <a:gd name="T10" fmla="*/ 0 w 226"/>
                <a:gd name="T11" fmla="*/ 36 h 88"/>
                <a:gd name="T12" fmla="*/ 29 w 226"/>
                <a:gd name="T13" fmla="*/ 1 h 88"/>
              </a:gdLst>
              <a:ahLst/>
              <a:cxnLst>
                <a:cxn ang="0">
                  <a:pos x="T0" y="T1"/>
                </a:cxn>
                <a:cxn ang="0">
                  <a:pos x="T2" y="T3"/>
                </a:cxn>
                <a:cxn ang="0">
                  <a:pos x="T4" y="T5"/>
                </a:cxn>
                <a:cxn ang="0">
                  <a:pos x="T6" y="T7"/>
                </a:cxn>
                <a:cxn ang="0">
                  <a:pos x="T8" y="T9"/>
                </a:cxn>
                <a:cxn ang="0">
                  <a:pos x="T10" y="T11"/>
                </a:cxn>
                <a:cxn ang="0">
                  <a:pos x="T12" y="T13"/>
                </a:cxn>
              </a:cxnLst>
              <a:rect l="0" t="0" r="r" b="b"/>
              <a:pathLst>
                <a:path w="226" h="88">
                  <a:moveTo>
                    <a:pt x="29" y="1"/>
                  </a:moveTo>
                  <a:lnTo>
                    <a:pt x="196" y="12"/>
                  </a:lnTo>
                  <a:cubicBezTo>
                    <a:pt x="213" y="13"/>
                    <a:pt x="226" y="31"/>
                    <a:pt x="226" y="51"/>
                  </a:cubicBezTo>
                  <a:cubicBezTo>
                    <a:pt x="226" y="72"/>
                    <a:pt x="213" y="88"/>
                    <a:pt x="196" y="87"/>
                  </a:cubicBezTo>
                  <a:lnTo>
                    <a:pt x="29" y="76"/>
                  </a:lnTo>
                  <a:cubicBezTo>
                    <a:pt x="13" y="74"/>
                    <a:pt x="0" y="57"/>
                    <a:pt x="0" y="36"/>
                  </a:cubicBezTo>
                  <a:cubicBezTo>
                    <a:pt x="0" y="16"/>
                    <a:pt x="13" y="0"/>
                    <a:pt x="29"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68"/>
            <p:cNvSpPr>
              <a:spLocks/>
            </p:cNvSpPr>
            <p:nvPr/>
          </p:nvSpPr>
          <p:spPr bwMode="auto">
            <a:xfrm>
              <a:off x="5667" y="1909"/>
              <a:ext cx="504" cy="165"/>
            </a:xfrm>
            <a:custGeom>
              <a:avLst/>
              <a:gdLst>
                <a:gd name="T0" fmla="*/ 0 w 254"/>
                <a:gd name="T1" fmla="*/ 0 h 83"/>
                <a:gd name="T2" fmla="*/ 0 w 254"/>
                <a:gd name="T3" fmla="*/ 17 h 83"/>
                <a:gd name="T4" fmla="*/ 51 w 254"/>
                <a:gd name="T5" fmla="*/ 71 h 83"/>
                <a:gd name="T6" fmla="*/ 202 w 254"/>
                <a:gd name="T7" fmla="*/ 81 h 83"/>
                <a:gd name="T8" fmla="*/ 254 w 254"/>
                <a:gd name="T9" fmla="*/ 34 h 83"/>
                <a:gd name="T10" fmla="*/ 254 w 254"/>
                <a:gd name="T11" fmla="*/ 17 h 83"/>
                <a:gd name="T12" fmla="*/ 202 w 254"/>
                <a:gd name="T13" fmla="*/ 65 h 83"/>
                <a:gd name="T14" fmla="*/ 51 w 254"/>
                <a:gd name="T15" fmla="*/ 55 h 83"/>
                <a:gd name="T16" fmla="*/ 0 w 254"/>
                <a:gd name="T1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83">
                  <a:moveTo>
                    <a:pt x="0" y="0"/>
                  </a:moveTo>
                  <a:lnTo>
                    <a:pt x="0" y="17"/>
                  </a:lnTo>
                  <a:cubicBezTo>
                    <a:pt x="0" y="45"/>
                    <a:pt x="23" y="69"/>
                    <a:pt x="51" y="71"/>
                  </a:cubicBezTo>
                  <a:lnTo>
                    <a:pt x="202" y="81"/>
                  </a:lnTo>
                  <a:cubicBezTo>
                    <a:pt x="231" y="83"/>
                    <a:pt x="254" y="62"/>
                    <a:pt x="254" y="34"/>
                  </a:cubicBezTo>
                  <a:lnTo>
                    <a:pt x="254" y="17"/>
                  </a:lnTo>
                  <a:cubicBezTo>
                    <a:pt x="254" y="45"/>
                    <a:pt x="231" y="67"/>
                    <a:pt x="202" y="65"/>
                  </a:cubicBezTo>
                  <a:lnTo>
                    <a:pt x="51" y="55"/>
                  </a:lnTo>
                  <a:cubicBezTo>
                    <a:pt x="23" y="53"/>
                    <a:pt x="0" y="29"/>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Freeform 69"/>
            <p:cNvSpPr>
              <a:spLocks/>
            </p:cNvSpPr>
            <p:nvPr/>
          </p:nvSpPr>
          <p:spPr bwMode="auto">
            <a:xfrm>
              <a:off x="5774" y="1274"/>
              <a:ext cx="284" cy="293"/>
            </a:xfrm>
            <a:custGeom>
              <a:avLst/>
              <a:gdLst>
                <a:gd name="T0" fmla="*/ 143 w 143"/>
                <a:gd name="T1" fmla="*/ 78 h 147"/>
                <a:gd name="T2" fmla="*/ 72 w 143"/>
                <a:gd name="T3" fmla="*/ 145 h 147"/>
                <a:gd name="T4" fmla="*/ 0 w 143"/>
                <a:gd name="T5" fmla="*/ 69 h 147"/>
                <a:gd name="T6" fmla="*/ 72 w 143"/>
                <a:gd name="T7" fmla="*/ 2 h 147"/>
                <a:gd name="T8" fmla="*/ 143 w 143"/>
                <a:gd name="T9" fmla="*/ 78 h 147"/>
              </a:gdLst>
              <a:ahLst/>
              <a:cxnLst>
                <a:cxn ang="0">
                  <a:pos x="T0" y="T1"/>
                </a:cxn>
                <a:cxn ang="0">
                  <a:pos x="T2" y="T3"/>
                </a:cxn>
                <a:cxn ang="0">
                  <a:pos x="T4" y="T5"/>
                </a:cxn>
                <a:cxn ang="0">
                  <a:pos x="T6" y="T7"/>
                </a:cxn>
                <a:cxn ang="0">
                  <a:pos x="T8" y="T9"/>
                </a:cxn>
              </a:cxnLst>
              <a:rect l="0" t="0" r="r" b="b"/>
              <a:pathLst>
                <a:path w="143" h="147">
                  <a:moveTo>
                    <a:pt x="143" y="78"/>
                  </a:moveTo>
                  <a:cubicBezTo>
                    <a:pt x="143" y="118"/>
                    <a:pt x="111" y="147"/>
                    <a:pt x="72" y="145"/>
                  </a:cubicBezTo>
                  <a:cubicBezTo>
                    <a:pt x="32" y="142"/>
                    <a:pt x="0" y="108"/>
                    <a:pt x="0" y="69"/>
                  </a:cubicBezTo>
                  <a:cubicBezTo>
                    <a:pt x="0" y="29"/>
                    <a:pt x="32" y="0"/>
                    <a:pt x="72" y="2"/>
                  </a:cubicBezTo>
                  <a:cubicBezTo>
                    <a:pt x="111" y="5"/>
                    <a:pt x="143" y="39"/>
                    <a:pt x="143"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Freeform 70"/>
            <p:cNvSpPr>
              <a:spLocks/>
            </p:cNvSpPr>
            <p:nvPr/>
          </p:nvSpPr>
          <p:spPr bwMode="auto">
            <a:xfrm>
              <a:off x="5812" y="1257"/>
              <a:ext cx="208" cy="210"/>
            </a:xfrm>
            <a:custGeom>
              <a:avLst/>
              <a:gdLst>
                <a:gd name="T0" fmla="*/ 105 w 105"/>
                <a:gd name="T1" fmla="*/ 57 h 106"/>
                <a:gd name="T2" fmla="*/ 0 w 105"/>
                <a:gd name="T3" fmla="*/ 50 h 106"/>
                <a:gd name="T4" fmla="*/ 105 w 105"/>
                <a:gd name="T5" fmla="*/ 57 h 106"/>
              </a:gdLst>
              <a:ahLst/>
              <a:cxnLst>
                <a:cxn ang="0">
                  <a:pos x="T0" y="T1"/>
                </a:cxn>
                <a:cxn ang="0">
                  <a:pos x="T2" y="T3"/>
                </a:cxn>
                <a:cxn ang="0">
                  <a:pos x="T4" y="T5"/>
                </a:cxn>
              </a:cxnLst>
              <a:rect l="0" t="0" r="r" b="b"/>
              <a:pathLst>
                <a:path w="105" h="106">
                  <a:moveTo>
                    <a:pt x="105" y="57"/>
                  </a:moveTo>
                  <a:cubicBezTo>
                    <a:pt x="105" y="106"/>
                    <a:pt x="0" y="99"/>
                    <a:pt x="0" y="50"/>
                  </a:cubicBezTo>
                  <a:cubicBezTo>
                    <a:pt x="0" y="0"/>
                    <a:pt x="105" y="7"/>
                    <a:pt x="105"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Freeform 71"/>
            <p:cNvSpPr>
              <a:spLocks/>
            </p:cNvSpPr>
            <p:nvPr/>
          </p:nvSpPr>
          <p:spPr bwMode="auto">
            <a:xfrm>
              <a:off x="5774" y="1404"/>
              <a:ext cx="284" cy="165"/>
            </a:xfrm>
            <a:custGeom>
              <a:avLst/>
              <a:gdLst>
                <a:gd name="T0" fmla="*/ 1 w 143"/>
                <a:gd name="T1" fmla="*/ 0 h 83"/>
                <a:gd name="T2" fmla="*/ 0 w 143"/>
                <a:gd name="T3" fmla="*/ 4 h 83"/>
                <a:gd name="T4" fmla="*/ 72 w 143"/>
                <a:gd name="T5" fmla="*/ 80 h 83"/>
                <a:gd name="T6" fmla="*/ 143 w 143"/>
                <a:gd name="T7" fmla="*/ 14 h 83"/>
                <a:gd name="T8" fmla="*/ 143 w 143"/>
                <a:gd name="T9" fmla="*/ 10 h 83"/>
                <a:gd name="T10" fmla="*/ 72 w 143"/>
                <a:gd name="T11" fmla="*/ 73 h 83"/>
                <a:gd name="T12" fmla="*/ 1 w 143"/>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143" h="83">
                  <a:moveTo>
                    <a:pt x="1" y="0"/>
                  </a:moveTo>
                  <a:cubicBezTo>
                    <a:pt x="1" y="2"/>
                    <a:pt x="0" y="3"/>
                    <a:pt x="0" y="4"/>
                  </a:cubicBezTo>
                  <a:cubicBezTo>
                    <a:pt x="0" y="43"/>
                    <a:pt x="32" y="77"/>
                    <a:pt x="72" y="80"/>
                  </a:cubicBezTo>
                  <a:cubicBezTo>
                    <a:pt x="111" y="83"/>
                    <a:pt x="143" y="53"/>
                    <a:pt x="143" y="14"/>
                  </a:cubicBezTo>
                  <a:cubicBezTo>
                    <a:pt x="143" y="12"/>
                    <a:pt x="143" y="11"/>
                    <a:pt x="143" y="10"/>
                  </a:cubicBezTo>
                  <a:cubicBezTo>
                    <a:pt x="141" y="47"/>
                    <a:pt x="110" y="75"/>
                    <a:pt x="72" y="73"/>
                  </a:cubicBezTo>
                  <a:cubicBezTo>
                    <a:pt x="34" y="70"/>
                    <a:pt x="3" y="38"/>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Freeform 72"/>
            <p:cNvSpPr>
              <a:spLocks/>
            </p:cNvSpPr>
            <p:nvPr/>
          </p:nvSpPr>
          <p:spPr bwMode="auto">
            <a:xfrm>
              <a:off x="5774" y="1274"/>
              <a:ext cx="284" cy="293"/>
            </a:xfrm>
            <a:custGeom>
              <a:avLst/>
              <a:gdLst>
                <a:gd name="T0" fmla="*/ 143 w 143"/>
                <a:gd name="T1" fmla="*/ 78 h 147"/>
                <a:gd name="T2" fmla="*/ 72 w 143"/>
                <a:gd name="T3" fmla="*/ 145 h 147"/>
                <a:gd name="T4" fmla="*/ 0 w 143"/>
                <a:gd name="T5" fmla="*/ 69 h 147"/>
                <a:gd name="T6" fmla="*/ 72 w 143"/>
                <a:gd name="T7" fmla="*/ 2 h 147"/>
                <a:gd name="T8" fmla="*/ 143 w 143"/>
                <a:gd name="T9" fmla="*/ 78 h 147"/>
              </a:gdLst>
              <a:ahLst/>
              <a:cxnLst>
                <a:cxn ang="0">
                  <a:pos x="T0" y="T1"/>
                </a:cxn>
                <a:cxn ang="0">
                  <a:pos x="T2" y="T3"/>
                </a:cxn>
                <a:cxn ang="0">
                  <a:pos x="T4" y="T5"/>
                </a:cxn>
                <a:cxn ang="0">
                  <a:pos x="T6" y="T7"/>
                </a:cxn>
                <a:cxn ang="0">
                  <a:pos x="T8" y="T9"/>
                </a:cxn>
              </a:cxnLst>
              <a:rect l="0" t="0" r="r" b="b"/>
              <a:pathLst>
                <a:path w="143" h="147">
                  <a:moveTo>
                    <a:pt x="143" y="78"/>
                  </a:moveTo>
                  <a:cubicBezTo>
                    <a:pt x="143" y="118"/>
                    <a:pt x="111" y="147"/>
                    <a:pt x="72" y="145"/>
                  </a:cubicBezTo>
                  <a:cubicBezTo>
                    <a:pt x="32" y="142"/>
                    <a:pt x="0" y="108"/>
                    <a:pt x="0" y="69"/>
                  </a:cubicBezTo>
                  <a:cubicBezTo>
                    <a:pt x="0" y="29"/>
                    <a:pt x="32" y="0"/>
                    <a:pt x="72" y="2"/>
                  </a:cubicBezTo>
                  <a:cubicBezTo>
                    <a:pt x="111" y="5"/>
                    <a:pt x="143" y="39"/>
                    <a:pt x="143"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Freeform 73"/>
            <p:cNvSpPr>
              <a:spLocks/>
            </p:cNvSpPr>
            <p:nvPr/>
          </p:nvSpPr>
          <p:spPr bwMode="auto">
            <a:xfrm>
              <a:off x="5812" y="1257"/>
              <a:ext cx="208" cy="210"/>
            </a:xfrm>
            <a:custGeom>
              <a:avLst/>
              <a:gdLst>
                <a:gd name="T0" fmla="*/ 105 w 105"/>
                <a:gd name="T1" fmla="*/ 57 h 106"/>
                <a:gd name="T2" fmla="*/ 0 w 105"/>
                <a:gd name="T3" fmla="*/ 50 h 106"/>
                <a:gd name="T4" fmla="*/ 105 w 105"/>
                <a:gd name="T5" fmla="*/ 57 h 106"/>
              </a:gdLst>
              <a:ahLst/>
              <a:cxnLst>
                <a:cxn ang="0">
                  <a:pos x="T0" y="T1"/>
                </a:cxn>
                <a:cxn ang="0">
                  <a:pos x="T2" y="T3"/>
                </a:cxn>
                <a:cxn ang="0">
                  <a:pos x="T4" y="T5"/>
                </a:cxn>
              </a:cxnLst>
              <a:rect l="0" t="0" r="r" b="b"/>
              <a:pathLst>
                <a:path w="105" h="106">
                  <a:moveTo>
                    <a:pt x="105" y="57"/>
                  </a:moveTo>
                  <a:cubicBezTo>
                    <a:pt x="105" y="106"/>
                    <a:pt x="0" y="99"/>
                    <a:pt x="0" y="50"/>
                  </a:cubicBezTo>
                  <a:cubicBezTo>
                    <a:pt x="0" y="0"/>
                    <a:pt x="105" y="7"/>
                    <a:pt x="105"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Freeform 74"/>
            <p:cNvSpPr>
              <a:spLocks/>
            </p:cNvSpPr>
            <p:nvPr/>
          </p:nvSpPr>
          <p:spPr bwMode="auto">
            <a:xfrm>
              <a:off x="5774" y="1404"/>
              <a:ext cx="284" cy="165"/>
            </a:xfrm>
            <a:custGeom>
              <a:avLst/>
              <a:gdLst>
                <a:gd name="T0" fmla="*/ 1 w 143"/>
                <a:gd name="T1" fmla="*/ 0 h 83"/>
                <a:gd name="T2" fmla="*/ 0 w 143"/>
                <a:gd name="T3" fmla="*/ 4 h 83"/>
                <a:gd name="T4" fmla="*/ 72 w 143"/>
                <a:gd name="T5" fmla="*/ 80 h 83"/>
                <a:gd name="T6" fmla="*/ 143 w 143"/>
                <a:gd name="T7" fmla="*/ 14 h 83"/>
                <a:gd name="T8" fmla="*/ 143 w 143"/>
                <a:gd name="T9" fmla="*/ 10 h 83"/>
                <a:gd name="T10" fmla="*/ 72 w 143"/>
                <a:gd name="T11" fmla="*/ 73 h 83"/>
                <a:gd name="T12" fmla="*/ 1 w 143"/>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143" h="83">
                  <a:moveTo>
                    <a:pt x="1" y="0"/>
                  </a:moveTo>
                  <a:cubicBezTo>
                    <a:pt x="1" y="2"/>
                    <a:pt x="0" y="3"/>
                    <a:pt x="0" y="4"/>
                  </a:cubicBezTo>
                  <a:cubicBezTo>
                    <a:pt x="0" y="43"/>
                    <a:pt x="32" y="77"/>
                    <a:pt x="72" y="80"/>
                  </a:cubicBezTo>
                  <a:cubicBezTo>
                    <a:pt x="111" y="83"/>
                    <a:pt x="143" y="53"/>
                    <a:pt x="143" y="14"/>
                  </a:cubicBezTo>
                  <a:cubicBezTo>
                    <a:pt x="143" y="12"/>
                    <a:pt x="143" y="11"/>
                    <a:pt x="143" y="10"/>
                  </a:cubicBezTo>
                  <a:cubicBezTo>
                    <a:pt x="141" y="47"/>
                    <a:pt x="110" y="75"/>
                    <a:pt x="72" y="73"/>
                  </a:cubicBezTo>
                  <a:cubicBezTo>
                    <a:pt x="34" y="70"/>
                    <a:pt x="3" y="38"/>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Freeform 75"/>
            <p:cNvSpPr>
              <a:spLocks/>
            </p:cNvSpPr>
            <p:nvPr/>
          </p:nvSpPr>
          <p:spPr bwMode="auto">
            <a:xfrm>
              <a:off x="3551" y="1356"/>
              <a:ext cx="504" cy="531"/>
            </a:xfrm>
            <a:custGeom>
              <a:avLst/>
              <a:gdLst>
                <a:gd name="T0" fmla="*/ 52 w 254"/>
                <a:gd name="T1" fmla="*/ 2 h 267"/>
                <a:gd name="T2" fmla="*/ 203 w 254"/>
                <a:gd name="T3" fmla="*/ 12 h 267"/>
                <a:gd name="T4" fmla="*/ 254 w 254"/>
                <a:gd name="T5" fmla="*/ 67 h 267"/>
                <a:gd name="T6" fmla="*/ 254 w 254"/>
                <a:gd name="T7" fmla="*/ 218 h 267"/>
                <a:gd name="T8" fmla="*/ 203 w 254"/>
                <a:gd name="T9" fmla="*/ 266 h 267"/>
                <a:gd name="T10" fmla="*/ 52 w 254"/>
                <a:gd name="T11" fmla="*/ 256 h 267"/>
                <a:gd name="T12" fmla="*/ 0 w 254"/>
                <a:gd name="T13" fmla="*/ 201 h 267"/>
                <a:gd name="T14" fmla="*/ 0 w 254"/>
                <a:gd name="T15" fmla="*/ 50 h 267"/>
                <a:gd name="T16" fmla="*/ 52 w 254"/>
                <a:gd name="T17" fmla="*/ 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67">
                  <a:moveTo>
                    <a:pt x="52" y="2"/>
                  </a:moveTo>
                  <a:lnTo>
                    <a:pt x="203" y="12"/>
                  </a:lnTo>
                  <a:cubicBezTo>
                    <a:pt x="231" y="14"/>
                    <a:pt x="254" y="38"/>
                    <a:pt x="254" y="67"/>
                  </a:cubicBezTo>
                  <a:lnTo>
                    <a:pt x="254" y="218"/>
                  </a:lnTo>
                  <a:cubicBezTo>
                    <a:pt x="254" y="246"/>
                    <a:pt x="231" y="267"/>
                    <a:pt x="203" y="266"/>
                  </a:cubicBezTo>
                  <a:lnTo>
                    <a:pt x="52" y="256"/>
                  </a:lnTo>
                  <a:cubicBezTo>
                    <a:pt x="23" y="254"/>
                    <a:pt x="0" y="229"/>
                    <a:pt x="0" y="201"/>
                  </a:cubicBezTo>
                  <a:lnTo>
                    <a:pt x="0" y="50"/>
                  </a:lnTo>
                  <a:cubicBezTo>
                    <a:pt x="0" y="21"/>
                    <a:pt x="23" y="0"/>
                    <a:pt x="52"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Freeform 76"/>
            <p:cNvSpPr>
              <a:spLocks/>
            </p:cNvSpPr>
            <p:nvPr/>
          </p:nvSpPr>
          <p:spPr bwMode="auto">
            <a:xfrm>
              <a:off x="3579" y="1372"/>
              <a:ext cx="448" cy="175"/>
            </a:xfrm>
            <a:custGeom>
              <a:avLst/>
              <a:gdLst>
                <a:gd name="T0" fmla="*/ 30 w 226"/>
                <a:gd name="T1" fmla="*/ 1 h 88"/>
                <a:gd name="T2" fmla="*/ 196 w 226"/>
                <a:gd name="T3" fmla="*/ 12 h 88"/>
                <a:gd name="T4" fmla="*/ 226 w 226"/>
                <a:gd name="T5" fmla="*/ 52 h 88"/>
                <a:gd name="T6" fmla="*/ 196 w 226"/>
                <a:gd name="T7" fmla="*/ 87 h 88"/>
                <a:gd name="T8" fmla="*/ 30 w 226"/>
                <a:gd name="T9" fmla="*/ 76 h 88"/>
                <a:gd name="T10" fmla="*/ 0 w 226"/>
                <a:gd name="T11" fmla="*/ 37 h 88"/>
                <a:gd name="T12" fmla="*/ 30 w 226"/>
                <a:gd name="T13" fmla="*/ 1 h 88"/>
              </a:gdLst>
              <a:ahLst/>
              <a:cxnLst>
                <a:cxn ang="0">
                  <a:pos x="T0" y="T1"/>
                </a:cxn>
                <a:cxn ang="0">
                  <a:pos x="T2" y="T3"/>
                </a:cxn>
                <a:cxn ang="0">
                  <a:pos x="T4" y="T5"/>
                </a:cxn>
                <a:cxn ang="0">
                  <a:pos x="T6" y="T7"/>
                </a:cxn>
                <a:cxn ang="0">
                  <a:pos x="T8" y="T9"/>
                </a:cxn>
                <a:cxn ang="0">
                  <a:pos x="T10" y="T11"/>
                </a:cxn>
                <a:cxn ang="0">
                  <a:pos x="T12" y="T13"/>
                </a:cxn>
              </a:cxnLst>
              <a:rect l="0" t="0" r="r" b="b"/>
              <a:pathLst>
                <a:path w="226" h="88">
                  <a:moveTo>
                    <a:pt x="30" y="1"/>
                  </a:moveTo>
                  <a:lnTo>
                    <a:pt x="196" y="12"/>
                  </a:lnTo>
                  <a:cubicBezTo>
                    <a:pt x="213" y="14"/>
                    <a:pt x="226" y="31"/>
                    <a:pt x="226" y="52"/>
                  </a:cubicBezTo>
                  <a:cubicBezTo>
                    <a:pt x="226" y="72"/>
                    <a:pt x="213" y="88"/>
                    <a:pt x="196" y="87"/>
                  </a:cubicBezTo>
                  <a:lnTo>
                    <a:pt x="30" y="76"/>
                  </a:lnTo>
                  <a:cubicBezTo>
                    <a:pt x="13" y="75"/>
                    <a:pt x="0" y="57"/>
                    <a:pt x="0" y="37"/>
                  </a:cubicBezTo>
                  <a:cubicBezTo>
                    <a:pt x="0" y="16"/>
                    <a:pt x="13" y="0"/>
                    <a:pt x="30"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Freeform 77"/>
            <p:cNvSpPr>
              <a:spLocks/>
            </p:cNvSpPr>
            <p:nvPr/>
          </p:nvSpPr>
          <p:spPr bwMode="auto">
            <a:xfrm>
              <a:off x="3551" y="1722"/>
              <a:ext cx="504" cy="165"/>
            </a:xfrm>
            <a:custGeom>
              <a:avLst/>
              <a:gdLst>
                <a:gd name="T0" fmla="*/ 0 w 254"/>
                <a:gd name="T1" fmla="*/ 0 h 83"/>
                <a:gd name="T2" fmla="*/ 0 w 254"/>
                <a:gd name="T3" fmla="*/ 17 h 83"/>
                <a:gd name="T4" fmla="*/ 52 w 254"/>
                <a:gd name="T5" fmla="*/ 72 h 83"/>
                <a:gd name="T6" fmla="*/ 203 w 254"/>
                <a:gd name="T7" fmla="*/ 82 h 83"/>
                <a:gd name="T8" fmla="*/ 254 w 254"/>
                <a:gd name="T9" fmla="*/ 34 h 83"/>
                <a:gd name="T10" fmla="*/ 254 w 254"/>
                <a:gd name="T11" fmla="*/ 17 h 83"/>
                <a:gd name="T12" fmla="*/ 203 w 254"/>
                <a:gd name="T13" fmla="*/ 65 h 83"/>
                <a:gd name="T14" fmla="*/ 52 w 254"/>
                <a:gd name="T15" fmla="*/ 55 h 83"/>
                <a:gd name="T16" fmla="*/ 0 w 254"/>
                <a:gd name="T1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83">
                  <a:moveTo>
                    <a:pt x="0" y="0"/>
                  </a:moveTo>
                  <a:lnTo>
                    <a:pt x="0" y="17"/>
                  </a:lnTo>
                  <a:cubicBezTo>
                    <a:pt x="0" y="45"/>
                    <a:pt x="23" y="70"/>
                    <a:pt x="52" y="72"/>
                  </a:cubicBezTo>
                  <a:lnTo>
                    <a:pt x="203" y="82"/>
                  </a:lnTo>
                  <a:cubicBezTo>
                    <a:pt x="231" y="83"/>
                    <a:pt x="254" y="62"/>
                    <a:pt x="254" y="34"/>
                  </a:cubicBezTo>
                  <a:lnTo>
                    <a:pt x="254" y="17"/>
                  </a:lnTo>
                  <a:cubicBezTo>
                    <a:pt x="254" y="46"/>
                    <a:pt x="231" y="67"/>
                    <a:pt x="203" y="65"/>
                  </a:cubicBezTo>
                  <a:lnTo>
                    <a:pt x="52" y="55"/>
                  </a:lnTo>
                  <a:cubicBezTo>
                    <a:pt x="23" y="53"/>
                    <a:pt x="0" y="29"/>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Freeform 78"/>
            <p:cNvSpPr>
              <a:spLocks/>
            </p:cNvSpPr>
            <p:nvPr/>
          </p:nvSpPr>
          <p:spPr bwMode="auto">
            <a:xfrm>
              <a:off x="3660" y="1088"/>
              <a:ext cx="282" cy="294"/>
            </a:xfrm>
            <a:custGeom>
              <a:avLst/>
              <a:gdLst>
                <a:gd name="T0" fmla="*/ 142 w 142"/>
                <a:gd name="T1" fmla="*/ 78 h 148"/>
                <a:gd name="T2" fmla="*/ 71 w 142"/>
                <a:gd name="T3" fmla="*/ 145 h 148"/>
                <a:gd name="T4" fmla="*/ 0 w 142"/>
                <a:gd name="T5" fmla="*/ 69 h 148"/>
                <a:gd name="T6" fmla="*/ 71 w 142"/>
                <a:gd name="T7" fmla="*/ 2 h 148"/>
                <a:gd name="T8" fmla="*/ 142 w 142"/>
                <a:gd name="T9" fmla="*/ 78 h 148"/>
              </a:gdLst>
              <a:ahLst/>
              <a:cxnLst>
                <a:cxn ang="0">
                  <a:pos x="T0" y="T1"/>
                </a:cxn>
                <a:cxn ang="0">
                  <a:pos x="T2" y="T3"/>
                </a:cxn>
                <a:cxn ang="0">
                  <a:pos x="T4" y="T5"/>
                </a:cxn>
                <a:cxn ang="0">
                  <a:pos x="T6" y="T7"/>
                </a:cxn>
                <a:cxn ang="0">
                  <a:pos x="T8" y="T9"/>
                </a:cxn>
              </a:cxnLst>
              <a:rect l="0" t="0" r="r" b="b"/>
              <a:pathLst>
                <a:path w="142" h="148">
                  <a:moveTo>
                    <a:pt x="142" y="78"/>
                  </a:moveTo>
                  <a:cubicBezTo>
                    <a:pt x="142" y="118"/>
                    <a:pt x="110" y="148"/>
                    <a:pt x="71" y="145"/>
                  </a:cubicBezTo>
                  <a:cubicBezTo>
                    <a:pt x="32" y="142"/>
                    <a:pt x="0" y="108"/>
                    <a:pt x="0" y="69"/>
                  </a:cubicBezTo>
                  <a:cubicBezTo>
                    <a:pt x="0" y="30"/>
                    <a:pt x="32" y="0"/>
                    <a:pt x="71" y="2"/>
                  </a:cubicBezTo>
                  <a:cubicBezTo>
                    <a:pt x="110" y="5"/>
                    <a:pt x="142" y="39"/>
                    <a:pt x="142"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Freeform 79"/>
            <p:cNvSpPr>
              <a:spLocks/>
            </p:cNvSpPr>
            <p:nvPr/>
          </p:nvSpPr>
          <p:spPr bwMode="auto">
            <a:xfrm>
              <a:off x="3698" y="1070"/>
              <a:ext cx="206" cy="212"/>
            </a:xfrm>
            <a:custGeom>
              <a:avLst/>
              <a:gdLst>
                <a:gd name="T0" fmla="*/ 104 w 104"/>
                <a:gd name="T1" fmla="*/ 57 h 107"/>
                <a:gd name="T2" fmla="*/ 0 w 104"/>
                <a:gd name="T3" fmla="*/ 50 h 107"/>
                <a:gd name="T4" fmla="*/ 104 w 104"/>
                <a:gd name="T5" fmla="*/ 57 h 107"/>
              </a:gdLst>
              <a:ahLst/>
              <a:cxnLst>
                <a:cxn ang="0">
                  <a:pos x="T0" y="T1"/>
                </a:cxn>
                <a:cxn ang="0">
                  <a:pos x="T2" y="T3"/>
                </a:cxn>
                <a:cxn ang="0">
                  <a:pos x="T4" y="T5"/>
                </a:cxn>
              </a:cxnLst>
              <a:rect l="0" t="0" r="r" b="b"/>
              <a:pathLst>
                <a:path w="104" h="107">
                  <a:moveTo>
                    <a:pt x="104" y="57"/>
                  </a:moveTo>
                  <a:cubicBezTo>
                    <a:pt x="104" y="107"/>
                    <a:pt x="0" y="100"/>
                    <a:pt x="0" y="50"/>
                  </a:cubicBezTo>
                  <a:cubicBezTo>
                    <a:pt x="0" y="0"/>
                    <a:pt x="104" y="7"/>
                    <a:pt x="104"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Freeform 80"/>
            <p:cNvSpPr>
              <a:spLocks/>
            </p:cNvSpPr>
            <p:nvPr/>
          </p:nvSpPr>
          <p:spPr bwMode="auto">
            <a:xfrm>
              <a:off x="3660" y="1219"/>
              <a:ext cx="282" cy="163"/>
            </a:xfrm>
            <a:custGeom>
              <a:avLst/>
              <a:gdLst>
                <a:gd name="T0" fmla="*/ 0 w 142"/>
                <a:gd name="T1" fmla="*/ 0 h 82"/>
                <a:gd name="T2" fmla="*/ 0 w 142"/>
                <a:gd name="T3" fmla="*/ 3 h 82"/>
                <a:gd name="T4" fmla="*/ 71 w 142"/>
                <a:gd name="T5" fmla="*/ 79 h 82"/>
                <a:gd name="T6" fmla="*/ 142 w 142"/>
                <a:gd name="T7" fmla="*/ 13 h 82"/>
                <a:gd name="T8" fmla="*/ 142 w 142"/>
                <a:gd name="T9" fmla="*/ 9 h 82"/>
                <a:gd name="T10" fmla="*/ 71 w 142"/>
                <a:gd name="T11" fmla="*/ 72 h 82"/>
                <a:gd name="T12" fmla="*/ 0 w 142"/>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2" h="82">
                  <a:moveTo>
                    <a:pt x="0" y="0"/>
                  </a:moveTo>
                  <a:cubicBezTo>
                    <a:pt x="0" y="1"/>
                    <a:pt x="0" y="2"/>
                    <a:pt x="0" y="3"/>
                  </a:cubicBezTo>
                  <a:cubicBezTo>
                    <a:pt x="0" y="42"/>
                    <a:pt x="32" y="77"/>
                    <a:pt x="71" y="79"/>
                  </a:cubicBezTo>
                  <a:cubicBezTo>
                    <a:pt x="110" y="82"/>
                    <a:pt x="142" y="52"/>
                    <a:pt x="142" y="13"/>
                  </a:cubicBezTo>
                  <a:cubicBezTo>
                    <a:pt x="142" y="11"/>
                    <a:pt x="142" y="10"/>
                    <a:pt x="142" y="9"/>
                  </a:cubicBezTo>
                  <a:cubicBezTo>
                    <a:pt x="140" y="46"/>
                    <a:pt x="109" y="74"/>
                    <a:pt x="71" y="72"/>
                  </a:cubicBezTo>
                  <a:cubicBezTo>
                    <a:pt x="33" y="69"/>
                    <a:pt x="2" y="37"/>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Freeform 81"/>
            <p:cNvSpPr>
              <a:spLocks/>
            </p:cNvSpPr>
            <p:nvPr/>
          </p:nvSpPr>
          <p:spPr bwMode="auto">
            <a:xfrm>
              <a:off x="3660" y="1088"/>
              <a:ext cx="282" cy="294"/>
            </a:xfrm>
            <a:custGeom>
              <a:avLst/>
              <a:gdLst>
                <a:gd name="T0" fmla="*/ 142 w 142"/>
                <a:gd name="T1" fmla="*/ 78 h 148"/>
                <a:gd name="T2" fmla="*/ 71 w 142"/>
                <a:gd name="T3" fmla="*/ 145 h 148"/>
                <a:gd name="T4" fmla="*/ 0 w 142"/>
                <a:gd name="T5" fmla="*/ 69 h 148"/>
                <a:gd name="T6" fmla="*/ 71 w 142"/>
                <a:gd name="T7" fmla="*/ 2 h 148"/>
                <a:gd name="T8" fmla="*/ 142 w 142"/>
                <a:gd name="T9" fmla="*/ 78 h 148"/>
              </a:gdLst>
              <a:ahLst/>
              <a:cxnLst>
                <a:cxn ang="0">
                  <a:pos x="T0" y="T1"/>
                </a:cxn>
                <a:cxn ang="0">
                  <a:pos x="T2" y="T3"/>
                </a:cxn>
                <a:cxn ang="0">
                  <a:pos x="T4" y="T5"/>
                </a:cxn>
                <a:cxn ang="0">
                  <a:pos x="T6" y="T7"/>
                </a:cxn>
                <a:cxn ang="0">
                  <a:pos x="T8" y="T9"/>
                </a:cxn>
              </a:cxnLst>
              <a:rect l="0" t="0" r="r" b="b"/>
              <a:pathLst>
                <a:path w="142" h="148">
                  <a:moveTo>
                    <a:pt x="142" y="78"/>
                  </a:moveTo>
                  <a:cubicBezTo>
                    <a:pt x="142" y="118"/>
                    <a:pt x="110" y="148"/>
                    <a:pt x="71" y="145"/>
                  </a:cubicBezTo>
                  <a:cubicBezTo>
                    <a:pt x="32" y="142"/>
                    <a:pt x="0" y="108"/>
                    <a:pt x="0" y="69"/>
                  </a:cubicBezTo>
                  <a:cubicBezTo>
                    <a:pt x="0" y="30"/>
                    <a:pt x="32" y="0"/>
                    <a:pt x="71" y="2"/>
                  </a:cubicBezTo>
                  <a:cubicBezTo>
                    <a:pt x="110" y="5"/>
                    <a:pt x="142" y="39"/>
                    <a:pt x="142"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Freeform 82"/>
            <p:cNvSpPr>
              <a:spLocks/>
            </p:cNvSpPr>
            <p:nvPr/>
          </p:nvSpPr>
          <p:spPr bwMode="auto">
            <a:xfrm>
              <a:off x="3698" y="1070"/>
              <a:ext cx="206" cy="212"/>
            </a:xfrm>
            <a:custGeom>
              <a:avLst/>
              <a:gdLst>
                <a:gd name="T0" fmla="*/ 104 w 104"/>
                <a:gd name="T1" fmla="*/ 57 h 107"/>
                <a:gd name="T2" fmla="*/ 0 w 104"/>
                <a:gd name="T3" fmla="*/ 50 h 107"/>
                <a:gd name="T4" fmla="*/ 104 w 104"/>
                <a:gd name="T5" fmla="*/ 57 h 107"/>
              </a:gdLst>
              <a:ahLst/>
              <a:cxnLst>
                <a:cxn ang="0">
                  <a:pos x="T0" y="T1"/>
                </a:cxn>
                <a:cxn ang="0">
                  <a:pos x="T2" y="T3"/>
                </a:cxn>
                <a:cxn ang="0">
                  <a:pos x="T4" y="T5"/>
                </a:cxn>
              </a:cxnLst>
              <a:rect l="0" t="0" r="r" b="b"/>
              <a:pathLst>
                <a:path w="104" h="107">
                  <a:moveTo>
                    <a:pt x="104" y="57"/>
                  </a:moveTo>
                  <a:cubicBezTo>
                    <a:pt x="104" y="107"/>
                    <a:pt x="0" y="100"/>
                    <a:pt x="0" y="50"/>
                  </a:cubicBezTo>
                  <a:cubicBezTo>
                    <a:pt x="0" y="0"/>
                    <a:pt x="104" y="7"/>
                    <a:pt x="104"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Freeform 83"/>
            <p:cNvSpPr>
              <a:spLocks/>
            </p:cNvSpPr>
            <p:nvPr/>
          </p:nvSpPr>
          <p:spPr bwMode="auto">
            <a:xfrm>
              <a:off x="3660" y="1219"/>
              <a:ext cx="282" cy="163"/>
            </a:xfrm>
            <a:custGeom>
              <a:avLst/>
              <a:gdLst>
                <a:gd name="T0" fmla="*/ 0 w 142"/>
                <a:gd name="T1" fmla="*/ 0 h 82"/>
                <a:gd name="T2" fmla="*/ 0 w 142"/>
                <a:gd name="T3" fmla="*/ 3 h 82"/>
                <a:gd name="T4" fmla="*/ 71 w 142"/>
                <a:gd name="T5" fmla="*/ 79 h 82"/>
                <a:gd name="T6" fmla="*/ 142 w 142"/>
                <a:gd name="T7" fmla="*/ 13 h 82"/>
                <a:gd name="T8" fmla="*/ 142 w 142"/>
                <a:gd name="T9" fmla="*/ 9 h 82"/>
                <a:gd name="T10" fmla="*/ 71 w 142"/>
                <a:gd name="T11" fmla="*/ 72 h 82"/>
                <a:gd name="T12" fmla="*/ 0 w 142"/>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2" h="82">
                  <a:moveTo>
                    <a:pt x="0" y="0"/>
                  </a:moveTo>
                  <a:cubicBezTo>
                    <a:pt x="0" y="1"/>
                    <a:pt x="0" y="2"/>
                    <a:pt x="0" y="3"/>
                  </a:cubicBezTo>
                  <a:cubicBezTo>
                    <a:pt x="0" y="42"/>
                    <a:pt x="32" y="77"/>
                    <a:pt x="71" y="79"/>
                  </a:cubicBezTo>
                  <a:cubicBezTo>
                    <a:pt x="110" y="82"/>
                    <a:pt x="142" y="52"/>
                    <a:pt x="142" y="13"/>
                  </a:cubicBezTo>
                  <a:cubicBezTo>
                    <a:pt x="142" y="11"/>
                    <a:pt x="142" y="10"/>
                    <a:pt x="142" y="9"/>
                  </a:cubicBezTo>
                  <a:cubicBezTo>
                    <a:pt x="140" y="46"/>
                    <a:pt x="109" y="74"/>
                    <a:pt x="71" y="72"/>
                  </a:cubicBezTo>
                  <a:cubicBezTo>
                    <a:pt x="33" y="69"/>
                    <a:pt x="2" y="37"/>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Freeform 84"/>
            <p:cNvSpPr>
              <a:spLocks/>
            </p:cNvSpPr>
            <p:nvPr/>
          </p:nvSpPr>
          <p:spPr bwMode="auto">
            <a:xfrm>
              <a:off x="1481" y="1139"/>
              <a:ext cx="524" cy="547"/>
            </a:xfrm>
            <a:custGeom>
              <a:avLst/>
              <a:gdLst>
                <a:gd name="T0" fmla="*/ 53 w 264"/>
                <a:gd name="T1" fmla="*/ 2 h 275"/>
                <a:gd name="T2" fmla="*/ 211 w 264"/>
                <a:gd name="T3" fmla="*/ 9 h 275"/>
                <a:gd name="T4" fmla="*/ 264 w 264"/>
                <a:gd name="T5" fmla="*/ 66 h 275"/>
                <a:gd name="T6" fmla="*/ 264 w 264"/>
                <a:gd name="T7" fmla="*/ 223 h 275"/>
                <a:gd name="T8" fmla="*/ 211 w 264"/>
                <a:gd name="T9" fmla="*/ 274 h 275"/>
                <a:gd name="T10" fmla="*/ 53 w 264"/>
                <a:gd name="T11" fmla="*/ 266 h 275"/>
                <a:gd name="T12" fmla="*/ 0 w 264"/>
                <a:gd name="T13" fmla="*/ 210 h 275"/>
                <a:gd name="T14" fmla="*/ 0 w 264"/>
                <a:gd name="T15" fmla="*/ 53 h 275"/>
                <a:gd name="T16" fmla="*/ 53 w 264"/>
                <a:gd name="T17" fmla="*/ 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275">
                  <a:moveTo>
                    <a:pt x="53" y="2"/>
                  </a:moveTo>
                  <a:lnTo>
                    <a:pt x="211" y="9"/>
                  </a:lnTo>
                  <a:cubicBezTo>
                    <a:pt x="240" y="11"/>
                    <a:pt x="264" y="36"/>
                    <a:pt x="264" y="66"/>
                  </a:cubicBezTo>
                  <a:lnTo>
                    <a:pt x="264" y="223"/>
                  </a:lnTo>
                  <a:cubicBezTo>
                    <a:pt x="264" y="253"/>
                    <a:pt x="240" y="275"/>
                    <a:pt x="211" y="274"/>
                  </a:cubicBezTo>
                  <a:lnTo>
                    <a:pt x="53" y="266"/>
                  </a:lnTo>
                  <a:cubicBezTo>
                    <a:pt x="24" y="265"/>
                    <a:pt x="0" y="240"/>
                    <a:pt x="0" y="210"/>
                  </a:cubicBezTo>
                  <a:lnTo>
                    <a:pt x="0" y="53"/>
                  </a:lnTo>
                  <a:cubicBezTo>
                    <a:pt x="0" y="23"/>
                    <a:pt x="24" y="0"/>
                    <a:pt x="53"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Freeform 85"/>
            <p:cNvSpPr>
              <a:spLocks/>
            </p:cNvSpPr>
            <p:nvPr/>
          </p:nvSpPr>
          <p:spPr bwMode="auto">
            <a:xfrm>
              <a:off x="1509" y="1157"/>
              <a:ext cx="468" cy="173"/>
            </a:xfrm>
            <a:custGeom>
              <a:avLst/>
              <a:gdLst>
                <a:gd name="T0" fmla="*/ 31 w 236"/>
                <a:gd name="T1" fmla="*/ 1 h 87"/>
                <a:gd name="T2" fmla="*/ 205 w 236"/>
                <a:gd name="T3" fmla="*/ 9 h 87"/>
                <a:gd name="T4" fmla="*/ 236 w 236"/>
                <a:gd name="T5" fmla="*/ 49 h 87"/>
                <a:gd name="T6" fmla="*/ 236 w 236"/>
                <a:gd name="T7" fmla="*/ 49 h 87"/>
                <a:gd name="T8" fmla="*/ 205 w 236"/>
                <a:gd name="T9" fmla="*/ 87 h 87"/>
                <a:gd name="T10" fmla="*/ 31 w 236"/>
                <a:gd name="T11" fmla="*/ 78 h 87"/>
                <a:gd name="T12" fmla="*/ 0 w 236"/>
                <a:gd name="T13" fmla="*/ 38 h 87"/>
                <a:gd name="T14" fmla="*/ 0 w 236"/>
                <a:gd name="T15" fmla="*/ 38 h 87"/>
                <a:gd name="T16" fmla="*/ 31 w 236"/>
                <a:gd name="T17"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87">
                  <a:moveTo>
                    <a:pt x="31" y="1"/>
                  </a:moveTo>
                  <a:lnTo>
                    <a:pt x="205" y="9"/>
                  </a:lnTo>
                  <a:cubicBezTo>
                    <a:pt x="222" y="10"/>
                    <a:pt x="236" y="28"/>
                    <a:pt x="236" y="49"/>
                  </a:cubicBezTo>
                  <a:lnTo>
                    <a:pt x="236" y="49"/>
                  </a:lnTo>
                  <a:cubicBezTo>
                    <a:pt x="236" y="71"/>
                    <a:pt x="222" y="87"/>
                    <a:pt x="205" y="87"/>
                  </a:cubicBezTo>
                  <a:lnTo>
                    <a:pt x="31" y="78"/>
                  </a:lnTo>
                  <a:cubicBezTo>
                    <a:pt x="14" y="77"/>
                    <a:pt x="0" y="59"/>
                    <a:pt x="0" y="38"/>
                  </a:cubicBezTo>
                  <a:lnTo>
                    <a:pt x="0" y="38"/>
                  </a:lnTo>
                  <a:cubicBezTo>
                    <a:pt x="0" y="16"/>
                    <a:pt x="14" y="0"/>
                    <a:pt x="31"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Freeform 86"/>
            <p:cNvSpPr>
              <a:spLocks/>
            </p:cNvSpPr>
            <p:nvPr/>
          </p:nvSpPr>
          <p:spPr bwMode="auto">
            <a:xfrm>
              <a:off x="1481" y="1523"/>
              <a:ext cx="524" cy="163"/>
            </a:xfrm>
            <a:custGeom>
              <a:avLst/>
              <a:gdLst>
                <a:gd name="T0" fmla="*/ 0 w 264"/>
                <a:gd name="T1" fmla="*/ 0 h 82"/>
                <a:gd name="T2" fmla="*/ 0 w 264"/>
                <a:gd name="T3" fmla="*/ 17 h 82"/>
                <a:gd name="T4" fmla="*/ 53 w 264"/>
                <a:gd name="T5" fmla="*/ 73 h 82"/>
                <a:gd name="T6" fmla="*/ 211 w 264"/>
                <a:gd name="T7" fmla="*/ 81 h 82"/>
                <a:gd name="T8" fmla="*/ 264 w 264"/>
                <a:gd name="T9" fmla="*/ 30 h 82"/>
                <a:gd name="T10" fmla="*/ 264 w 264"/>
                <a:gd name="T11" fmla="*/ 13 h 82"/>
                <a:gd name="T12" fmla="*/ 211 w 264"/>
                <a:gd name="T13" fmla="*/ 64 h 82"/>
                <a:gd name="T14" fmla="*/ 53 w 264"/>
                <a:gd name="T15" fmla="*/ 56 h 82"/>
                <a:gd name="T16" fmla="*/ 0 w 264"/>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82">
                  <a:moveTo>
                    <a:pt x="0" y="0"/>
                  </a:moveTo>
                  <a:lnTo>
                    <a:pt x="0" y="17"/>
                  </a:lnTo>
                  <a:cubicBezTo>
                    <a:pt x="0" y="47"/>
                    <a:pt x="24" y="72"/>
                    <a:pt x="53" y="73"/>
                  </a:cubicBezTo>
                  <a:lnTo>
                    <a:pt x="211" y="81"/>
                  </a:lnTo>
                  <a:cubicBezTo>
                    <a:pt x="240" y="82"/>
                    <a:pt x="264" y="60"/>
                    <a:pt x="264" y="30"/>
                  </a:cubicBezTo>
                  <a:lnTo>
                    <a:pt x="264" y="13"/>
                  </a:lnTo>
                  <a:cubicBezTo>
                    <a:pt x="264" y="42"/>
                    <a:pt x="240" y="65"/>
                    <a:pt x="211" y="64"/>
                  </a:cubicBezTo>
                  <a:lnTo>
                    <a:pt x="53" y="56"/>
                  </a:lnTo>
                  <a:cubicBezTo>
                    <a:pt x="24" y="55"/>
                    <a:pt x="0" y="3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87"/>
            <p:cNvSpPr>
              <a:spLocks/>
            </p:cNvSpPr>
            <p:nvPr/>
          </p:nvSpPr>
          <p:spPr bwMode="auto">
            <a:xfrm>
              <a:off x="1594" y="857"/>
              <a:ext cx="294" cy="304"/>
            </a:xfrm>
            <a:custGeom>
              <a:avLst/>
              <a:gdLst>
                <a:gd name="T0" fmla="*/ 148 w 148"/>
                <a:gd name="T1" fmla="*/ 80 h 153"/>
                <a:gd name="T2" fmla="*/ 74 w 148"/>
                <a:gd name="T3" fmla="*/ 151 h 153"/>
                <a:gd name="T4" fmla="*/ 0 w 148"/>
                <a:gd name="T5" fmla="*/ 73 h 153"/>
                <a:gd name="T6" fmla="*/ 74 w 148"/>
                <a:gd name="T7" fmla="*/ 2 h 153"/>
                <a:gd name="T8" fmla="*/ 148 w 148"/>
                <a:gd name="T9" fmla="*/ 80 h 153"/>
              </a:gdLst>
              <a:ahLst/>
              <a:cxnLst>
                <a:cxn ang="0">
                  <a:pos x="T0" y="T1"/>
                </a:cxn>
                <a:cxn ang="0">
                  <a:pos x="T2" y="T3"/>
                </a:cxn>
                <a:cxn ang="0">
                  <a:pos x="T4" y="T5"/>
                </a:cxn>
                <a:cxn ang="0">
                  <a:pos x="T6" y="T7"/>
                </a:cxn>
                <a:cxn ang="0">
                  <a:pos x="T8" y="T9"/>
                </a:cxn>
              </a:cxnLst>
              <a:rect l="0" t="0" r="r" b="b"/>
              <a:pathLst>
                <a:path w="148" h="153">
                  <a:moveTo>
                    <a:pt x="148" y="80"/>
                  </a:moveTo>
                  <a:cubicBezTo>
                    <a:pt x="148" y="121"/>
                    <a:pt x="115" y="153"/>
                    <a:pt x="74" y="151"/>
                  </a:cubicBezTo>
                  <a:cubicBezTo>
                    <a:pt x="33" y="149"/>
                    <a:pt x="0" y="114"/>
                    <a:pt x="0" y="73"/>
                  </a:cubicBezTo>
                  <a:cubicBezTo>
                    <a:pt x="0" y="32"/>
                    <a:pt x="33" y="0"/>
                    <a:pt x="74" y="2"/>
                  </a:cubicBezTo>
                  <a:cubicBezTo>
                    <a:pt x="115" y="4"/>
                    <a:pt x="148" y="39"/>
                    <a:pt x="148" y="8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Freeform 88"/>
            <p:cNvSpPr>
              <a:spLocks/>
            </p:cNvSpPr>
            <p:nvPr/>
          </p:nvSpPr>
          <p:spPr bwMode="auto">
            <a:xfrm>
              <a:off x="1632" y="839"/>
              <a:ext cx="216" cy="217"/>
            </a:xfrm>
            <a:custGeom>
              <a:avLst/>
              <a:gdLst>
                <a:gd name="T0" fmla="*/ 109 w 109"/>
                <a:gd name="T1" fmla="*/ 57 h 109"/>
                <a:gd name="T2" fmla="*/ 0 w 109"/>
                <a:gd name="T3" fmla="*/ 52 h 109"/>
                <a:gd name="T4" fmla="*/ 109 w 109"/>
                <a:gd name="T5" fmla="*/ 57 h 109"/>
              </a:gdLst>
              <a:ahLst/>
              <a:cxnLst>
                <a:cxn ang="0">
                  <a:pos x="T0" y="T1"/>
                </a:cxn>
                <a:cxn ang="0">
                  <a:pos x="T2" y="T3"/>
                </a:cxn>
                <a:cxn ang="0">
                  <a:pos x="T4" y="T5"/>
                </a:cxn>
              </a:cxnLst>
              <a:rect l="0" t="0" r="r" b="b"/>
              <a:pathLst>
                <a:path w="109" h="109">
                  <a:moveTo>
                    <a:pt x="109" y="57"/>
                  </a:moveTo>
                  <a:cubicBezTo>
                    <a:pt x="109" y="109"/>
                    <a:pt x="0" y="104"/>
                    <a:pt x="0" y="52"/>
                  </a:cubicBezTo>
                  <a:cubicBezTo>
                    <a:pt x="0" y="0"/>
                    <a:pt x="109" y="6"/>
                    <a:pt x="109"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Freeform 89"/>
            <p:cNvSpPr>
              <a:spLocks/>
            </p:cNvSpPr>
            <p:nvPr/>
          </p:nvSpPr>
          <p:spPr bwMode="auto">
            <a:xfrm>
              <a:off x="1592" y="994"/>
              <a:ext cx="296" cy="167"/>
            </a:xfrm>
            <a:custGeom>
              <a:avLst/>
              <a:gdLst>
                <a:gd name="T0" fmla="*/ 1 w 149"/>
                <a:gd name="T1" fmla="*/ 0 h 84"/>
                <a:gd name="T2" fmla="*/ 0 w 149"/>
                <a:gd name="T3" fmla="*/ 4 h 84"/>
                <a:gd name="T4" fmla="*/ 75 w 149"/>
                <a:gd name="T5" fmla="*/ 82 h 84"/>
                <a:gd name="T6" fmla="*/ 149 w 149"/>
                <a:gd name="T7" fmla="*/ 11 h 84"/>
                <a:gd name="T8" fmla="*/ 149 w 149"/>
                <a:gd name="T9" fmla="*/ 7 h 84"/>
                <a:gd name="T10" fmla="*/ 75 w 149"/>
                <a:gd name="T11" fmla="*/ 74 h 84"/>
                <a:gd name="T12" fmla="*/ 1 w 149"/>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149" h="84">
                  <a:moveTo>
                    <a:pt x="1" y="0"/>
                  </a:moveTo>
                  <a:cubicBezTo>
                    <a:pt x="1" y="1"/>
                    <a:pt x="0" y="3"/>
                    <a:pt x="0" y="4"/>
                  </a:cubicBezTo>
                  <a:cubicBezTo>
                    <a:pt x="0" y="45"/>
                    <a:pt x="34" y="80"/>
                    <a:pt x="75" y="82"/>
                  </a:cubicBezTo>
                  <a:cubicBezTo>
                    <a:pt x="116" y="84"/>
                    <a:pt x="149" y="52"/>
                    <a:pt x="149" y="11"/>
                  </a:cubicBezTo>
                  <a:cubicBezTo>
                    <a:pt x="149" y="10"/>
                    <a:pt x="149" y="9"/>
                    <a:pt x="149" y="7"/>
                  </a:cubicBezTo>
                  <a:cubicBezTo>
                    <a:pt x="147" y="46"/>
                    <a:pt x="114" y="76"/>
                    <a:pt x="75" y="74"/>
                  </a:cubicBezTo>
                  <a:cubicBezTo>
                    <a:pt x="35" y="72"/>
                    <a:pt x="3" y="39"/>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Freeform 90"/>
            <p:cNvSpPr>
              <a:spLocks/>
            </p:cNvSpPr>
            <p:nvPr/>
          </p:nvSpPr>
          <p:spPr bwMode="auto">
            <a:xfrm>
              <a:off x="1594" y="857"/>
              <a:ext cx="294" cy="304"/>
            </a:xfrm>
            <a:custGeom>
              <a:avLst/>
              <a:gdLst>
                <a:gd name="T0" fmla="*/ 148 w 148"/>
                <a:gd name="T1" fmla="*/ 80 h 153"/>
                <a:gd name="T2" fmla="*/ 74 w 148"/>
                <a:gd name="T3" fmla="*/ 151 h 153"/>
                <a:gd name="T4" fmla="*/ 0 w 148"/>
                <a:gd name="T5" fmla="*/ 73 h 153"/>
                <a:gd name="T6" fmla="*/ 74 w 148"/>
                <a:gd name="T7" fmla="*/ 2 h 153"/>
                <a:gd name="T8" fmla="*/ 148 w 148"/>
                <a:gd name="T9" fmla="*/ 80 h 153"/>
              </a:gdLst>
              <a:ahLst/>
              <a:cxnLst>
                <a:cxn ang="0">
                  <a:pos x="T0" y="T1"/>
                </a:cxn>
                <a:cxn ang="0">
                  <a:pos x="T2" y="T3"/>
                </a:cxn>
                <a:cxn ang="0">
                  <a:pos x="T4" y="T5"/>
                </a:cxn>
                <a:cxn ang="0">
                  <a:pos x="T6" y="T7"/>
                </a:cxn>
                <a:cxn ang="0">
                  <a:pos x="T8" y="T9"/>
                </a:cxn>
              </a:cxnLst>
              <a:rect l="0" t="0" r="r" b="b"/>
              <a:pathLst>
                <a:path w="148" h="153">
                  <a:moveTo>
                    <a:pt x="148" y="80"/>
                  </a:moveTo>
                  <a:cubicBezTo>
                    <a:pt x="148" y="121"/>
                    <a:pt x="115" y="153"/>
                    <a:pt x="74" y="151"/>
                  </a:cubicBezTo>
                  <a:cubicBezTo>
                    <a:pt x="33" y="149"/>
                    <a:pt x="0" y="114"/>
                    <a:pt x="0" y="73"/>
                  </a:cubicBezTo>
                  <a:cubicBezTo>
                    <a:pt x="0" y="32"/>
                    <a:pt x="33" y="0"/>
                    <a:pt x="74" y="2"/>
                  </a:cubicBezTo>
                  <a:cubicBezTo>
                    <a:pt x="115" y="4"/>
                    <a:pt x="148" y="39"/>
                    <a:pt x="148" y="8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Freeform 91"/>
            <p:cNvSpPr>
              <a:spLocks/>
            </p:cNvSpPr>
            <p:nvPr/>
          </p:nvSpPr>
          <p:spPr bwMode="auto">
            <a:xfrm>
              <a:off x="1632" y="839"/>
              <a:ext cx="216" cy="217"/>
            </a:xfrm>
            <a:custGeom>
              <a:avLst/>
              <a:gdLst>
                <a:gd name="T0" fmla="*/ 109 w 109"/>
                <a:gd name="T1" fmla="*/ 57 h 109"/>
                <a:gd name="T2" fmla="*/ 0 w 109"/>
                <a:gd name="T3" fmla="*/ 52 h 109"/>
                <a:gd name="T4" fmla="*/ 109 w 109"/>
                <a:gd name="T5" fmla="*/ 57 h 109"/>
              </a:gdLst>
              <a:ahLst/>
              <a:cxnLst>
                <a:cxn ang="0">
                  <a:pos x="T0" y="T1"/>
                </a:cxn>
                <a:cxn ang="0">
                  <a:pos x="T2" y="T3"/>
                </a:cxn>
                <a:cxn ang="0">
                  <a:pos x="T4" y="T5"/>
                </a:cxn>
              </a:cxnLst>
              <a:rect l="0" t="0" r="r" b="b"/>
              <a:pathLst>
                <a:path w="109" h="109">
                  <a:moveTo>
                    <a:pt x="109" y="57"/>
                  </a:moveTo>
                  <a:cubicBezTo>
                    <a:pt x="109" y="109"/>
                    <a:pt x="0" y="104"/>
                    <a:pt x="0" y="52"/>
                  </a:cubicBezTo>
                  <a:cubicBezTo>
                    <a:pt x="0" y="0"/>
                    <a:pt x="109" y="6"/>
                    <a:pt x="109" y="5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Freeform 92"/>
            <p:cNvSpPr>
              <a:spLocks/>
            </p:cNvSpPr>
            <p:nvPr/>
          </p:nvSpPr>
          <p:spPr bwMode="auto">
            <a:xfrm>
              <a:off x="1592" y="994"/>
              <a:ext cx="296" cy="167"/>
            </a:xfrm>
            <a:custGeom>
              <a:avLst/>
              <a:gdLst>
                <a:gd name="T0" fmla="*/ 1 w 149"/>
                <a:gd name="T1" fmla="*/ 0 h 84"/>
                <a:gd name="T2" fmla="*/ 0 w 149"/>
                <a:gd name="T3" fmla="*/ 4 h 84"/>
                <a:gd name="T4" fmla="*/ 75 w 149"/>
                <a:gd name="T5" fmla="*/ 82 h 84"/>
                <a:gd name="T6" fmla="*/ 149 w 149"/>
                <a:gd name="T7" fmla="*/ 11 h 84"/>
                <a:gd name="T8" fmla="*/ 149 w 149"/>
                <a:gd name="T9" fmla="*/ 7 h 84"/>
                <a:gd name="T10" fmla="*/ 75 w 149"/>
                <a:gd name="T11" fmla="*/ 74 h 84"/>
                <a:gd name="T12" fmla="*/ 1 w 149"/>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149" h="84">
                  <a:moveTo>
                    <a:pt x="1" y="0"/>
                  </a:moveTo>
                  <a:cubicBezTo>
                    <a:pt x="1" y="1"/>
                    <a:pt x="0" y="3"/>
                    <a:pt x="0" y="4"/>
                  </a:cubicBezTo>
                  <a:cubicBezTo>
                    <a:pt x="0" y="45"/>
                    <a:pt x="34" y="80"/>
                    <a:pt x="75" y="82"/>
                  </a:cubicBezTo>
                  <a:cubicBezTo>
                    <a:pt x="116" y="84"/>
                    <a:pt x="149" y="52"/>
                    <a:pt x="149" y="11"/>
                  </a:cubicBezTo>
                  <a:cubicBezTo>
                    <a:pt x="149" y="10"/>
                    <a:pt x="149" y="9"/>
                    <a:pt x="149" y="7"/>
                  </a:cubicBezTo>
                  <a:cubicBezTo>
                    <a:pt x="147" y="46"/>
                    <a:pt x="114" y="76"/>
                    <a:pt x="75" y="74"/>
                  </a:cubicBezTo>
                  <a:cubicBezTo>
                    <a:pt x="35" y="72"/>
                    <a:pt x="3" y="39"/>
                    <a:pt x="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7" name="Dikdörtgen 166"/>
          <p:cNvSpPr/>
          <p:nvPr/>
        </p:nvSpPr>
        <p:spPr>
          <a:xfrm>
            <a:off x="170516" y="301970"/>
            <a:ext cx="6406358" cy="584775"/>
          </a:xfrm>
          <a:prstGeom prst="rect">
            <a:avLst/>
          </a:prstGeom>
        </p:spPr>
        <p:txBody>
          <a:bodyPr wrap="square">
            <a:spAutoFit/>
          </a:bodyPr>
          <a:lstStyle/>
          <a:p>
            <a:r>
              <a:rPr lang="tr-TR" sz="3200" b="1" dirty="0" smtClean="0">
                <a:solidFill>
                  <a:schemeClr val="accent6"/>
                </a:solidFill>
                <a:latin typeface="Times New Roman" panose="02020603050405020304" pitchFamily="18" charset="0"/>
                <a:cs typeface="Times New Roman" panose="02020603050405020304" pitchFamily="18" charset="0"/>
              </a:rPr>
              <a:t>DESTEK GRUPLARI</a:t>
            </a:r>
            <a:endParaRPr lang="en-US" sz="3200" b="1" dirty="0">
              <a:solidFill>
                <a:schemeClr val="accent6"/>
              </a:solidFill>
              <a:latin typeface="Times New Roman" panose="02020603050405020304" pitchFamily="18" charset="0"/>
              <a:cs typeface="Times New Roman" panose="02020603050405020304" pitchFamily="18" charset="0"/>
            </a:endParaRPr>
          </a:p>
        </p:txBody>
      </p:sp>
      <p:pic>
        <p:nvPicPr>
          <p:cNvPr id="168" name="Picture 3"/>
          <p:cNvPicPr>
            <a:picLocks noChangeAspect="1" noChangeArrowheads="1"/>
          </p:cNvPicPr>
          <p:nvPr/>
        </p:nvPicPr>
        <p:blipFill>
          <a:blip r:embed="rId14" cstate="print"/>
          <a:srcRect/>
          <a:stretch>
            <a:fillRect/>
          </a:stretch>
        </p:blipFill>
        <p:spPr bwMode="auto">
          <a:xfrm>
            <a:off x="10859643" y="345041"/>
            <a:ext cx="722757" cy="509801"/>
          </a:xfrm>
          <a:prstGeom prst="rect">
            <a:avLst/>
          </a:prstGeom>
          <a:noFill/>
          <a:ln w="9525">
            <a:noFill/>
            <a:miter lim="800000"/>
            <a:headEnd/>
            <a:tailEnd/>
          </a:ln>
        </p:spPr>
      </p:pic>
      <p:sp>
        <p:nvSpPr>
          <p:cNvPr id="169" name="Dikdörtgen 168"/>
          <p:cNvSpPr/>
          <p:nvPr/>
        </p:nvSpPr>
        <p:spPr>
          <a:xfrm>
            <a:off x="232892" y="6276634"/>
            <a:ext cx="11692483" cy="369332"/>
          </a:xfrm>
          <a:prstGeom prst="rect">
            <a:avLst/>
          </a:prstGeom>
        </p:spPr>
        <p:txBody>
          <a:bodyPr wrap="square">
            <a:spAutoFit/>
          </a:bodyPr>
          <a:lstStyle/>
          <a:p>
            <a:pPr algn="ctr"/>
            <a:r>
              <a:rPr lang="tr-TR" dirty="0">
                <a:solidFill>
                  <a:schemeClr val="bg1"/>
                </a:solidFill>
                <a:latin typeface="Arial" panose="020B0604020202020204" pitchFamily="34" charset="0"/>
                <a:cs typeface="Arial" panose="020B0604020202020204" pitchFamily="34" charset="0"/>
              </a:rPr>
              <a:t>Program kapsamında sağlanacak desteklere  </a:t>
            </a:r>
            <a:r>
              <a:rPr lang="tr-TR" b="1" dirty="0">
                <a:solidFill>
                  <a:schemeClr val="bg1"/>
                </a:solidFill>
                <a:latin typeface="Arial" panose="020B0604020202020204" pitchFamily="34" charset="0"/>
                <a:cs typeface="Arial" panose="020B0604020202020204" pitchFamily="34" charset="0"/>
              </a:rPr>
              <a:t>%75  </a:t>
            </a:r>
            <a:r>
              <a:rPr lang="tr-TR" dirty="0">
                <a:solidFill>
                  <a:schemeClr val="bg1"/>
                </a:solidFill>
                <a:latin typeface="Arial" panose="020B0604020202020204" pitchFamily="34" charset="0"/>
                <a:cs typeface="Arial" panose="020B0604020202020204" pitchFamily="34" charset="0"/>
              </a:rPr>
              <a:t>destek oranı uygulanır. </a:t>
            </a:r>
            <a:endParaRPr lang="tr-TR" b="1"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551894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 3"/>
          <p:cNvGrpSpPr/>
          <p:nvPr/>
        </p:nvGrpSpPr>
        <p:grpSpPr>
          <a:xfrm>
            <a:off x="696037" y="1402211"/>
            <a:ext cx="10578684" cy="4848393"/>
            <a:chOff x="726606" y="1684343"/>
            <a:chExt cx="8356019" cy="4365955"/>
          </a:xfrm>
        </p:grpSpPr>
        <p:grpSp>
          <p:nvGrpSpPr>
            <p:cNvPr id="68" name="Group 67"/>
            <p:cNvGrpSpPr>
              <a:grpSpLocks noChangeAspect="1"/>
            </p:cNvGrpSpPr>
            <p:nvPr/>
          </p:nvGrpSpPr>
          <p:grpSpPr>
            <a:xfrm>
              <a:off x="6947321" y="2270743"/>
              <a:ext cx="1470074" cy="1483078"/>
              <a:chOff x="9268877" y="1596791"/>
              <a:chExt cx="1005840" cy="1014737"/>
            </a:xfrm>
          </p:grpSpPr>
          <p:sp>
            <p:nvSpPr>
              <p:cNvPr id="67"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65"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grpSp>
        <p:cxnSp>
          <p:nvCxnSpPr>
            <p:cNvPr id="6" name="Straight Connector 5"/>
            <p:cNvCxnSpPr/>
            <p:nvPr/>
          </p:nvCxnSpPr>
          <p:spPr>
            <a:xfrm>
              <a:off x="1132084" y="2270743"/>
              <a:ext cx="6561161"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Oval 15"/>
            <p:cNvSpPr>
              <a:spLocks noChangeAspect="1"/>
            </p:cNvSpPr>
            <p:nvPr/>
          </p:nvSpPr>
          <p:spPr>
            <a:xfrm>
              <a:off x="1986872"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31" name="Oval 30"/>
            <p:cNvSpPr>
              <a:spLocks noChangeAspect="1"/>
            </p:cNvSpPr>
            <p:nvPr/>
          </p:nvSpPr>
          <p:spPr>
            <a:xfrm>
              <a:off x="4203139"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32" name="Oval 31"/>
            <p:cNvSpPr>
              <a:spLocks noChangeAspect="1"/>
            </p:cNvSpPr>
            <p:nvPr/>
          </p:nvSpPr>
          <p:spPr>
            <a:xfrm>
              <a:off x="641940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cxnSp>
          <p:nvCxnSpPr>
            <p:cNvPr id="8" name="Straight Connector 7"/>
            <p:cNvCxnSpPr/>
            <p:nvPr/>
          </p:nvCxnSpPr>
          <p:spPr>
            <a:xfrm flipV="1">
              <a:off x="1484729" y="3753769"/>
              <a:ext cx="6210000"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7" y="5236796"/>
              <a:ext cx="6210000"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1629523" y="2488658"/>
              <a:ext cx="888159" cy="333818"/>
            </a:xfrm>
            <a:prstGeom prst="rect">
              <a:avLst/>
            </a:prstGeom>
            <a:noFill/>
          </p:spPr>
          <p:txBody>
            <a:bodyPr wrap="none" rtlCol="0">
              <a:spAutoFit/>
            </a:bodyPr>
            <a:lstStyle/>
            <a:p>
              <a:pPr algn="ctr" defTabSz="518092">
                <a:defRPr/>
              </a:pPr>
              <a:r>
                <a:rPr lang="tr-TR" sz="1807" b="1" kern="0" dirty="0">
                  <a:solidFill>
                    <a:srgbClr val="1F497D"/>
                  </a:solidFill>
                </a:rPr>
                <a:t>Başvuru</a:t>
              </a:r>
              <a:endParaRPr lang="en-US" sz="1807" b="1" kern="0" dirty="0">
                <a:solidFill>
                  <a:srgbClr val="1F497D"/>
                </a:solidFill>
              </a:endParaRPr>
            </a:p>
          </p:txBody>
        </p:sp>
        <p:sp>
          <p:nvSpPr>
            <p:cNvPr id="93" name="TextBox 92"/>
            <p:cNvSpPr txBox="1"/>
            <p:nvPr/>
          </p:nvSpPr>
          <p:spPr>
            <a:xfrm>
              <a:off x="3441232" y="2393686"/>
              <a:ext cx="1722284" cy="583981"/>
            </a:xfrm>
            <a:prstGeom prst="rect">
              <a:avLst/>
            </a:prstGeom>
            <a:noFill/>
          </p:spPr>
          <p:txBody>
            <a:bodyPr wrap="none" rtlCol="0">
              <a:spAutoFit/>
            </a:bodyPr>
            <a:lstStyle/>
            <a:p>
              <a:pPr algn="ctr" defTabSz="518092">
                <a:defRPr/>
              </a:pPr>
              <a:r>
                <a:rPr lang="tr-TR" sz="1807" b="1" kern="0" dirty="0" smtClean="0">
                  <a:solidFill>
                    <a:srgbClr val="1F497D"/>
                  </a:solidFill>
                </a:rPr>
                <a:t>Yerinde İnceleme</a:t>
              </a:r>
            </a:p>
            <a:p>
              <a:pPr algn="ctr" defTabSz="518092">
                <a:defRPr/>
              </a:pPr>
              <a:r>
                <a:rPr lang="tr-TR" sz="1807" b="1" kern="0" dirty="0" smtClean="0">
                  <a:solidFill>
                    <a:srgbClr val="1F497D"/>
                  </a:solidFill>
                </a:rPr>
                <a:t>(kabul, revizyon, ret)</a:t>
              </a:r>
              <a:endParaRPr lang="en-GB" sz="1807" b="1" kern="0" dirty="0">
                <a:solidFill>
                  <a:srgbClr val="1F497D"/>
                </a:solidFill>
              </a:endParaRPr>
            </a:p>
          </p:txBody>
        </p:sp>
        <p:sp>
          <p:nvSpPr>
            <p:cNvPr id="94" name="TextBox 93"/>
            <p:cNvSpPr txBox="1"/>
            <p:nvPr/>
          </p:nvSpPr>
          <p:spPr>
            <a:xfrm>
              <a:off x="5423695" y="2391434"/>
              <a:ext cx="2169502" cy="583981"/>
            </a:xfrm>
            <a:prstGeom prst="rect">
              <a:avLst/>
            </a:prstGeom>
            <a:noFill/>
          </p:spPr>
          <p:txBody>
            <a:bodyPr wrap="none" rtlCol="0">
              <a:spAutoFit/>
            </a:bodyPr>
            <a:lstStyle/>
            <a:p>
              <a:pPr algn="ctr" defTabSz="518092">
                <a:defRPr/>
              </a:pPr>
              <a:r>
                <a:rPr lang="tr-TR" sz="1807" b="1" kern="0" dirty="0" smtClean="0">
                  <a:solidFill>
                    <a:srgbClr val="1F497D"/>
                  </a:solidFill>
                </a:rPr>
                <a:t>Kurul Değerlendirmesi</a:t>
              </a:r>
            </a:p>
            <a:p>
              <a:pPr algn="ctr" defTabSz="518092">
                <a:defRPr/>
              </a:pPr>
              <a:r>
                <a:rPr lang="tr-TR" sz="1807" b="1" kern="0" dirty="0" smtClean="0">
                  <a:solidFill>
                    <a:srgbClr val="1F497D"/>
                  </a:solidFill>
                </a:rPr>
                <a:t>(kabul, revizyon, ret)</a:t>
              </a:r>
              <a:endParaRPr lang="en-GB" sz="1807" b="1" kern="0" dirty="0">
                <a:solidFill>
                  <a:srgbClr val="1F497D"/>
                </a:solidFill>
              </a:endParaRPr>
            </a:p>
          </p:txBody>
        </p:sp>
        <p:grpSp>
          <p:nvGrpSpPr>
            <p:cNvPr id="85" name="POWER_USER_ID_ICONS_Gavel"/>
            <p:cNvGrpSpPr>
              <a:grpSpLocks noChangeAspect="1"/>
            </p:cNvGrpSpPr>
            <p:nvPr>
              <p:custDataLst>
                <p:tags r:id="rId26"/>
              </p:custDataLst>
            </p:nvPr>
          </p:nvGrpSpPr>
          <p:grpSpPr>
            <a:xfrm>
              <a:off x="4083508" y="1731573"/>
              <a:ext cx="403436" cy="326506"/>
              <a:chOff x="-1958181" y="55563"/>
              <a:chExt cx="715963" cy="579438"/>
            </a:xfrm>
            <a:solidFill>
              <a:schemeClr val="tx2"/>
            </a:solidFill>
          </p:grpSpPr>
          <p:sp>
            <p:nvSpPr>
              <p:cNvPr id="86" name="POWER_USER_ID_ICONS_Gavel"/>
              <p:cNvSpPr>
                <a:spLocks noChangeArrowheads="1"/>
              </p:cNvSpPr>
              <p:nvPr>
                <p:custDataLst>
                  <p:tags r:id="rId54"/>
                </p:custDataLst>
              </p:nvPr>
            </p:nvSpPr>
            <p:spPr bwMode="auto">
              <a:xfrm>
                <a:off x="-1532731" y="560388"/>
                <a:ext cx="209550" cy="74613"/>
              </a:xfrm>
              <a:prstGeom prst="rect">
                <a:avLst/>
              </a:prstGeom>
              <a:grpFill/>
              <a:ln w="9525">
                <a:noFill/>
                <a:miter lim="800000"/>
                <a:headEnd/>
                <a:tailEnd/>
              </a:ln>
              <a:extLst/>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87" name="POWER_USER_ID_ICONS_Gavel"/>
              <p:cNvSpPr>
                <a:spLocks noChangeArrowheads="1"/>
              </p:cNvSpPr>
              <p:nvPr>
                <p:custDataLst>
                  <p:tags r:id="rId55"/>
                </p:custDataLst>
              </p:nvPr>
            </p:nvSpPr>
            <p:spPr bwMode="auto">
              <a:xfrm>
                <a:off x="-1643856" y="604838"/>
                <a:ext cx="401638" cy="30163"/>
              </a:xfrm>
              <a:prstGeom prst="rect">
                <a:avLst/>
              </a:prstGeom>
              <a:grpFill/>
              <a:ln w="9525">
                <a:noFill/>
                <a:miter lim="800000"/>
                <a:headEnd/>
                <a:tailEnd/>
              </a:ln>
              <a:extLst/>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88" name="POWER_USER_ID_ICONS_Gavel"/>
              <p:cNvSpPr>
                <a:spLocks/>
              </p:cNvSpPr>
              <p:nvPr>
                <p:custDataLst>
                  <p:tags r:id="rId56"/>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a:extLst/>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00" name="POWER_USER_ID_ICONS_Gavel"/>
              <p:cNvSpPr>
                <a:spLocks/>
              </p:cNvSpPr>
              <p:nvPr>
                <p:custDataLst>
                  <p:tags r:id="rId57"/>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a:extLst/>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01" name="POWER_USER_ID_ICONS_Gavel"/>
              <p:cNvSpPr>
                <a:spLocks/>
              </p:cNvSpPr>
              <p:nvPr>
                <p:custDataLst>
                  <p:tags r:id="rId58"/>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a:extLst/>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09" name="POWER_USER_ID_ICONS_Gavel"/>
              <p:cNvSpPr>
                <a:spLocks/>
              </p:cNvSpPr>
              <p:nvPr>
                <p:custDataLst>
                  <p:tags r:id="rId59"/>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a:extLst/>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grpSp>
        <p:grpSp>
          <p:nvGrpSpPr>
            <p:cNvPr id="110" name="POWER_USER_ID_ICONS_Big_Idea"/>
            <p:cNvGrpSpPr>
              <a:grpSpLocks noChangeAspect="1"/>
            </p:cNvGrpSpPr>
            <p:nvPr>
              <p:custDataLst>
                <p:tags r:id="rId27"/>
              </p:custDataLst>
            </p:nvPr>
          </p:nvGrpSpPr>
          <p:grpSpPr bwMode="auto">
            <a:xfrm>
              <a:off x="1903977" y="1684343"/>
              <a:ext cx="353773" cy="372365"/>
              <a:chOff x="3544" y="-299"/>
              <a:chExt cx="4110" cy="4326"/>
            </a:xfrm>
            <a:solidFill>
              <a:schemeClr val="tx2"/>
            </a:solidFill>
          </p:grpSpPr>
          <p:sp>
            <p:nvSpPr>
              <p:cNvPr id="111"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12"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13"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14"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15"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16"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17"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18"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19"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grpSp>
        <p:grpSp>
          <p:nvGrpSpPr>
            <p:cNvPr id="134" name="POWER_USER_ID_ICONS_Cup"/>
            <p:cNvGrpSpPr>
              <a:grpSpLocks noChangeAspect="1"/>
            </p:cNvGrpSpPr>
            <p:nvPr>
              <p:custDataLst>
                <p:tags r:id="rId28"/>
              </p:custDataLst>
            </p:nvPr>
          </p:nvGrpSpPr>
          <p:grpSpPr bwMode="auto">
            <a:xfrm>
              <a:off x="7787205" y="4771529"/>
              <a:ext cx="559408" cy="603779"/>
              <a:chOff x="69" y="56"/>
              <a:chExt cx="353" cy="381"/>
            </a:xfrm>
            <a:solidFill>
              <a:schemeClr val="tx2"/>
            </a:solidFill>
          </p:grpSpPr>
          <p:sp>
            <p:nvSpPr>
              <p:cNvPr id="135" name="POWER_USER_ID_ICONS_Cup"/>
              <p:cNvSpPr>
                <a:spLocks/>
              </p:cNvSpPr>
              <p:nvPr>
                <p:custDataLst>
                  <p:tags r:id="rId49"/>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36" name="POWER_USER_ID_ICONS_Cup"/>
              <p:cNvSpPr>
                <a:spLocks/>
              </p:cNvSpPr>
              <p:nvPr>
                <p:custDataLst>
                  <p:tags r:id="rId50"/>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37" name="POWER_USER_ID_ICONS_Cup"/>
              <p:cNvSpPr>
                <a:spLocks/>
              </p:cNvSpPr>
              <p:nvPr>
                <p:custDataLst>
                  <p:tags r:id="rId51"/>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38" name="POWER_USER_ID_ICONS_Cup"/>
              <p:cNvSpPr>
                <a:spLocks/>
              </p:cNvSpPr>
              <p:nvPr>
                <p:custDataLst>
                  <p:tags r:id="rId52"/>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39" name="POWER_USER_ID_ICONS_Cup"/>
              <p:cNvSpPr>
                <a:spLocks/>
              </p:cNvSpPr>
              <p:nvPr>
                <p:custDataLst>
                  <p:tags r:id="rId53"/>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grpSp>
        <p:grpSp>
          <p:nvGrpSpPr>
            <p:cNvPr id="140" name="POWER_USER_ID_ICONS_Flag5"/>
            <p:cNvGrpSpPr>
              <a:grpSpLocks noChangeAspect="1"/>
            </p:cNvGrpSpPr>
            <p:nvPr>
              <p:custDataLst>
                <p:tags r:id="rId29"/>
              </p:custDataLst>
            </p:nvPr>
          </p:nvGrpSpPr>
          <p:grpSpPr bwMode="auto">
            <a:xfrm>
              <a:off x="726606" y="1935356"/>
              <a:ext cx="362108" cy="466410"/>
              <a:chOff x="8" y="5"/>
              <a:chExt cx="368" cy="474"/>
            </a:xfrm>
            <a:solidFill>
              <a:schemeClr val="tx2"/>
            </a:solidFill>
          </p:grpSpPr>
          <p:sp>
            <p:nvSpPr>
              <p:cNvPr id="141" name="POWER_USER_ID_ICONS_Flag5"/>
              <p:cNvSpPr>
                <a:spLocks/>
              </p:cNvSpPr>
              <p:nvPr>
                <p:custDataLst>
                  <p:tags r:id="rId35"/>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42" name="POWER_USER_ID_ICONS_Flag5"/>
              <p:cNvSpPr>
                <a:spLocks noChangeArrowheads="1"/>
              </p:cNvSpPr>
              <p:nvPr>
                <p:custDataLst>
                  <p:tags r:id="rId36"/>
                </p:custDataLst>
              </p:nvPr>
            </p:nvSpPr>
            <p:spPr bwMode="auto">
              <a:xfrm>
                <a:off x="34" y="26"/>
                <a:ext cx="55"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43" name="POWER_USER_ID_ICONS_Flag5"/>
              <p:cNvSpPr>
                <a:spLocks noChangeArrowheads="1"/>
              </p:cNvSpPr>
              <p:nvPr>
                <p:custDataLst>
                  <p:tags r:id="rId37"/>
                </p:custDataLst>
              </p:nvPr>
            </p:nvSpPr>
            <p:spPr bwMode="auto">
              <a:xfrm>
                <a:off x="88" y="81"/>
                <a:ext cx="56"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44" name="POWER_USER_ID_ICONS_Flag5"/>
              <p:cNvSpPr>
                <a:spLocks noChangeArrowheads="1"/>
              </p:cNvSpPr>
              <p:nvPr>
                <p:custDataLst>
                  <p:tags r:id="rId38"/>
                </p:custDataLst>
              </p:nvPr>
            </p:nvSpPr>
            <p:spPr bwMode="auto">
              <a:xfrm>
                <a:off x="34" y="136"/>
                <a:ext cx="55"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45" name="POWER_USER_ID_ICONS_Flag5"/>
              <p:cNvSpPr>
                <a:spLocks noChangeArrowheads="1"/>
              </p:cNvSpPr>
              <p:nvPr>
                <p:custDataLst>
                  <p:tags r:id="rId39"/>
                </p:custDataLst>
              </p:nvPr>
            </p:nvSpPr>
            <p:spPr bwMode="auto">
              <a:xfrm>
                <a:off x="88" y="191"/>
                <a:ext cx="56"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46" name="POWER_USER_ID_ICONS_Flag5"/>
              <p:cNvSpPr>
                <a:spLocks noChangeArrowheads="1"/>
              </p:cNvSpPr>
              <p:nvPr>
                <p:custDataLst>
                  <p:tags r:id="rId40"/>
                </p:custDataLst>
              </p:nvPr>
            </p:nvSpPr>
            <p:spPr bwMode="auto">
              <a:xfrm>
                <a:off x="144" y="26"/>
                <a:ext cx="54"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47" name="POWER_USER_ID_ICONS_Flag5"/>
              <p:cNvSpPr>
                <a:spLocks noChangeArrowheads="1"/>
              </p:cNvSpPr>
              <p:nvPr>
                <p:custDataLst>
                  <p:tags r:id="rId41"/>
                </p:custDataLst>
              </p:nvPr>
            </p:nvSpPr>
            <p:spPr bwMode="auto">
              <a:xfrm>
                <a:off x="198" y="81"/>
                <a:ext cx="55"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48" name="POWER_USER_ID_ICONS_Flag5"/>
              <p:cNvSpPr>
                <a:spLocks noChangeArrowheads="1"/>
              </p:cNvSpPr>
              <p:nvPr>
                <p:custDataLst>
                  <p:tags r:id="rId42"/>
                </p:custDataLst>
              </p:nvPr>
            </p:nvSpPr>
            <p:spPr bwMode="auto">
              <a:xfrm>
                <a:off x="144" y="136"/>
                <a:ext cx="54"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49" name="POWER_USER_ID_ICONS_Flag5"/>
              <p:cNvSpPr>
                <a:spLocks noChangeArrowheads="1"/>
              </p:cNvSpPr>
              <p:nvPr>
                <p:custDataLst>
                  <p:tags r:id="rId43"/>
                </p:custDataLst>
              </p:nvPr>
            </p:nvSpPr>
            <p:spPr bwMode="auto">
              <a:xfrm>
                <a:off x="198" y="191"/>
                <a:ext cx="55"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50" name="POWER_USER_ID_ICONS_Flag5"/>
              <p:cNvSpPr>
                <a:spLocks noChangeArrowheads="1"/>
              </p:cNvSpPr>
              <p:nvPr>
                <p:custDataLst>
                  <p:tags r:id="rId44"/>
                </p:custDataLst>
              </p:nvPr>
            </p:nvSpPr>
            <p:spPr bwMode="auto">
              <a:xfrm>
                <a:off x="253" y="26"/>
                <a:ext cx="56"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51" name="POWER_USER_ID_ICONS_Flag5"/>
              <p:cNvSpPr>
                <a:spLocks noChangeArrowheads="1"/>
              </p:cNvSpPr>
              <p:nvPr>
                <p:custDataLst>
                  <p:tags r:id="rId45"/>
                </p:custDataLst>
              </p:nvPr>
            </p:nvSpPr>
            <p:spPr bwMode="auto">
              <a:xfrm>
                <a:off x="309" y="81"/>
                <a:ext cx="54"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52" name="POWER_USER_ID_ICONS_Flag5"/>
              <p:cNvSpPr>
                <a:spLocks noChangeArrowheads="1"/>
              </p:cNvSpPr>
              <p:nvPr>
                <p:custDataLst>
                  <p:tags r:id="rId46"/>
                </p:custDataLst>
              </p:nvPr>
            </p:nvSpPr>
            <p:spPr bwMode="auto">
              <a:xfrm>
                <a:off x="253" y="136"/>
                <a:ext cx="56"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53" name="POWER_USER_ID_ICONS_Flag5"/>
              <p:cNvSpPr>
                <a:spLocks noChangeArrowheads="1"/>
              </p:cNvSpPr>
              <p:nvPr>
                <p:custDataLst>
                  <p:tags r:id="rId47"/>
                </p:custDataLst>
              </p:nvPr>
            </p:nvSpPr>
            <p:spPr bwMode="auto">
              <a:xfrm>
                <a:off x="309" y="191"/>
                <a:ext cx="54" cy="56"/>
              </a:xfrm>
              <a:prstGeom prst="rect">
                <a:avLst/>
              </a:prstGeom>
              <a:grpFill/>
              <a:ln w="0">
                <a:noFill/>
                <a:prstDash val="solid"/>
                <a:miter lim="800000"/>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54" name="POWER_USER_ID_ICONS_Flag5"/>
              <p:cNvSpPr>
                <a:spLocks noEditPoints="1"/>
              </p:cNvSpPr>
              <p:nvPr>
                <p:custDataLst>
                  <p:tags r:id="rId48"/>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grpSp>
        <p:grpSp>
          <p:nvGrpSpPr>
            <p:cNvPr id="155" name="Group 154"/>
            <p:cNvGrpSpPr>
              <a:grpSpLocks noChangeAspect="1"/>
            </p:cNvGrpSpPr>
            <p:nvPr/>
          </p:nvGrpSpPr>
          <p:grpSpPr>
            <a:xfrm rot="10800000">
              <a:off x="777435" y="3753770"/>
              <a:ext cx="1470074" cy="1483078"/>
              <a:chOff x="9268877" y="1596791"/>
              <a:chExt cx="1005840" cy="1014737"/>
            </a:xfrm>
          </p:grpSpPr>
          <p:sp>
            <p:nvSpPr>
              <p:cNvPr id="1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157"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grpSp>
        <p:sp>
          <p:nvSpPr>
            <p:cNvPr id="158" name="Oval 157"/>
            <p:cNvSpPr>
              <a:spLocks noChangeAspect="1"/>
            </p:cNvSpPr>
            <p:nvPr/>
          </p:nvSpPr>
          <p:spPr>
            <a:xfrm>
              <a:off x="1986872"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159" name="Oval 158"/>
            <p:cNvSpPr>
              <a:spLocks noChangeAspect="1"/>
            </p:cNvSpPr>
            <p:nvPr/>
          </p:nvSpPr>
          <p:spPr>
            <a:xfrm>
              <a:off x="4203139"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160" name="Oval 159"/>
            <p:cNvSpPr>
              <a:spLocks noChangeAspect="1"/>
            </p:cNvSpPr>
            <p:nvPr/>
          </p:nvSpPr>
          <p:spPr>
            <a:xfrm>
              <a:off x="6419407" y="3661231"/>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161" name="TextBox 160"/>
            <p:cNvSpPr txBox="1"/>
            <p:nvPr/>
          </p:nvSpPr>
          <p:spPr>
            <a:xfrm>
              <a:off x="4984030" y="3839419"/>
              <a:ext cx="3362583" cy="583981"/>
            </a:xfrm>
            <a:prstGeom prst="rect">
              <a:avLst/>
            </a:prstGeom>
            <a:noFill/>
          </p:spPr>
          <p:txBody>
            <a:bodyPr wrap="square" rtlCol="0">
              <a:spAutoFit/>
            </a:bodyPr>
            <a:lstStyle/>
            <a:p>
              <a:pPr algn="ctr" defTabSz="518092">
                <a:defRPr/>
              </a:pPr>
              <a:r>
                <a:rPr lang="tr-TR" sz="1807" b="1" kern="0" dirty="0">
                  <a:solidFill>
                    <a:srgbClr val="1F497D"/>
                  </a:solidFill>
                </a:rPr>
                <a:t>Taahhütname ve </a:t>
              </a:r>
            </a:p>
            <a:p>
              <a:pPr algn="ctr" defTabSz="518092">
                <a:defRPr/>
              </a:pPr>
              <a:r>
                <a:rPr lang="tr-TR" sz="1807" b="1" kern="0" dirty="0" smtClean="0">
                  <a:solidFill>
                    <a:srgbClr val="1F497D"/>
                  </a:solidFill>
                </a:rPr>
                <a:t>TEKMER </a:t>
              </a:r>
              <a:r>
                <a:rPr lang="tr-TR" sz="1807" b="1" kern="0" dirty="0">
                  <a:solidFill>
                    <a:srgbClr val="1F497D"/>
                  </a:solidFill>
                </a:rPr>
                <a:t>adı kullanım </a:t>
              </a:r>
              <a:r>
                <a:rPr lang="tr-TR" sz="1807" b="1" kern="0" dirty="0" smtClean="0">
                  <a:solidFill>
                    <a:srgbClr val="1F497D"/>
                  </a:solidFill>
                </a:rPr>
                <a:t>hakkı </a:t>
              </a:r>
              <a:r>
                <a:rPr lang="tr-TR" sz="1807" b="1" kern="0" dirty="0">
                  <a:solidFill>
                    <a:srgbClr val="1F497D"/>
                  </a:solidFill>
                </a:rPr>
                <a:t>sözleşmesi</a:t>
              </a:r>
              <a:endParaRPr lang="en-US" sz="1807" b="1" kern="0" dirty="0">
                <a:solidFill>
                  <a:srgbClr val="1F497D"/>
                </a:solidFill>
              </a:endParaRPr>
            </a:p>
          </p:txBody>
        </p:sp>
        <p:sp>
          <p:nvSpPr>
            <p:cNvPr id="162" name="TextBox 161"/>
            <p:cNvSpPr txBox="1"/>
            <p:nvPr/>
          </p:nvSpPr>
          <p:spPr>
            <a:xfrm>
              <a:off x="3414360" y="3876730"/>
              <a:ext cx="1776023" cy="586152"/>
            </a:xfrm>
            <a:prstGeom prst="rect">
              <a:avLst/>
            </a:prstGeom>
            <a:noFill/>
          </p:spPr>
          <p:txBody>
            <a:bodyPr wrap="none" rtlCol="0">
              <a:spAutoFit/>
            </a:bodyPr>
            <a:lstStyle/>
            <a:p>
              <a:pPr algn="ctr" defTabSz="518092">
                <a:defRPr/>
              </a:pPr>
              <a:r>
                <a:rPr lang="tr-TR" sz="1807" b="1" kern="0" dirty="0">
                  <a:solidFill>
                    <a:srgbClr val="1F497D"/>
                  </a:solidFill>
                </a:rPr>
                <a:t>Faaliyetin </a:t>
              </a:r>
            </a:p>
            <a:p>
              <a:pPr algn="ctr" defTabSz="518092">
                <a:defRPr/>
              </a:pPr>
              <a:r>
                <a:rPr lang="tr-TR" sz="1807" b="1" kern="0" dirty="0">
                  <a:solidFill>
                    <a:srgbClr val="1F497D"/>
                  </a:solidFill>
                </a:rPr>
                <a:t>Gerçekleştirilmesi</a:t>
              </a:r>
              <a:endParaRPr lang="en-GB" sz="1807" b="1" kern="0" dirty="0">
                <a:solidFill>
                  <a:srgbClr val="1F497D"/>
                </a:solidFill>
              </a:endParaRPr>
            </a:p>
          </p:txBody>
        </p:sp>
        <p:sp>
          <p:nvSpPr>
            <p:cNvPr id="165" name="TextBox 164"/>
            <p:cNvSpPr txBox="1"/>
            <p:nvPr/>
          </p:nvSpPr>
          <p:spPr>
            <a:xfrm>
              <a:off x="1160849" y="5439784"/>
              <a:ext cx="1764069" cy="583981"/>
            </a:xfrm>
            <a:prstGeom prst="rect">
              <a:avLst/>
            </a:prstGeom>
            <a:noFill/>
          </p:spPr>
          <p:txBody>
            <a:bodyPr wrap="none" rtlCol="0">
              <a:spAutoFit/>
            </a:bodyPr>
            <a:lstStyle/>
            <a:p>
              <a:pPr algn="ctr" defTabSz="518092">
                <a:defRPr/>
              </a:pPr>
              <a:r>
                <a:rPr lang="tr-TR" sz="1807" b="1" kern="0" dirty="0" smtClean="0">
                  <a:solidFill>
                    <a:srgbClr val="1F497D"/>
                  </a:solidFill>
                </a:rPr>
                <a:t>Ödeme</a:t>
              </a:r>
            </a:p>
            <a:p>
              <a:pPr algn="ctr" defTabSz="518092">
                <a:defRPr/>
              </a:pPr>
              <a:r>
                <a:rPr lang="tr-TR" sz="1807" b="1" kern="0" dirty="0" smtClean="0">
                  <a:solidFill>
                    <a:srgbClr val="1F497D"/>
                  </a:solidFill>
                </a:rPr>
                <a:t>(4 Aylık Dönemlerde)</a:t>
              </a:r>
              <a:endParaRPr lang="en-GB" sz="1807" b="1" kern="0" dirty="0">
                <a:solidFill>
                  <a:srgbClr val="1F497D"/>
                </a:solidFill>
              </a:endParaRPr>
            </a:p>
          </p:txBody>
        </p:sp>
        <p:sp>
          <p:nvSpPr>
            <p:cNvPr id="167" name="Oval 166"/>
            <p:cNvSpPr>
              <a:spLocks noChangeAspect="1"/>
            </p:cNvSpPr>
            <p:nvPr/>
          </p:nvSpPr>
          <p:spPr>
            <a:xfrm>
              <a:off x="1986872"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168" name="Oval 167"/>
            <p:cNvSpPr>
              <a:spLocks noChangeAspect="1"/>
            </p:cNvSpPr>
            <p:nvPr/>
          </p:nvSpPr>
          <p:spPr>
            <a:xfrm>
              <a:off x="4203139"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169" name="Oval 168"/>
            <p:cNvSpPr>
              <a:spLocks noChangeAspect="1"/>
            </p:cNvSpPr>
            <p:nvPr/>
          </p:nvSpPr>
          <p:spPr>
            <a:xfrm>
              <a:off x="6419407" y="5125958"/>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170" name="TextBox 169"/>
            <p:cNvSpPr txBox="1"/>
            <p:nvPr/>
          </p:nvSpPr>
          <p:spPr>
            <a:xfrm>
              <a:off x="3455328" y="5441378"/>
              <a:ext cx="1659798" cy="583981"/>
            </a:xfrm>
            <a:prstGeom prst="rect">
              <a:avLst/>
            </a:prstGeom>
            <a:noFill/>
          </p:spPr>
          <p:txBody>
            <a:bodyPr wrap="none" rtlCol="0">
              <a:spAutoFit/>
            </a:bodyPr>
            <a:lstStyle/>
            <a:p>
              <a:pPr algn="ctr" defTabSz="518092">
                <a:defRPr/>
              </a:pPr>
              <a:r>
                <a:rPr lang="tr-TR" sz="1807" b="1" kern="0" dirty="0" smtClean="0">
                  <a:solidFill>
                    <a:srgbClr val="1F497D"/>
                  </a:solidFill>
                </a:rPr>
                <a:t>Destek Sürecinin</a:t>
              </a:r>
              <a:endParaRPr lang="tr-TR" sz="1807" b="1" kern="0" dirty="0">
                <a:solidFill>
                  <a:srgbClr val="1F497D"/>
                </a:solidFill>
              </a:endParaRPr>
            </a:p>
            <a:p>
              <a:pPr algn="ctr" defTabSz="518092">
                <a:defRPr/>
              </a:pPr>
              <a:r>
                <a:rPr lang="tr-TR" sz="1807" b="1" kern="0" dirty="0">
                  <a:solidFill>
                    <a:srgbClr val="1F497D"/>
                  </a:solidFill>
                </a:rPr>
                <a:t>Tamamlanması</a:t>
              </a:r>
              <a:endParaRPr lang="en-GB" sz="1807" b="1" kern="0" dirty="0">
                <a:solidFill>
                  <a:srgbClr val="1F497D"/>
                </a:solidFill>
              </a:endParaRPr>
            </a:p>
          </p:txBody>
        </p:sp>
        <p:sp>
          <p:nvSpPr>
            <p:cNvPr id="171" name="TextBox 170"/>
            <p:cNvSpPr txBox="1"/>
            <p:nvPr/>
          </p:nvSpPr>
          <p:spPr>
            <a:xfrm>
              <a:off x="1188826" y="3962108"/>
              <a:ext cx="1760271" cy="583981"/>
            </a:xfrm>
            <a:prstGeom prst="rect">
              <a:avLst/>
            </a:prstGeom>
            <a:noFill/>
          </p:spPr>
          <p:txBody>
            <a:bodyPr wrap="none" rtlCol="0">
              <a:spAutoFit/>
            </a:bodyPr>
            <a:lstStyle/>
            <a:p>
              <a:pPr algn="ctr" defTabSz="518092">
                <a:defRPr/>
              </a:pPr>
              <a:r>
                <a:rPr lang="tr-TR" sz="1807" b="1" kern="0" dirty="0" smtClean="0">
                  <a:solidFill>
                    <a:srgbClr val="1F497D"/>
                  </a:solidFill>
                </a:rPr>
                <a:t>İzleme</a:t>
              </a:r>
            </a:p>
            <a:p>
              <a:pPr algn="ctr" defTabSz="518092">
                <a:defRPr/>
              </a:pPr>
              <a:r>
                <a:rPr lang="tr-TR" sz="1807" b="1" kern="0" dirty="0">
                  <a:solidFill>
                    <a:srgbClr val="1F497D"/>
                  </a:solidFill>
                </a:rPr>
                <a:t>(4 Aylık Dönemlerde</a:t>
              </a:r>
              <a:r>
                <a:rPr lang="tr-TR" sz="1807" b="1" kern="0" dirty="0" smtClean="0">
                  <a:solidFill>
                    <a:srgbClr val="1F497D"/>
                  </a:solidFill>
                </a:rPr>
                <a:t>)</a:t>
              </a:r>
              <a:endParaRPr lang="en-GB" sz="1807" b="1" kern="0" dirty="0">
                <a:solidFill>
                  <a:srgbClr val="1F497D"/>
                </a:solidFill>
              </a:endParaRPr>
            </a:p>
          </p:txBody>
        </p:sp>
        <p:sp>
          <p:nvSpPr>
            <p:cNvPr id="174" name="TextBox 173"/>
            <p:cNvSpPr txBox="1"/>
            <p:nvPr/>
          </p:nvSpPr>
          <p:spPr>
            <a:xfrm>
              <a:off x="5696147" y="5466317"/>
              <a:ext cx="1533854" cy="583981"/>
            </a:xfrm>
            <a:prstGeom prst="rect">
              <a:avLst/>
            </a:prstGeom>
            <a:noFill/>
          </p:spPr>
          <p:txBody>
            <a:bodyPr wrap="none" rtlCol="0">
              <a:spAutoFit/>
            </a:bodyPr>
            <a:lstStyle/>
            <a:p>
              <a:pPr algn="ctr" defTabSz="518092">
                <a:defRPr/>
              </a:pPr>
              <a:r>
                <a:rPr lang="tr-TR" sz="1807" b="1" kern="0" dirty="0" smtClean="0">
                  <a:solidFill>
                    <a:srgbClr val="1F497D"/>
                  </a:solidFill>
                </a:rPr>
                <a:t>Destek Sonrası </a:t>
              </a:r>
              <a:endParaRPr lang="tr-TR" sz="1807" b="1" kern="0" dirty="0">
                <a:solidFill>
                  <a:srgbClr val="1F497D"/>
                </a:solidFill>
              </a:endParaRPr>
            </a:p>
            <a:p>
              <a:pPr algn="ctr" defTabSz="518092">
                <a:defRPr/>
              </a:pPr>
              <a:r>
                <a:rPr lang="tr-TR" sz="1807" b="1" kern="0" dirty="0">
                  <a:solidFill>
                    <a:srgbClr val="1F497D"/>
                  </a:solidFill>
                </a:rPr>
                <a:t>İzleme</a:t>
              </a:r>
              <a:endParaRPr lang="en-GB" sz="1807" b="1" kern="0" dirty="0">
                <a:solidFill>
                  <a:srgbClr val="1F497D"/>
                </a:solidFill>
              </a:endParaRPr>
            </a:p>
          </p:txBody>
        </p:sp>
        <p:sp>
          <p:nvSpPr>
            <p:cNvPr id="176" name="POWER_USER_ID_ICONS_Board"/>
            <p:cNvSpPr>
              <a:spLocks noChangeAspect="1" noEditPoints="1"/>
            </p:cNvSpPr>
            <p:nvPr>
              <p:custDataLst>
                <p:tags r:id="rId30"/>
              </p:custDataLst>
            </p:nvPr>
          </p:nvSpPr>
          <p:spPr bwMode="auto">
            <a:xfrm>
              <a:off x="4152393" y="3163062"/>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a:extLst/>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82" name="POWER_USER_ID_ICONS_Stopwatch5"/>
            <p:cNvSpPr>
              <a:spLocks noChangeAspect="1" noEditPoints="1"/>
            </p:cNvSpPr>
            <p:nvPr>
              <p:custDataLst>
                <p:tags r:id="rId31"/>
              </p:custDataLst>
            </p:nvPr>
          </p:nvSpPr>
          <p:spPr bwMode="auto">
            <a:xfrm>
              <a:off x="4095708" y="4668639"/>
              <a:ext cx="405224" cy="300563"/>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a:extLst/>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grpSp>
          <p:nvGrpSpPr>
            <p:cNvPr id="184" name="POWER_USER_ID_ICONS_Government"/>
            <p:cNvGrpSpPr>
              <a:grpSpLocks noChangeAspect="1"/>
            </p:cNvGrpSpPr>
            <p:nvPr>
              <p:custDataLst>
                <p:tags r:id="rId32"/>
              </p:custDataLst>
            </p:nvPr>
          </p:nvGrpSpPr>
          <p:grpSpPr bwMode="auto">
            <a:xfrm>
              <a:off x="8643284" y="2639999"/>
              <a:ext cx="439341" cy="438150"/>
              <a:chOff x="3888" y="-1579"/>
              <a:chExt cx="369" cy="368"/>
            </a:xfrm>
            <a:solidFill>
              <a:schemeClr val="tx2"/>
            </a:solidFill>
          </p:grpSpPr>
          <p:sp>
            <p:nvSpPr>
              <p:cNvPr id="185" name="POWER_USER_ID_ICONS_Government"/>
              <p:cNvSpPr>
                <a:spLocks noEditPoints="1"/>
              </p:cNvSpPr>
              <p:nvPr>
                <p:custDataLst>
                  <p:tags r:id="rId33"/>
                </p:custDataLst>
              </p:nvPr>
            </p:nvSpPr>
            <p:spPr bwMode="auto">
              <a:xfrm>
                <a:off x="3888" y="-1484"/>
                <a:ext cx="369" cy="273"/>
              </a:xfrm>
              <a:custGeom>
                <a:avLst/>
                <a:gdLst>
                  <a:gd name="T0" fmla="*/ 207 w 218"/>
                  <a:gd name="T1" fmla="*/ 117 h 161"/>
                  <a:gd name="T2" fmla="*/ 189 w 218"/>
                  <a:gd name="T3" fmla="*/ 117 h 161"/>
                  <a:gd name="T4" fmla="*/ 189 w 218"/>
                  <a:gd name="T5" fmla="*/ 22 h 161"/>
                  <a:gd name="T6" fmla="*/ 207 w 218"/>
                  <a:gd name="T7" fmla="*/ 22 h 161"/>
                  <a:gd name="T8" fmla="*/ 207 w 218"/>
                  <a:gd name="T9" fmla="*/ 0 h 161"/>
                  <a:gd name="T10" fmla="*/ 13 w 218"/>
                  <a:gd name="T11" fmla="*/ 0 h 161"/>
                  <a:gd name="T12" fmla="*/ 13 w 218"/>
                  <a:gd name="T13" fmla="*/ 22 h 161"/>
                  <a:gd name="T14" fmla="*/ 27 w 218"/>
                  <a:gd name="T15" fmla="*/ 22 h 161"/>
                  <a:gd name="T16" fmla="*/ 27 w 218"/>
                  <a:gd name="T17" fmla="*/ 117 h 161"/>
                  <a:gd name="T18" fmla="*/ 13 w 218"/>
                  <a:gd name="T19" fmla="*/ 117 h 161"/>
                  <a:gd name="T20" fmla="*/ 13 w 218"/>
                  <a:gd name="T21" fmla="*/ 139 h 161"/>
                  <a:gd name="T22" fmla="*/ 0 w 218"/>
                  <a:gd name="T23" fmla="*/ 139 h 161"/>
                  <a:gd name="T24" fmla="*/ 0 w 218"/>
                  <a:gd name="T25" fmla="*/ 161 h 161"/>
                  <a:gd name="T26" fmla="*/ 218 w 218"/>
                  <a:gd name="T27" fmla="*/ 161 h 161"/>
                  <a:gd name="T28" fmla="*/ 218 w 218"/>
                  <a:gd name="T29" fmla="*/ 139 h 161"/>
                  <a:gd name="T30" fmla="*/ 207 w 218"/>
                  <a:gd name="T31" fmla="*/ 139 h 161"/>
                  <a:gd name="T32" fmla="*/ 207 w 218"/>
                  <a:gd name="T33" fmla="*/ 117 h 161"/>
                  <a:gd name="T34" fmla="*/ 97 w 218"/>
                  <a:gd name="T35" fmla="*/ 117 h 161"/>
                  <a:gd name="T36" fmla="*/ 97 w 218"/>
                  <a:gd name="T37" fmla="*/ 22 h 161"/>
                  <a:gd name="T38" fmla="*/ 120 w 218"/>
                  <a:gd name="T39" fmla="*/ 22 h 161"/>
                  <a:gd name="T40" fmla="*/ 120 w 218"/>
                  <a:gd name="T41" fmla="*/ 117 h 161"/>
                  <a:gd name="T42" fmla="*/ 97 w 218"/>
                  <a:gd name="T43" fmla="*/ 117 h 161"/>
                  <a:gd name="T44" fmla="*/ 167 w 218"/>
                  <a:gd name="T45" fmla="*/ 117 h 161"/>
                  <a:gd name="T46" fmla="*/ 143 w 218"/>
                  <a:gd name="T47" fmla="*/ 117 h 161"/>
                  <a:gd name="T48" fmla="*/ 143 w 218"/>
                  <a:gd name="T49" fmla="*/ 22 h 161"/>
                  <a:gd name="T50" fmla="*/ 167 w 218"/>
                  <a:gd name="T51" fmla="*/ 22 h 161"/>
                  <a:gd name="T52" fmla="*/ 167 w 218"/>
                  <a:gd name="T53" fmla="*/ 117 h 161"/>
                  <a:gd name="T54" fmla="*/ 49 w 218"/>
                  <a:gd name="T55" fmla="*/ 22 h 161"/>
                  <a:gd name="T56" fmla="*/ 73 w 218"/>
                  <a:gd name="T57" fmla="*/ 22 h 161"/>
                  <a:gd name="T58" fmla="*/ 73 w 218"/>
                  <a:gd name="T59" fmla="*/ 117 h 161"/>
                  <a:gd name="T60" fmla="*/ 49 w 218"/>
                  <a:gd name="T61" fmla="*/ 117 h 161"/>
                  <a:gd name="T62" fmla="*/ 49 w 218"/>
                  <a:gd name="T63" fmla="*/ 2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8" h="161">
                    <a:moveTo>
                      <a:pt x="207" y="117"/>
                    </a:moveTo>
                    <a:lnTo>
                      <a:pt x="189" y="117"/>
                    </a:lnTo>
                    <a:lnTo>
                      <a:pt x="189" y="22"/>
                    </a:lnTo>
                    <a:lnTo>
                      <a:pt x="207" y="22"/>
                    </a:lnTo>
                    <a:lnTo>
                      <a:pt x="207" y="0"/>
                    </a:lnTo>
                    <a:lnTo>
                      <a:pt x="13" y="0"/>
                    </a:lnTo>
                    <a:lnTo>
                      <a:pt x="13" y="22"/>
                    </a:lnTo>
                    <a:lnTo>
                      <a:pt x="27" y="22"/>
                    </a:lnTo>
                    <a:lnTo>
                      <a:pt x="27" y="117"/>
                    </a:lnTo>
                    <a:lnTo>
                      <a:pt x="13" y="117"/>
                    </a:lnTo>
                    <a:lnTo>
                      <a:pt x="13" y="139"/>
                    </a:lnTo>
                    <a:lnTo>
                      <a:pt x="0" y="139"/>
                    </a:lnTo>
                    <a:lnTo>
                      <a:pt x="0" y="161"/>
                    </a:lnTo>
                    <a:lnTo>
                      <a:pt x="218" y="161"/>
                    </a:lnTo>
                    <a:lnTo>
                      <a:pt x="218" y="139"/>
                    </a:lnTo>
                    <a:lnTo>
                      <a:pt x="207" y="139"/>
                    </a:lnTo>
                    <a:lnTo>
                      <a:pt x="207" y="117"/>
                    </a:lnTo>
                    <a:close/>
                    <a:moveTo>
                      <a:pt x="97" y="117"/>
                    </a:moveTo>
                    <a:lnTo>
                      <a:pt x="97" y="22"/>
                    </a:lnTo>
                    <a:lnTo>
                      <a:pt x="120" y="22"/>
                    </a:lnTo>
                    <a:lnTo>
                      <a:pt x="120" y="117"/>
                    </a:lnTo>
                    <a:lnTo>
                      <a:pt x="97" y="117"/>
                    </a:lnTo>
                    <a:close/>
                    <a:moveTo>
                      <a:pt x="167" y="117"/>
                    </a:moveTo>
                    <a:lnTo>
                      <a:pt x="143" y="117"/>
                    </a:lnTo>
                    <a:lnTo>
                      <a:pt x="143" y="22"/>
                    </a:lnTo>
                    <a:lnTo>
                      <a:pt x="167" y="22"/>
                    </a:lnTo>
                    <a:lnTo>
                      <a:pt x="167" y="117"/>
                    </a:lnTo>
                    <a:close/>
                    <a:moveTo>
                      <a:pt x="49" y="22"/>
                    </a:moveTo>
                    <a:lnTo>
                      <a:pt x="73" y="22"/>
                    </a:lnTo>
                    <a:lnTo>
                      <a:pt x="73" y="117"/>
                    </a:lnTo>
                    <a:lnTo>
                      <a:pt x="49" y="117"/>
                    </a:lnTo>
                    <a:lnTo>
                      <a:pt x="49" y="22"/>
                    </a:ln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sp>
            <p:nvSpPr>
              <p:cNvPr id="186" name="POWER_USER_ID_ICONS_Government"/>
              <p:cNvSpPr>
                <a:spLocks/>
              </p:cNvSpPr>
              <p:nvPr>
                <p:custDataLst>
                  <p:tags r:id="rId34"/>
                </p:custDataLst>
              </p:nvPr>
            </p:nvSpPr>
            <p:spPr bwMode="auto">
              <a:xfrm>
                <a:off x="3888" y="-1579"/>
                <a:ext cx="369" cy="84"/>
              </a:xfrm>
              <a:custGeom>
                <a:avLst/>
                <a:gdLst>
                  <a:gd name="T0" fmla="*/ 218 w 218"/>
                  <a:gd name="T1" fmla="*/ 27 h 50"/>
                  <a:gd name="T2" fmla="*/ 218 w 218"/>
                  <a:gd name="T3" fmla="*/ 27 h 50"/>
                  <a:gd name="T4" fmla="*/ 218 w 218"/>
                  <a:gd name="T5" fmla="*/ 27 h 50"/>
                  <a:gd name="T6" fmla="*/ 218 w 218"/>
                  <a:gd name="T7" fmla="*/ 27 h 50"/>
                  <a:gd name="T8" fmla="*/ 109 w 218"/>
                  <a:gd name="T9" fmla="*/ 0 h 50"/>
                  <a:gd name="T10" fmla="*/ 0 w 218"/>
                  <a:gd name="T11" fmla="*/ 27 h 50"/>
                  <a:gd name="T12" fmla="*/ 0 w 218"/>
                  <a:gd name="T13" fmla="*/ 27 h 50"/>
                  <a:gd name="T14" fmla="*/ 0 w 218"/>
                  <a:gd name="T15" fmla="*/ 27 h 50"/>
                  <a:gd name="T16" fmla="*/ 0 w 218"/>
                  <a:gd name="T17" fmla="*/ 27 h 50"/>
                  <a:gd name="T18" fmla="*/ 0 w 218"/>
                  <a:gd name="T19" fmla="*/ 27 h 50"/>
                  <a:gd name="T20" fmla="*/ 0 w 218"/>
                  <a:gd name="T21" fmla="*/ 50 h 50"/>
                  <a:gd name="T22" fmla="*/ 218 w 218"/>
                  <a:gd name="T23" fmla="*/ 50 h 50"/>
                  <a:gd name="T24" fmla="*/ 218 w 218"/>
                  <a:gd name="T25"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50">
                    <a:moveTo>
                      <a:pt x="218" y="27"/>
                    </a:moveTo>
                    <a:lnTo>
                      <a:pt x="218" y="27"/>
                    </a:lnTo>
                    <a:lnTo>
                      <a:pt x="218" y="27"/>
                    </a:lnTo>
                    <a:lnTo>
                      <a:pt x="218" y="27"/>
                    </a:lnTo>
                    <a:lnTo>
                      <a:pt x="109" y="0"/>
                    </a:lnTo>
                    <a:lnTo>
                      <a:pt x="0" y="27"/>
                    </a:lnTo>
                    <a:lnTo>
                      <a:pt x="0" y="27"/>
                    </a:lnTo>
                    <a:lnTo>
                      <a:pt x="0" y="27"/>
                    </a:lnTo>
                    <a:lnTo>
                      <a:pt x="0" y="27"/>
                    </a:lnTo>
                    <a:lnTo>
                      <a:pt x="0" y="27"/>
                    </a:lnTo>
                    <a:lnTo>
                      <a:pt x="0" y="50"/>
                    </a:lnTo>
                    <a:lnTo>
                      <a:pt x="218" y="50"/>
                    </a:lnTo>
                    <a:lnTo>
                      <a:pt x="218" y="27"/>
                    </a:lnTo>
                    <a:close/>
                  </a:path>
                </a:pathLst>
              </a:custGeom>
              <a:grpFill/>
              <a:ln w="0">
                <a:noFill/>
                <a:prstDash val="solid"/>
                <a:round/>
                <a:headEnd/>
                <a:tailEnd/>
              </a:ln>
            </p:spPr>
            <p:txBody>
              <a:bodyPr vert="horz" wrap="square" lIns="51815" tIns="25908" rIns="51815" bIns="25908" numCol="1" anchor="t" anchorCtr="0" compatLnSpc="1">
                <a:prstTxWarp prst="textNoShape">
                  <a:avLst/>
                </a:prstTxWarp>
              </a:bodyPr>
              <a:lstStyle/>
              <a:p>
                <a:pPr defTabSz="518092">
                  <a:defRPr/>
                </a:pPr>
                <a:endParaRPr lang="en-US" sz="1020" kern="0" dirty="0">
                  <a:solidFill>
                    <a:sysClr val="windowText" lastClr="000000"/>
                  </a:solidFill>
                </a:endParaRPr>
              </a:p>
            </p:txBody>
          </p:sp>
        </p:grpSp>
      </p:grpSp>
      <p:grpSp>
        <p:nvGrpSpPr>
          <p:cNvPr id="131" name="Rocket2"/>
          <p:cNvGrpSpPr>
            <a:grpSpLocks noChangeAspect="1"/>
          </p:cNvGrpSpPr>
          <p:nvPr>
            <p:custDataLst>
              <p:tags r:id="rId2"/>
            </p:custDataLst>
          </p:nvPr>
        </p:nvGrpSpPr>
        <p:grpSpPr bwMode="auto">
          <a:xfrm>
            <a:off x="2223864" y="4664146"/>
            <a:ext cx="413939" cy="410203"/>
            <a:chOff x="2506" y="943"/>
            <a:chExt cx="2548" cy="2525"/>
          </a:xfrm>
          <a:solidFill>
            <a:srgbClr val="1F497D"/>
          </a:solidFill>
        </p:grpSpPr>
        <p:sp>
          <p:nvSpPr>
            <p:cNvPr id="132" name="Freeform 619"/>
            <p:cNvSpPr>
              <a:spLocks/>
            </p:cNvSpPr>
            <p:nvPr/>
          </p:nvSpPr>
          <p:spPr bwMode="auto">
            <a:xfrm>
              <a:off x="2510" y="2410"/>
              <a:ext cx="1044" cy="1046"/>
            </a:xfrm>
            <a:custGeom>
              <a:avLst/>
              <a:gdLst>
                <a:gd name="T0" fmla="*/ 263 w 263"/>
                <a:gd name="T1" fmla="*/ 94 h 263"/>
                <a:gd name="T2" fmla="*/ 253 w 263"/>
                <a:gd name="T3" fmla="*/ 94 h 263"/>
                <a:gd name="T4" fmla="*/ 234 w 263"/>
                <a:gd name="T5" fmla="*/ 94 h 263"/>
                <a:gd name="T6" fmla="*/ 151 w 263"/>
                <a:gd name="T7" fmla="*/ 159 h 263"/>
                <a:gd name="T8" fmla="*/ 118 w 263"/>
                <a:gd name="T9" fmla="*/ 178 h 263"/>
                <a:gd name="T10" fmla="*/ 95 w 263"/>
                <a:gd name="T11" fmla="*/ 167 h 263"/>
                <a:gd name="T12" fmla="*/ 85 w 263"/>
                <a:gd name="T13" fmla="*/ 144 h 263"/>
                <a:gd name="T14" fmla="*/ 104 w 263"/>
                <a:gd name="T15" fmla="*/ 112 h 263"/>
                <a:gd name="T16" fmla="*/ 106 w 263"/>
                <a:gd name="T17" fmla="*/ 109 h 263"/>
                <a:gd name="T18" fmla="*/ 169 w 263"/>
                <a:gd name="T19" fmla="*/ 29 h 263"/>
                <a:gd name="T20" fmla="*/ 168 w 263"/>
                <a:gd name="T21" fmla="*/ 0 h 263"/>
                <a:gd name="T22" fmla="*/ 146 w 263"/>
                <a:gd name="T23" fmla="*/ 20 h 263"/>
                <a:gd name="T24" fmla="*/ 11 w 263"/>
                <a:gd name="T25" fmla="*/ 252 h 263"/>
                <a:gd name="T26" fmla="*/ 243 w 263"/>
                <a:gd name="T27" fmla="*/ 117 h 263"/>
                <a:gd name="T28" fmla="*/ 263 w 263"/>
                <a:gd name="T29" fmla="*/ 9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263">
                  <a:moveTo>
                    <a:pt x="263" y="94"/>
                  </a:moveTo>
                  <a:cubicBezTo>
                    <a:pt x="259" y="94"/>
                    <a:pt x="256" y="94"/>
                    <a:pt x="253" y="94"/>
                  </a:cubicBezTo>
                  <a:cubicBezTo>
                    <a:pt x="246" y="94"/>
                    <a:pt x="240" y="94"/>
                    <a:pt x="234" y="94"/>
                  </a:cubicBezTo>
                  <a:lnTo>
                    <a:pt x="151" y="159"/>
                  </a:lnTo>
                  <a:cubicBezTo>
                    <a:pt x="142" y="168"/>
                    <a:pt x="132" y="178"/>
                    <a:pt x="118" y="178"/>
                  </a:cubicBezTo>
                  <a:cubicBezTo>
                    <a:pt x="110" y="178"/>
                    <a:pt x="102" y="174"/>
                    <a:pt x="95" y="167"/>
                  </a:cubicBezTo>
                  <a:cubicBezTo>
                    <a:pt x="88" y="160"/>
                    <a:pt x="85" y="153"/>
                    <a:pt x="85" y="144"/>
                  </a:cubicBezTo>
                  <a:cubicBezTo>
                    <a:pt x="85" y="130"/>
                    <a:pt x="95" y="121"/>
                    <a:pt x="104" y="112"/>
                  </a:cubicBezTo>
                  <a:lnTo>
                    <a:pt x="106" y="109"/>
                  </a:lnTo>
                  <a:lnTo>
                    <a:pt x="169" y="29"/>
                  </a:lnTo>
                  <a:cubicBezTo>
                    <a:pt x="168" y="20"/>
                    <a:pt x="168" y="11"/>
                    <a:pt x="168" y="0"/>
                  </a:cubicBezTo>
                  <a:cubicBezTo>
                    <a:pt x="161" y="6"/>
                    <a:pt x="154" y="12"/>
                    <a:pt x="146" y="20"/>
                  </a:cubicBezTo>
                  <a:cubicBezTo>
                    <a:pt x="62" y="104"/>
                    <a:pt x="0" y="242"/>
                    <a:pt x="11" y="252"/>
                  </a:cubicBezTo>
                  <a:cubicBezTo>
                    <a:pt x="21" y="263"/>
                    <a:pt x="158" y="201"/>
                    <a:pt x="243" y="117"/>
                  </a:cubicBezTo>
                  <a:cubicBezTo>
                    <a:pt x="251" y="109"/>
                    <a:pt x="257" y="102"/>
                    <a:pt x="263" y="94"/>
                  </a:cubicBezTo>
                  <a:close/>
                </a:path>
              </a:pathLst>
            </a:custGeom>
            <a:grpFill/>
            <a:ln w="9525">
              <a:noFill/>
              <a:round/>
              <a:headEnd/>
              <a:tailEnd/>
            </a:ln>
            <a:extLst/>
          </p:spPr>
          <p:txBody>
            <a:bodyPr vert="horz" wrap="square" lIns="69087" tIns="34543" rIns="69087" bIns="34543" numCol="1" anchor="t" anchorCtr="0" compatLnSpc="1">
              <a:prstTxWarp prst="textNoShape">
                <a:avLst/>
              </a:prstTxWarp>
            </a:bodyPr>
            <a:lstStyle/>
            <a:p>
              <a:endParaRPr lang="en-US" sz="1807" dirty="0">
                <a:solidFill>
                  <a:prstClr val="black"/>
                </a:solidFill>
              </a:endParaRPr>
            </a:p>
          </p:txBody>
        </p:sp>
        <p:sp>
          <p:nvSpPr>
            <p:cNvPr id="133" name="Freeform 620"/>
            <p:cNvSpPr>
              <a:spLocks/>
            </p:cNvSpPr>
            <p:nvPr/>
          </p:nvSpPr>
          <p:spPr bwMode="auto">
            <a:xfrm>
              <a:off x="2994" y="2040"/>
              <a:ext cx="941" cy="931"/>
            </a:xfrm>
            <a:custGeom>
              <a:avLst/>
              <a:gdLst>
                <a:gd name="T0" fmla="*/ 0 w 237"/>
                <a:gd name="T1" fmla="*/ 234 h 234"/>
                <a:gd name="T2" fmla="*/ 5 w 237"/>
                <a:gd name="T3" fmla="*/ 228 h 234"/>
                <a:gd name="T4" fmla="*/ 10 w 237"/>
                <a:gd name="T5" fmla="*/ 224 h 234"/>
                <a:gd name="T6" fmla="*/ 221 w 237"/>
                <a:gd name="T7" fmla="*/ 60 h 234"/>
                <a:gd name="T8" fmla="*/ 232 w 237"/>
                <a:gd name="T9" fmla="*/ 1 h 234"/>
                <a:gd name="T10" fmla="*/ 223 w 237"/>
                <a:gd name="T11" fmla="*/ 0 h 234"/>
                <a:gd name="T12" fmla="*/ 174 w 237"/>
                <a:gd name="T13" fmla="*/ 13 h 234"/>
                <a:gd name="T14" fmla="*/ 5 w 237"/>
                <a:gd name="T15" fmla="*/ 228 h 234"/>
                <a:gd name="T16" fmla="*/ 0 w 237"/>
                <a:gd name="T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234">
                  <a:moveTo>
                    <a:pt x="0" y="234"/>
                  </a:moveTo>
                  <a:cubicBezTo>
                    <a:pt x="2" y="232"/>
                    <a:pt x="4" y="230"/>
                    <a:pt x="5" y="228"/>
                  </a:cubicBezTo>
                  <a:lnTo>
                    <a:pt x="10" y="224"/>
                  </a:lnTo>
                  <a:lnTo>
                    <a:pt x="221" y="60"/>
                  </a:lnTo>
                  <a:cubicBezTo>
                    <a:pt x="228" y="51"/>
                    <a:pt x="237" y="13"/>
                    <a:pt x="232" y="1"/>
                  </a:cubicBezTo>
                  <a:cubicBezTo>
                    <a:pt x="231" y="1"/>
                    <a:pt x="228" y="0"/>
                    <a:pt x="223" y="0"/>
                  </a:cubicBezTo>
                  <a:cubicBezTo>
                    <a:pt x="203" y="0"/>
                    <a:pt x="180" y="8"/>
                    <a:pt x="174" y="13"/>
                  </a:cubicBezTo>
                  <a:lnTo>
                    <a:pt x="5" y="228"/>
                  </a:lnTo>
                  <a:cubicBezTo>
                    <a:pt x="4" y="230"/>
                    <a:pt x="2" y="232"/>
                    <a:pt x="0" y="234"/>
                  </a:cubicBezTo>
                  <a:close/>
                </a:path>
              </a:pathLst>
            </a:custGeom>
            <a:grpFill/>
            <a:ln w="9525">
              <a:noFill/>
              <a:round/>
              <a:headEnd/>
              <a:tailEnd/>
            </a:ln>
            <a:extLst/>
          </p:spPr>
          <p:txBody>
            <a:bodyPr vert="horz" wrap="square" lIns="69087" tIns="34543" rIns="69087" bIns="34543" numCol="1" anchor="t" anchorCtr="0" compatLnSpc="1">
              <a:prstTxWarp prst="textNoShape">
                <a:avLst/>
              </a:prstTxWarp>
            </a:bodyPr>
            <a:lstStyle/>
            <a:p>
              <a:endParaRPr lang="en-US" sz="1807" dirty="0">
                <a:solidFill>
                  <a:prstClr val="black"/>
                </a:solidFill>
              </a:endParaRPr>
            </a:p>
          </p:txBody>
        </p:sp>
        <p:sp>
          <p:nvSpPr>
            <p:cNvPr id="183" name="Freeform 621"/>
            <p:cNvSpPr>
              <a:spLocks/>
            </p:cNvSpPr>
            <p:nvPr/>
          </p:nvSpPr>
          <p:spPr bwMode="auto">
            <a:xfrm>
              <a:off x="3359" y="2514"/>
              <a:ext cx="1100" cy="954"/>
            </a:xfrm>
            <a:custGeom>
              <a:avLst/>
              <a:gdLst>
                <a:gd name="T0" fmla="*/ 73 w 277"/>
                <a:gd name="T1" fmla="*/ 67 h 240"/>
                <a:gd name="T2" fmla="*/ 11 w 277"/>
                <a:gd name="T3" fmla="*/ 205 h 240"/>
                <a:gd name="T4" fmla="*/ 55 w 277"/>
                <a:gd name="T5" fmla="*/ 221 h 240"/>
                <a:gd name="T6" fmla="*/ 190 w 277"/>
                <a:gd name="T7" fmla="*/ 147 h 240"/>
                <a:gd name="T8" fmla="*/ 276 w 277"/>
                <a:gd name="T9" fmla="*/ 13 h 240"/>
                <a:gd name="T10" fmla="*/ 275 w 277"/>
                <a:gd name="T11" fmla="*/ 0 h 240"/>
                <a:gd name="T12" fmla="*/ 73 w 277"/>
                <a:gd name="T13" fmla="*/ 67 h 240"/>
              </a:gdLst>
              <a:ahLst/>
              <a:cxnLst>
                <a:cxn ang="0">
                  <a:pos x="T0" y="T1"/>
                </a:cxn>
                <a:cxn ang="0">
                  <a:pos x="T2" y="T3"/>
                </a:cxn>
                <a:cxn ang="0">
                  <a:pos x="T4" y="T5"/>
                </a:cxn>
                <a:cxn ang="0">
                  <a:pos x="T6" y="T7"/>
                </a:cxn>
                <a:cxn ang="0">
                  <a:pos x="T8" y="T9"/>
                </a:cxn>
                <a:cxn ang="0">
                  <a:pos x="T10" y="T11"/>
                </a:cxn>
                <a:cxn ang="0">
                  <a:pos x="T12" y="T13"/>
                </a:cxn>
              </a:cxnLst>
              <a:rect l="0" t="0" r="r" b="b"/>
              <a:pathLst>
                <a:path w="277" h="240">
                  <a:moveTo>
                    <a:pt x="73" y="67"/>
                  </a:moveTo>
                  <a:cubicBezTo>
                    <a:pt x="43" y="128"/>
                    <a:pt x="11" y="205"/>
                    <a:pt x="11" y="205"/>
                  </a:cubicBezTo>
                  <a:cubicBezTo>
                    <a:pt x="0" y="225"/>
                    <a:pt x="17" y="240"/>
                    <a:pt x="55" y="221"/>
                  </a:cubicBezTo>
                  <a:lnTo>
                    <a:pt x="190" y="147"/>
                  </a:lnTo>
                  <a:cubicBezTo>
                    <a:pt x="263" y="106"/>
                    <a:pt x="277" y="96"/>
                    <a:pt x="276" y="13"/>
                  </a:cubicBezTo>
                  <a:lnTo>
                    <a:pt x="275" y="0"/>
                  </a:lnTo>
                  <a:cubicBezTo>
                    <a:pt x="209" y="46"/>
                    <a:pt x="134" y="63"/>
                    <a:pt x="73" y="67"/>
                  </a:cubicBezTo>
                  <a:close/>
                </a:path>
              </a:pathLst>
            </a:custGeom>
            <a:grpFill/>
            <a:ln w="9525">
              <a:noFill/>
              <a:round/>
              <a:headEnd/>
              <a:tailEnd/>
            </a:ln>
            <a:extLst/>
          </p:spPr>
          <p:txBody>
            <a:bodyPr vert="horz" wrap="square" lIns="69087" tIns="34543" rIns="69087" bIns="34543" numCol="1" anchor="t" anchorCtr="0" compatLnSpc="1">
              <a:prstTxWarp prst="textNoShape">
                <a:avLst/>
              </a:prstTxWarp>
            </a:bodyPr>
            <a:lstStyle/>
            <a:p>
              <a:endParaRPr lang="en-US" sz="1807" dirty="0">
                <a:solidFill>
                  <a:prstClr val="black"/>
                </a:solidFill>
              </a:endParaRPr>
            </a:p>
          </p:txBody>
        </p:sp>
        <p:sp>
          <p:nvSpPr>
            <p:cNvPr id="198" name="Freeform 622"/>
            <p:cNvSpPr>
              <a:spLocks/>
            </p:cNvSpPr>
            <p:nvPr/>
          </p:nvSpPr>
          <p:spPr bwMode="auto">
            <a:xfrm>
              <a:off x="2506" y="1511"/>
              <a:ext cx="937" cy="1102"/>
            </a:xfrm>
            <a:custGeom>
              <a:avLst/>
              <a:gdLst>
                <a:gd name="T0" fmla="*/ 35 w 236"/>
                <a:gd name="T1" fmla="*/ 266 h 277"/>
                <a:gd name="T2" fmla="*/ 170 w 236"/>
                <a:gd name="T3" fmla="*/ 206 h 277"/>
                <a:gd name="T4" fmla="*/ 236 w 236"/>
                <a:gd name="T5" fmla="*/ 2 h 277"/>
                <a:gd name="T6" fmla="*/ 227 w 236"/>
                <a:gd name="T7" fmla="*/ 1 h 277"/>
                <a:gd name="T8" fmla="*/ 94 w 236"/>
                <a:gd name="T9" fmla="*/ 87 h 277"/>
                <a:gd name="T10" fmla="*/ 20 w 236"/>
                <a:gd name="T11" fmla="*/ 223 h 277"/>
                <a:gd name="T12" fmla="*/ 35 w 236"/>
                <a:gd name="T13" fmla="*/ 266 h 277"/>
              </a:gdLst>
              <a:ahLst/>
              <a:cxnLst>
                <a:cxn ang="0">
                  <a:pos x="T0" y="T1"/>
                </a:cxn>
                <a:cxn ang="0">
                  <a:pos x="T2" y="T3"/>
                </a:cxn>
                <a:cxn ang="0">
                  <a:pos x="T4" y="T5"/>
                </a:cxn>
                <a:cxn ang="0">
                  <a:pos x="T6" y="T7"/>
                </a:cxn>
                <a:cxn ang="0">
                  <a:pos x="T8" y="T9"/>
                </a:cxn>
                <a:cxn ang="0">
                  <a:pos x="T10" y="T11"/>
                </a:cxn>
                <a:cxn ang="0">
                  <a:pos x="T12" y="T13"/>
                </a:cxn>
              </a:cxnLst>
              <a:rect l="0" t="0" r="r" b="b"/>
              <a:pathLst>
                <a:path w="236" h="277">
                  <a:moveTo>
                    <a:pt x="35" y="266"/>
                  </a:moveTo>
                  <a:cubicBezTo>
                    <a:pt x="35" y="266"/>
                    <a:pt x="109" y="235"/>
                    <a:pt x="170" y="206"/>
                  </a:cubicBezTo>
                  <a:cubicBezTo>
                    <a:pt x="174" y="147"/>
                    <a:pt x="189" y="70"/>
                    <a:pt x="236" y="2"/>
                  </a:cubicBezTo>
                  <a:lnTo>
                    <a:pt x="227" y="1"/>
                  </a:lnTo>
                  <a:cubicBezTo>
                    <a:pt x="145" y="0"/>
                    <a:pt x="134" y="14"/>
                    <a:pt x="94" y="87"/>
                  </a:cubicBezTo>
                  <a:lnTo>
                    <a:pt x="20" y="223"/>
                  </a:lnTo>
                  <a:cubicBezTo>
                    <a:pt x="0" y="260"/>
                    <a:pt x="15" y="277"/>
                    <a:pt x="35" y="266"/>
                  </a:cubicBezTo>
                </a:path>
              </a:pathLst>
            </a:custGeom>
            <a:grpFill/>
            <a:ln w="9525">
              <a:noFill/>
              <a:round/>
              <a:headEnd/>
              <a:tailEnd/>
            </a:ln>
            <a:extLst/>
          </p:spPr>
          <p:txBody>
            <a:bodyPr vert="horz" wrap="square" lIns="69087" tIns="34543" rIns="69087" bIns="34543" numCol="1" anchor="t" anchorCtr="0" compatLnSpc="1">
              <a:prstTxWarp prst="textNoShape">
                <a:avLst/>
              </a:prstTxWarp>
            </a:bodyPr>
            <a:lstStyle/>
            <a:p>
              <a:endParaRPr lang="en-US" sz="1807" dirty="0">
                <a:solidFill>
                  <a:prstClr val="black"/>
                </a:solidFill>
              </a:endParaRPr>
            </a:p>
          </p:txBody>
        </p:sp>
        <p:sp>
          <p:nvSpPr>
            <p:cNvPr id="199" name="Freeform 623"/>
            <p:cNvSpPr>
              <a:spLocks noEditPoints="1"/>
            </p:cNvSpPr>
            <p:nvPr/>
          </p:nvSpPr>
          <p:spPr bwMode="auto">
            <a:xfrm>
              <a:off x="3316" y="943"/>
              <a:ext cx="1738" cy="1706"/>
            </a:xfrm>
            <a:custGeom>
              <a:avLst/>
              <a:gdLst>
                <a:gd name="T0" fmla="*/ 367 w 438"/>
                <a:gd name="T1" fmla="*/ 111 h 429"/>
                <a:gd name="T2" fmla="*/ 320 w 438"/>
                <a:gd name="T3" fmla="*/ 111 h 429"/>
                <a:gd name="T4" fmla="*/ 320 w 438"/>
                <a:gd name="T5" fmla="*/ 64 h 429"/>
                <a:gd name="T6" fmla="*/ 367 w 438"/>
                <a:gd name="T7" fmla="*/ 64 h 429"/>
                <a:gd name="T8" fmla="*/ 367 w 438"/>
                <a:gd name="T9" fmla="*/ 111 h 429"/>
                <a:gd name="T10" fmla="*/ 296 w 438"/>
                <a:gd name="T11" fmla="*/ 229 h 429"/>
                <a:gd name="T12" fmla="*/ 202 w 438"/>
                <a:gd name="T13" fmla="*/ 229 h 429"/>
                <a:gd name="T14" fmla="*/ 202 w 438"/>
                <a:gd name="T15" fmla="*/ 135 h 429"/>
                <a:gd name="T16" fmla="*/ 296 w 438"/>
                <a:gd name="T17" fmla="*/ 135 h 429"/>
                <a:gd name="T18" fmla="*/ 296 w 438"/>
                <a:gd name="T19" fmla="*/ 229 h 429"/>
                <a:gd name="T20" fmla="*/ 383 w 438"/>
                <a:gd name="T21" fmla="*/ 0 h 429"/>
                <a:gd name="T22" fmla="*/ 93 w 438"/>
                <a:gd name="T23" fmla="*/ 124 h 429"/>
                <a:gd name="T24" fmla="*/ 0 w 438"/>
                <a:gd name="T25" fmla="*/ 354 h 429"/>
                <a:gd name="T26" fmla="*/ 69 w 438"/>
                <a:gd name="T27" fmla="*/ 265 h 429"/>
                <a:gd name="T28" fmla="*/ 142 w 438"/>
                <a:gd name="T29" fmla="*/ 243 h 429"/>
                <a:gd name="T30" fmla="*/ 175 w 438"/>
                <a:gd name="T31" fmla="*/ 254 h 429"/>
                <a:gd name="T32" fmla="*/ 163 w 438"/>
                <a:gd name="T33" fmla="*/ 360 h 429"/>
                <a:gd name="T34" fmla="*/ 162 w 438"/>
                <a:gd name="T35" fmla="*/ 361 h 429"/>
                <a:gd name="T36" fmla="*/ 74 w 438"/>
                <a:gd name="T37" fmla="*/ 429 h 429"/>
                <a:gd name="T38" fmla="*/ 304 w 438"/>
                <a:gd name="T39" fmla="*/ 336 h 429"/>
                <a:gd name="T40" fmla="*/ 422 w 438"/>
                <a:gd name="T41" fmla="*/ 6 h 429"/>
                <a:gd name="T42" fmla="*/ 383 w 438"/>
                <a:gd name="T43"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8" h="429">
                  <a:moveTo>
                    <a:pt x="367" y="111"/>
                  </a:moveTo>
                  <a:cubicBezTo>
                    <a:pt x="354" y="124"/>
                    <a:pt x="333" y="124"/>
                    <a:pt x="320" y="111"/>
                  </a:cubicBezTo>
                  <a:cubicBezTo>
                    <a:pt x="307" y="98"/>
                    <a:pt x="307" y="77"/>
                    <a:pt x="320" y="64"/>
                  </a:cubicBezTo>
                  <a:cubicBezTo>
                    <a:pt x="333" y="51"/>
                    <a:pt x="354" y="51"/>
                    <a:pt x="367" y="64"/>
                  </a:cubicBezTo>
                  <a:cubicBezTo>
                    <a:pt x="380" y="77"/>
                    <a:pt x="380" y="98"/>
                    <a:pt x="367" y="111"/>
                  </a:cubicBezTo>
                  <a:close/>
                  <a:moveTo>
                    <a:pt x="296" y="229"/>
                  </a:moveTo>
                  <a:cubicBezTo>
                    <a:pt x="270" y="255"/>
                    <a:pt x="228" y="255"/>
                    <a:pt x="202" y="229"/>
                  </a:cubicBezTo>
                  <a:cubicBezTo>
                    <a:pt x="176" y="203"/>
                    <a:pt x="176" y="161"/>
                    <a:pt x="202" y="135"/>
                  </a:cubicBezTo>
                  <a:cubicBezTo>
                    <a:pt x="228" y="109"/>
                    <a:pt x="270" y="109"/>
                    <a:pt x="296" y="135"/>
                  </a:cubicBezTo>
                  <a:cubicBezTo>
                    <a:pt x="322" y="161"/>
                    <a:pt x="322" y="203"/>
                    <a:pt x="296" y="229"/>
                  </a:cubicBezTo>
                  <a:close/>
                  <a:moveTo>
                    <a:pt x="383" y="0"/>
                  </a:moveTo>
                  <a:cubicBezTo>
                    <a:pt x="303" y="0"/>
                    <a:pt x="178" y="39"/>
                    <a:pt x="93" y="124"/>
                  </a:cubicBezTo>
                  <a:cubicBezTo>
                    <a:pt x="22" y="195"/>
                    <a:pt x="3" y="288"/>
                    <a:pt x="0" y="354"/>
                  </a:cubicBezTo>
                  <a:lnTo>
                    <a:pt x="69" y="265"/>
                  </a:lnTo>
                  <a:cubicBezTo>
                    <a:pt x="82" y="252"/>
                    <a:pt x="117" y="243"/>
                    <a:pt x="142" y="243"/>
                  </a:cubicBezTo>
                  <a:cubicBezTo>
                    <a:pt x="157" y="243"/>
                    <a:pt x="168" y="247"/>
                    <a:pt x="175" y="254"/>
                  </a:cubicBezTo>
                  <a:cubicBezTo>
                    <a:pt x="197" y="276"/>
                    <a:pt x="180" y="343"/>
                    <a:pt x="163" y="360"/>
                  </a:cubicBezTo>
                  <a:lnTo>
                    <a:pt x="162" y="361"/>
                  </a:lnTo>
                  <a:lnTo>
                    <a:pt x="74" y="429"/>
                  </a:lnTo>
                  <a:cubicBezTo>
                    <a:pt x="145" y="426"/>
                    <a:pt x="235" y="405"/>
                    <a:pt x="304" y="336"/>
                  </a:cubicBezTo>
                  <a:cubicBezTo>
                    <a:pt x="431" y="210"/>
                    <a:pt x="438" y="26"/>
                    <a:pt x="422" y="6"/>
                  </a:cubicBezTo>
                  <a:cubicBezTo>
                    <a:pt x="421" y="5"/>
                    <a:pt x="410" y="0"/>
                    <a:pt x="383" y="0"/>
                  </a:cubicBezTo>
                </a:path>
              </a:pathLst>
            </a:custGeom>
            <a:grpFill/>
            <a:ln w="9525">
              <a:noFill/>
              <a:round/>
              <a:headEnd/>
              <a:tailEnd/>
            </a:ln>
            <a:extLst/>
          </p:spPr>
          <p:txBody>
            <a:bodyPr vert="horz" wrap="square" lIns="69087" tIns="34543" rIns="69087" bIns="34543" numCol="1" anchor="t" anchorCtr="0" compatLnSpc="1">
              <a:prstTxWarp prst="textNoShape">
                <a:avLst/>
              </a:prstTxWarp>
            </a:bodyPr>
            <a:lstStyle/>
            <a:p>
              <a:endParaRPr lang="en-US" sz="1807" dirty="0">
                <a:solidFill>
                  <a:prstClr val="black"/>
                </a:solidFill>
              </a:endParaRPr>
            </a:p>
          </p:txBody>
        </p:sp>
      </p:grpSp>
      <p:sp>
        <p:nvSpPr>
          <p:cNvPr id="281" name="Metin kutusu 280"/>
          <p:cNvSpPr txBox="1"/>
          <p:nvPr/>
        </p:nvSpPr>
        <p:spPr>
          <a:xfrm>
            <a:off x="4782078" y="217426"/>
            <a:ext cx="2607677" cy="646331"/>
          </a:xfrm>
          <a:prstGeom prst="rect">
            <a:avLst/>
          </a:prstGeom>
          <a:solidFill>
            <a:schemeClr val="bg1"/>
          </a:solidFill>
        </p:spPr>
        <p:txBody>
          <a:bodyPr wrap="square" rtlCol="0">
            <a:spAutoFit/>
          </a:bodyPr>
          <a:lstStyle/>
          <a:p>
            <a:r>
              <a:rPr lang="tr-TR" sz="3600" b="1" dirty="0" smtClean="0">
                <a:solidFill>
                  <a:srgbClr val="0070C0"/>
                </a:solidFill>
              </a:rPr>
              <a:t>SÜREÇ</a:t>
            </a:r>
            <a:endParaRPr lang="en-GB" sz="3600" b="1" dirty="0">
              <a:solidFill>
                <a:srgbClr val="0070C0"/>
              </a:solidFill>
            </a:endParaRPr>
          </a:p>
        </p:txBody>
      </p:sp>
      <p:sp>
        <p:nvSpPr>
          <p:cNvPr id="3" name="Slayt Numarası Yer Tutucusu 2"/>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35</a:t>
            </a:fld>
            <a:endParaRPr lang="en-CA" dirty="0">
              <a:solidFill>
                <a:prstClr val="black">
                  <a:tint val="75000"/>
                </a:prstClr>
              </a:solidFill>
            </a:endParaRPr>
          </a:p>
        </p:txBody>
      </p:sp>
      <p:grpSp>
        <p:nvGrpSpPr>
          <p:cNvPr id="103" name="Clipboard3"/>
          <p:cNvGrpSpPr>
            <a:grpSpLocks noChangeAspect="1"/>
          </p:cNvGrpSpPr>
          <p:nvPr>
            <p:custDataLst>
              <p:tags r:id="rId3"/>
            </p:custDataLst>
          </p:nvPr>
        </p:nvGrpSpPr>
        <p:grpSpPr bwMode="auto">
          <a:xfrm>
            <a:off x="7822082" y="1364191"/>
            <a:ext cx="307416" cy="410203"/>
            <a:chOff x="63" y="9"/>
            <a:chExt cx="326" cy="435"/>
          </a:xfrm>
          <a:solidFill>
            <a:srgbClr val="1F497D"/>
          </a:solidFill>
        </p:grpSpPr>
        <p:sp>
          <p:nvSpPr>
            <p:cNvPr id="104" name="Clipboard3"/>
            <p:cNvSpPr>
              <a:spLocks noEditPoints="1"/>
            </p:cNvSpPr>
            <p:nvPr>
              <p:custDataLst>
                <p:tags r:id="rId22"/>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0">
              <a:solidFill>
                <a:schemeClr val="accent1"/>
              </a:solidFill>
              <a:prstDash val="solid"/>
              <a:round/>
              <a:headEnd/>
              <a:tailEnd/>
            </a:ln>
          </p:spPr>
          <p:txBody>
            <a:bodyPr vert="horz" wrap="square" lIns="69087" tIns="34543" rIns="69087" bIns="34543" numCol="1" anchor="t" anchorCtr="0" compatLnSpc="1">
              <a:prstTxWarp prst="textNoShape">
                <a:avLst/>
              </a:prstTxWarp>
            </a:bodyPr>
            <a:lstStyle/>
            <a:p>
              <a:endParaRPr lang="fr-FR" sz="1807" dirty="0">
                <a:solidFill>
                  <a:prstClr val="black"/>
                </a:solidFill>
              </a:endParaRPr>
            </a:p>
          </p:txBody>
        </p:sp>
        <p:sp>
          <p:nvSpPr>
            <p:cNvPr id="105" name="Clipboard3"/>
            <p:cNvSpPr>
              <a:spLocks/>
            </p:cNvSpPr>
            <p:nvPr>
              <p:custDataLst>
                <p:tags r:id="rId23"/>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chemeClr val="accent1"/>
              </a:solidFill>
              <a:prstDash val="solid"/>
              <a:round/>
              <a:headEnd/>
              <a:tailEnd/>
            </a:ln>
          </p:spPr>
          <p:txBody>
            <a:bodyPr vert="horz" wrap="square" lIns="69087" tIns="34543" rIns="69087" bIns="34543" numCol="1" anchor="t" anchorCtr="0" compatLnSpc="1">
              <a:prstTxWarp prst="textNoShape">
                <a:avLst/>
              </a:prstTxWarp>
            </a:bodyPr>
            <a:lstStyle/>
            <a:p>
              <a:endParaRPr lang="fr-FR" sz="1807" dirty="0">
                <a:solidFill>
                  <a:prstClr val="black"/>
                </a:solidFill>
              </a:endParaRPr>
            </a:p>
          </p:txBody>
        </p:sp>
        <p:sp>
          <p:nvSpPr>
            <p:cNvPr id="106" name="Clipboard3"/>
            <p:cNvSpPr>
              <a:spLocks/>
            </p:cNvSpPr>
            <p:nvPr>
              <p:custDataLst>
                <p:tags r:id="rId24"/>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chemeClr val="accent1"/>
              </a:solidFill>
              <a:prstDash val="solid"/>
              <a:round/>
              <a:headEnd/>
              <a:tailEnd/>
            </a:ln>
          </p:spPr>
          <p:txBody>
            <a:bodyPr vert="horz" wrap="square" lIns="69087" tIns="34543" rIns="69087" bIns="34543" numCol="1" anchor="t" anchorCtr="0" compatLnSpc="1">
              <a:prstTxWarp prst="textNoShape">
                <a:avLst/>
              </a:prstTxWarp>
            </a:bodyPr>
            <a:lstStyle/>
            <a:p>
              <a:endParaRPr lang="fr-FR" sz="1807" dirty="0">
                <a:solidFill>
                  <a:prstClr val="black"/>
                </a:solidFill>
              </a:endParaRPr>
            </a:p>
          </p:txBody>
        </p:sp>
        <p:sp>
          <p:nvSpPr>
            <p:cNvPr id="107" name="Clipboard3"/>
            <p:cNvSpPr>
              <a:spLocks/>
            </p:cNvSpPr>
            <p:nvPr>
              <p:custDataLst>
                <p:tags r:id="rId25"/>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chemeClr val="accent1"/>
              </a:solidFill>
              <a:prstDash val="solid"/>
              <a:round/>
              <a:headEnd/>
              <a:tailEnd/>
            </a:ln>
          </p:spPr>
          <p:txBody>
            <a:bodyPr vert="horz" wrap="square" lIns="69087" tIns="34543" rIns="69087" bIns="34543" numCol="1" anchor="t" anchorCtr="0" compatLnSpc="1">
              <a:prstTxWarp prst="textNoShape">
                <a:avLst/>
              </a:prstTxWarp>
            </a:bodyPr>
            <a:lstStyle/>
            <a:p>
              <a:endParaRPr lang="fr-FR" sz="1807" dirty="0">
                <a:solidFill>
                  <a:prstClr val="black"/>
                </a:solidFill>
              </a:endParaRPr>
            </a:p>
          </p:txBody>
        </p:sp>
      </p:grpSp>
      <p:sp>
        <p:nvSpPr>
          <p:cNvPr id="108" name="Oval 107"/>
          <p:cNvSpPr>
            <a:spLocks noChangeAspect="1"/>
          </p:cNvSpPr>
          <p:nvPr/>
        </p:nvSpPr>
        <p:spPr>
          <a:xfrm>
            <a:off x="10324751" y="2690399"/>
            <a:ext cx="177616" cy="182316"/>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518092">
              <a:defRPr/>
            </a:pPr>
            <a:endParaRPr lang="en-US" sz="1020" kern="0" dirty="0">
              <a:solidFill>
                <a:sysClr val="windowText" lastClr="000000"/>
              </a:solidFill>
            </a:endParaRPr>
          </a:p>
        </p:txBody>
      </p:sp>
      <p:sp>
        <p:nvSpPr>
          <p:cNvPr id="120" name="TextBox 160"/>
          <p:cNvSpPr txBox="1"/>
          <p:nvPr/>
        </p:nvSpPr>
        <p:spPr>
          <a:xfrm>
            <a:off x="10324751" y="3168068"/>
            <a:ext cx="1842279" cy="646331"/>
          </a:xfrm>
          <a:prstGeom prst="rect">
            <a:avLst/>
          </a:prstGeom>
          <a:noFill/>
        </p:spPr>
        <p:txBody>
          <a:bodyPr wrap="square" rtlCol="0">
            <a:spAutoFit/>
          </a:bodyPr>
          <a:lstStyle/>
          <a:p>
            <a:pPr algn="ctr" defTabSz="518092">
              <a:defRPr/>
            </a:pPr>
            <a:r>
              <a:rPr lang="tr-TR" b="1" kern="0" dirty="0" smtClean="0">
                <a:solidFill>
                  <a:srgbClr val="1F497D"/>
                </a:solidFill>
              </a:rPr>
              <a:t>İşletici Kuruluş Kurulması</a:t>
            </a:r>
            <a:endParaRPr lang="en-US" b="1" kern="0" dirty="0">
              <a:solidFill>
                <a:srgbClr val="1F497D"/>
              </a:solidFill>
            </a:endParaRPr>
          </a:p>
        </p:txBody>
      </p:sp>
      <p:grpSp>
        <p:nvGrpSpPr>
          <p:cNvPr id="121" name="Checklist"/>
          <p:cNvGrpSpPr>
            <a:grpSpLocks noChangeAspect="1"/>
          </p:cNvGrpSpPr>
          <p:nvPr>
            <p:custDataLst>
              <p:tags r:id="rId4"/>
            </p:custDataLst>
          </p:nvPr>
        </p:nvGrpSpPr>
        <p:grpSpPr bwMode="auto">
          <a:xfrm>
            <a:off x="2196060" y="2949693"/>
            <a:ext cx="398298" cy="526739"/>
            <a:chOff x="91" y="47"/>
            <a:chExt cx="307" cy="406"/>
          </a:xfrm>
          <a:solidFill>
            <a:srgbClr val="1F497D"/>
          </a:solidFill>
        </p:grpSpPr>
        <p:sp>
          <p:nvSpPr>
            <p:cNvPr id="123" name="Checklist"/>
            <p:cNvSpPr>
              <a:spLocks/>
            </p:cNvSpPr>
            <p:nvPr>
              <p:custDataLst>
                <p:tags r:id="rId9"/>
              </p:custDataLst>
            </p:nvPr>
          </p:nvSpPr>
          <p:spPr bwMode="auto">
            <a:xfrm>
              <a:off x="136" y="326"/>
              <a:ext cx="76" cy="75"/>
            </a:xfrm>
            <a:custGeom>
              <a:avLst/>
              <a:gdLst>
                <a:gd name="T0" fmla="*/ 174 w 194"/>
                <a:gd name="T1" fmla="*/ 193 h 193"/>
                <a:gd name="T2" fmla="*/ 21 w 194"/>
                <a:gd name="T3" fmla="*/ 193 h 193"/>
                <a:gd name="T4" fmla="*/ 0 w 194"/>
                <a:gd name="T5" fmla="*/ 172 h 193"/>
                <a:gd name="T6" fmla="*/ 0 w 194"/>
                <a:gd name="T7" fmla="*/ 20 h 193"/>
                <a:gd name="T8" fmla="*/ 21 w 194"/>
                <a:gd name="T9" fmla="*/ 0 h 193"/>
                <a:gd name="T10" fmla="*/ 174 w 194"/>
                <a:gd name="T11" fmla="*/ 0 h 193"/>
                <a:gd name="T12" fmla="*/ 194 w 194"/>
                <a:gd name="T13" fmla="*/ 20 h 193"/>
                <a:gd name="T14" fmla="*/ 194 w 194"/>
                <a:gd name="T15" fmla="*/ 172 h 193"/>
                <a:gd name="T16" fmla="*/ 174 w 194"/>
                <a:gd name="T1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3">
                  <a:moveTo>
                    <a:pt x="174" y="193"/>
                  </a:moveTo>
                  <a:lnTo>
                    <a:pt x="21" y="193"/>
                  </a:lnTo>
                  <a:cubicBezTo>
                    <a:pt x="9" y="193"/>
                    <a:pt x="0" y="183"/>
                    <a:pt x="0" y="172"/>
                  </a:cubicBezTo>
                  <a:lnTo>
                    <a:pt x="0" y="20"/>
                  </a:lnTo>
                  <a:cubicBezTo>
                    <a:pt x="0" y="9"/>
                    <a:pt x="9" y="0"/>
                    <a:pt x="21" y="0"/>
                  </a:cubicBezTo>
                  <a:lnTo>
                    <a:pt x="174" y="0"/>
                  </a:lnTo>
                  <a:cubicBezTo>
                    <a:pt x="185" y="0"/>
                    <a:pt x="194" y="9"/>
                    <a:pt x="194" y="20"/>
                  </a:cubicBezTo>
                  <a:lnTo>
                    <a:pt x="194" y="172"/>
                  </a:lnTo>
                  <a:cubicBezTo>
                    <a:pt x="194" y="183"/>
                    <a:pt x="185" y="193"/>
                    <a:pt x="174" y="193"/>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24" name="Checklist"/>
            <p:cNvSpPr>
              <a:spLocks noEditPoints="1"/>
            </p:cNvSpPr>
            <p:nvPr>
              <p:custDataLst>
                <p:tags r:id="rId10"/>
              </p:custDataLst>
            </p:nvPr>
          </p:nvSpPr>
          <p:spPr bwMode="auto">
            <a:xfrm>
              <a:off x="91" y="47"/>
              <a:ext cx="307" cy="406"/>
            </a:xfrm>
            <a:custGeom>
              <a:avLst/>
              <a:gdLst>
                <a:gd name="T0" fmla="*/ 714 w 787"/>
                <a:gd name="T1" fmla="*/ 1038 h 1038"/>
                <a:gd name="T2" fmla="*/ 72 w 787"/>
                <a:gd name="T3" fmla="*/ 1038 h 1038"/>
                <a:gd name="T4" fmla="*/ 0 w 787"/>
                <a:gd name="T5" fmla="*/ 965 h 1038"/>
                <a:gd name="T6" fmla="*/ 0 w 787"/>
                <a:gd name="T7" fmla="*/ 72 h 1038"/>
                <a:gd name="T8" fmla="*/ 72 w 787"/>
                <a:gd name="T9" fmla="*/ 0 h 1038"/>
                <a:gd name="T10" fmla="*/ 714 w 787"/>
                <a:gd name="T11" fmla="*/ 0 h 1038"/>
                <a:gd name="T12" fmla="*/ 787 w 787"/>
                <a:gd name="T13" fmla="*/ 72 h 1038"/>
                <a:gd name="T14" fmla="*/ 787 w 787"/>
                <a:gd name="T15" fmla="*/ 965 h 1038"/>
                <a:gd name="T16" fmla="*/ 714 w 787"/>
                <a:gd name="T17" fmla="*/ 1038 h 1038"/>
                <a:gd name="T18" fmla="*/ 72 w 787"/>
                <a:gd name="T19" fmla="*/ 17 h 1038"/>
                <a:gd name="T20" fmla="*/ 17 w 787"/>
                <a:gd name="T21" fmla="*/ 72 h 1038"/>
                <a:gd name="T22" fmla="*/ 17 w 787"/>
                <a:gd name="T23" fmla="*/ 965 h 1038"/>
                <a:gd name="T24" fmla="*/ 72 w 787"/>
                <a:gd name="T25" fmla="*/ 1020 h 1038"/>
                <a:gd name="T26" fmla="*/ 714 w 787"/>
                <a:gd name="T27" fmla="*/ 1020 h 1038"/>
                <a:gd name="T28" fmla="*/ 770 w 787"/>
                <a:gd name="T29" fmla="*/ 965 h 1038"/>
                <a:gd name="T30" fmla="*/ 770 w 787"/>
                <a:gd name="T31" fmla="*/ 72 h 1038"/>
                <a:gd name="T32" fmla="*/ 714 w 787"/>
                <a:gd name="T33" fmla="*/ 17 h 1038"/>
                <a:gd name="T34" fmla="*/ 72 w 787"/>
                <a:gd name="T35" fmla="*/ 17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7" h="1038">
                  <a:moveTo>
                    <a:pt x="714" y="1038"/>
                  </a:moveTo>
                  <a:lnTo>
                    <a:pt x="72" y="1038"/>
                  </a:lnTo>
                  <a:cubicBezTo>
                    <a:pt x="32" y="1038"/>
                    <a:pt x="0" y="1005"/>
                    <a:pt x="0" y="965"/>
                  </a:cubicBezTo>
                  <a:lnTo>
                    <a:pt x="0" y="72"/>
                  </a:lnTo>
                  <a:cubicBezTo>
                    <a:pt x="0" y="32"/>
                    <a:pt x="32" y="0"/>
                    <a:pt x="72" y="0"/>
                  </a:cubicBezTo>
                  <a:lnTo>
                    <a:pt x="714" y="0"/>
                  </a:lnTo>
                  <a:cubicBezTo>
                    <a:pt x="754" y="0"/>
                    <a:pt x="787" y="32"/>
                    <a:pt x="787" y="72"/>
                  </a:cubicBezTo>
                  <a:lnTo>
                    <a:pt x="787" y="965"/>
                  </a:lnTo>
                  <a:cubicBezTo>
                    <a:pt x="787" y="1005"/>
                    <a:pt x="754" y="1038"/>
                    <a:pt x="714" y="1038"/>
                  </a:cubicBezTo>
                  <a:close/>
                  <a:moveTo>
                    <a:pt x="72" y="17"/>
                  </a:moveTo>
                  <a:cubicBezTo>
                    <a:pt x="41" y="17"/>
                    <a:pt x="17" y="42"/>
                    <a:pt x="17" y="72"/>
                  </a:cubicBezTo>
                  <a:lnTo>
                    <a:pt x="17" y="965"/>
                  </a:lnTo>
                  <a:cubicBezTo>
                    <a:pt x="17" y="996"/>
                    <a:pt x="41" y="1020"/>
                    <a:pt x="72" y="1020"/>
                  </a:cubicBezTo>
                  <a:lnTo>
                    <a:pt x="714" y="1020"/>
                  </a:lnTo>
                  <a:cubicBezTo>
                    <a:pt x="745" y="1020"/>
                    <a:pt x="770" y="996"/>
                    <a:pt x="770" y="965"/>
                  </a:cubicBezTo>
                  <a:lnTo>
                    <a:pt x="770" y="72"/>
                  </a:lnTo>
                  <a:cubicBezTo>
                    <a:pt x="770" y="42"/>
                    <a:pt x="745" y="17"/>
                    <a:pt x="714" y="17"/>
                  </a:cubicBezTo>
                  <a:lnTo>
                    <a:pt x="72" y="17"/>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25" name="Checklist"/>
            <p:cNvSpPr>
              <a:spLocks/>
            </p:cNvSpPr>
            <p:nvPr>
              <p:custDataLst>
                <p:tags r:id="rId11"/>
              </p:custDataLst>
            </p:nvPr>
          </p:nvSpPr>
          <p:spPr bwMode="auto">
            <a:xfrm>
              <a:off x="136" y="99"/>
              <a:ext cx="76" cy="76"/>
            </a:xfrm>
            <a:custGeom>
              <a:avLst/>
              <a:gdLst>
                <a:gd name="T0" fmla="*/ 174 w 194"/>
                <a:gd name="T1" fmla="*/ 194 h 194"/>
                <a:gd name="T2" fmla="*/ 21 w 194"/>
                <a:gd name="T3" fmla="*/ 194 h 194"/>
                <a:gd name="T4" fmla="*/ 0 w 194"/>
                <a:gd name="T5" fmla="*/ 173 h 194"/>
                <a:gd name="T6" fmla="*/ 0 w 194"/>
                <a:gd name="T7" fmla="*/ 20 h 194"/>
                <a:gd name="T8" fmla="*/ 21 w 194"/>
                <a:gd name="T9" fmla="*/ 0 h 194"/>
                <a:gd name="T10" fmla="*/ 174 w 194"/>
                <a:gd name="T11" fmla="*/ 0 h 194"/>
                <a:gd name="T12" fmla="*/ 194 w 194"/>
                <a:gd name="T13" fmla="*/ 20 h 194"/>
                <a:gd name="T14" fmla="*/ 194 w 194"/>
                <a:gd name="T15" fmla="*/ 172 h 194"/>
                <a:gd name="T16" fmla="*/ 174 w 194"/>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174" y="194"/>
                  </a:moveTo>
                  <a:lnTo>
                    <a:pt x="21" y="194"/>
                  </a:lnTo>
                  <a:cubicBezTo>
                    <a:pt x="9" y="194"/>
                    <a:pt x="0" y="184"/>
                    <a:pt x="0" y="173"/>
                  </a:cubicBezTo>
                  <a:lnTo>
                    <a:pt x="0" y="20"/>
                  </a:lnTo>
                  <a:cubicBezTo>
                    <a:pt x="0" y="9"/>
                    <a:pt x="9" y="0"/>
                    <a:pt x="21" y="0"/>
                  </a:cubicBezTo>
                  <a:lnTo>
                    <a:pt x="174" y="0"/>
                  </a:lnTo>
                  <a:cubicBezTo>
                    <a:pt x="185" y="0"/>
                    <a:pt x="194" y="9"/>
                    <a:pt x="194" y="20"/>
                  </a:cubicBezTo>
                  <a:lnTo>
                    <a:pt x="194" y="172"/>
                  </a:lnTo>
                  <a:cubicBezTo>
                    <a:pt x="194" y="184"/>
                    <a:pt x="185" y="194"/>
                    <a:pt x="174" y="194"/>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26" name="Checklist"/>
            <p:cNvSpPr>
              <a:spLocks noEditPoints="1"/>
            </p:cNvSpPr>
            <p:nvPr>
              <p:custDataLst>
                <p:tags r:id="rId12"/>
              </p:custDataLst>
            </p:nvPr>
          </p:nvSpPr>
          <p:spPr bwMode="auto">
            <a:xfrm>
              <a:off x="132" y="95"/>
              <a:ext cx="83" cy="83"/>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1 h 211"/>
                <a:gd name="T16" fmla="*/ 183 w 212"/>
                <a:gd name="T17" fmla="*/ 211 h 211"/>
                <a:gd name="T18" fmla="*/ 30 w 212"/>
                <a:gd name="T19" fmla="*/ 17 h 211"/>
                <a:gd name="T20" fmla="*/ 18 w 212"/>
                <a:gd name="T21" fmla="*/ 29 h 211"/>
                <a:gd name="T22" fmla="*/ 18 w 212"/>
                <a:gd name="T23" fmla="*/ 181 h 211"/>
                <a:gd name="T24" fmla="*/ 30 w 212"/>
                <a:gd name="T25" fmla="*/ 193 h 211"/>
                <a:gd name="T26" fmla="*/ 183 w 212"/>
                <a:gd name="T27" fmla="*/ 193 h 211"/>
                <a:gd name="T28" fmla="*/ 195 w 212"/>
                <a:gd name="T29" fmla="*/ 181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1"/>
                  </a:lnTo>
                  <a:cubicBezTo>
                    <a:pt x="212" y="198"/>
                    <a:pt x="199" y="211"/>
                    <a:pt x="183" y="211"/>
                  </a:cubicBezTo>
                  <a:close/>
                  <a:moveTo>
                    <a:pt x="30" y="17"/>
                  </a:moveTo>
                  <a:cubicBezTo>
                    <a:pt x="23" y="17"/>
                    <a:pt x="18" y="22"/>
                    <a:pt x="18" y="29"/>
                  </a:cubicBezTo>
                  <a:lnTo>
                    <a:pt x="18" y="181"/>
                  </a:lnTo>
                  <a:cubicBezTo>
                    <a:pt x="18" y="188"/>
                    <a:pt x="23" y="193"/>
                    <a:pt x="30" y="193"/>
                  </a:cubicBezTo>
                  <a:lnTo>
                    <a:pt x="183" y="193"/>
                  </a:lnTo>
                  <a:cubicBezTo>
                    <a:pt x="190" y="193"/>
                    <a:pt x="195" y="188"/>
                    <a:pt x="195" y="181"/>
                  </a:cubicBezTo>
                  <a:lnTo>
                    <a:pt x="195" y="29"/>
                  </a:lnTo>
                  <a:cubicBezTo>
                    <a:pt x="195" y="22"/>
                    <a:pt x="190" y="17"/>
                    <a:pt x="183" y="17"/>
                  </a:cubicBezTo>
                  <a:lnTo>
                    <a:pt x="30" y="17"/>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27" name="Checklist"/>
            <p:cNvSpPr>
              <a:spLocks/>
            </p:cNvSpPr>
            <p:nvPr>
              <p:custDataLst>
                <p:tags r:id="rId13"/>
              </p:custDataLst>
            </p:nvPr>
          </p:nvSpPr>
          <p:spPr bwMode="auto">
            <a:xfrm>
              <a:off x="136" y="212"/>
              <a:ext cx="76" cy="76"/>
            </a:xfrm>
            <a:custGeom>
              <a:avLst/>
              <a:gdLst>
                <a:gd name="T0" fmla="*/ 174 w 194"/>
                <a:gd name="T1" fmla="*/ 194 h 194"/>
                <a:gd name="T2" fmla="*/ 21 w 194"/>
                <a:gd name="T3" fmla="*/ 194 h 194"/>
                <a:gd name="T4" fmla="*/ 0 w 194"/>
                <a:gd name="T5" fmla="*/ 173 h 194"/>
                <a:gd name="T6" fmla="*/ 0 w 194"/>
                <a:gd name="T7" fmla="*/ 20 h 194"/>
                <a:gd name="T8" fmla="*/ 21 w 194"/>
                <a:gd name="T9" fmla="*/ 0 h 194"/>
                <a:gd name="T10" fmla="*/ 174 w 194"/>
                <a:gd name="T11" fmla="*/ 0 h 194"/>
                <a:gd name="T12" fmla="*/ 194 w 194"/>
                <a:gd name="T13" fmla="*/ 20 h 194"/>
                <a:gd name="T14" fmla="*/ 194 w 194"/>
                <a:gd name="T15" fmla="*/ 173 h 194"/>
                <a:gd name="T16" fmla="*/ 174 w 194"/>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94">
                  <a:moveTo>
                    <a:pt x="174" y="194"/>
                  </a:moveTo>
                  <a:lnTo>
                    <a:pt x="21" y="194"/>
                  </a:lnTo>
                  <a:cubicBezTo>
                    <a:pt x="9" y="194"/>
                    <a:pt x="0" y="184"/>
                    <a:pt x="0" y="173"/>
                  </a:cubicBezTo>
                  <a:lnTo>
                    <a:pt x="0" y="20"/>
                  </a:lnTo>
                  <a:cubicBezTo>
                    <a:pt x="0" y="9"/>
                    <a:pt x="9" y="0"/>
                    <a:pt x="21" y="0"/>
                  </a:cubicBezTo>
                  <a:lnTo>
                    <a:pt x="174" y="0"/>
                  </a:lnTo>
                  <a:cubicBezTo>
                    <a:pt x="185" y="0"/>
                    <a:pt x="194" y="9"/>
                    <a:pt x="194" y="20"/>
                  </a:cubicBezTo>
                  <a:lnTo>
                    <a:pt x="194" y="173"/>
                  </a:lnTo>
                  <a:cubicBezTo>
                    <a:pt x="194" y="184"/>
                    <a:pt x="185" y="194"/>
                    <a:pt x="174" y="194"/>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28" name="Checklist"/>
            <p:cNvSpPr>
              <a:spLocks noEditPoints="1"/>
            </p:cNvSpPr>
            <p:nvPr>
              <p:custDataLst>
                <p:tags r:id="rId14"/>
              </p:custDataLst>
            </p:nvPr>
          </p:nvSpPr>
          <p:spPr bwMode="auto">
            <a:xfrm>
              <a:off x="132" y="209"/>
              <a:ext cx="83" cy="82"/>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2 h 211"/>
                <a:gd name="T16" fmla="*/ 183 w 212"/>
                <a:gd name="T17" fmla="*/ 211 h 211"/>
                <a:gd name="T18" fmla="*/ 30 w 212"/>
                <a:gd name="T19" fmla="*/ 17 h 211"/>
                <a:gd name="T20" fmla="*/ 18 w 212"/>
                <a:gd name="T21" fmla="*/ 29 h 211"/>
                <a:gd name="T22" fmla="*/ 18 w 212"/>
                <a:gd name="T23" fmla="*/ 182 h 211"/>
                <a:gd name="T24" fmla="*/ 30 w 212"/>
                <a:gd name="T25" fmla="*/ 194 h 211"/>
                <a:gd name="T26" fmla="*/ 183 w 212"/>
                <a:gd name="T27" fmla="*/ 194 h 211"/>
                <a:gd name="T28" fmla="*/ 195 w 212"/>
                <a:gd name="T29" fmla="*/ 182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2"/>
                  </a:lnTo>
                  <a:cubicBezTo>
                    <a:pt x="212" y="198"/>
                    <a:pt x="199" y="211"/>
                    <a:pt x="183" y="211"/>
                  </a:cubicBezTo>
                  <a:close/>
                  <a:moveTo>
                    <a:pt x="30" y="17"/>
                  </a:moveTo>
                  <a:cubicBezTo>
                    <a:pt x="23" y="17"/>
                    <a:pt x="18" y="22"/>
                    <a:pt x="18" y="29"/>
                  </a:cubicBezTo>
                  <a:lnTo>
                    <a:pt x="18" y="182"/>
                  </a:lnTo>
                  <a:cubicBezTo>
                    <a:pt x="18" y="189"/>
                    <a:pt x="23" y="194"/>
                    <a:pt x="30" y="194"/>
                  </a:cubicBezTo>
                  <a:lnTo>
                    <a:pt x="183" y="194"/>
                  </a:lnTo>
                  <a:cubicBezTo>
                    <a:pt x="190" y="194"/>
                    <a:pt x="195" y="189"/>
                    <a:pt x="195" y="182"/>
                  </a:cubicBezTo>
                  <a:lnTo>
                    <a:pt x="195" y="29"/>
                  </a:lnTo>
                  <a:cubicBezTo>
                    <a:pt x="195" y="22"/>
                    <a:pt x="190" y="17"/>
                    <a:pt x="183" y="17"/>
                  </a:cubicBezTo>
                  <a:lnTo>
                    <a:pt x="30" y="17"/>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29" name="Checklist"/>
            <p:cNvSpPr>
              <a:spLocks noEditPoints="1"/>
            </p:cNvSpPr>
            <p:nvPr>
              <p:custDataLst>
                <p:tags r:id="rId15"/>
              </p:custDataLst>
            </p:nvPr>
          </p:nvSpPr>
          <p:spPr bwMode="auto">
            <a:xfrm>
              <a:off x="132" y="322"/>
              <a:ext cx="83" cy="82"/>
            </a:xfrm>
            <a:custGeom>
              <a:avLst/>
              <a:gdLst>
                <a:gd name="T0" fmla="*/ 183 w 212"/>
                <a:gd name="T1" fmla="*/ 210 h 210"/>
                <a:gd name="T2" fmla="*/ 30 w 212"/>
                <a:gd name="T3" fmla="*/ 210 h 210"/>
                <a:gd name="T4" fmla="*/ 0 w 212"/>
                <a:gd name="T5" fmla="*/ 181 h 210"/>
                <a:gd name="T6" fmla="*/ 0 w 212"/>
                <a:gd name="T7" fmla="*/ 29 h 210"/>
                <a:gd name="T8" fmla="*/ 30 w 212"/>
                <a:gd name="T9" fmla="*/ 0 h 210"/>
                <a:gd name="T10" fmla="*/ 183 w 212"/>
                <a:gd name="T11" fmla="*/ 0 h 210"/>
                <a:gd name="T12" fmla="*/ 212 w 212"/>
                <a:gd name="T13" fmla="*/ 29 h 210"/>
                <a:gd name="T14" fmla="*/ 212 w 212"/>
                <a:gd name="T15" fmla="*/ 181 h 210"/>
                <a:gd name="T16" fmla="*/ 183 w 212"/>
                <a:gd name="T17" fmla="*/ 210 h 210"/>
                <a:gd name="T18" fmla="*/ 30 w 212"/>
                <a:gd name="T19" fmla="*/ 16 h 210"/>
                <a:gd name="T20" fmla="*/ 18 w 212"/>
                <a:gd name="T21" fmla="*/ 28 h 210"/>
                <a:gd name="T22" fmla="*/ 18 w 212"/>
                <a:gd name="T23" fmla="*/ 180 h 210"/>
                <a:gd name="T24" fmla="*/ 30 w 212"/>
                <a:gd name="T25" fmla="*/ 192 h 210"/>
                <a:gd name="T26" fmla="*/ 183 w 212"/>
                <a:gd name="T27" fmla="*/ 192 h 210"/>
                <a:gd name="T28" fmla="*/ 195 w 212"/>
                <a:gd name="T29" fmla="*/ 180 h 210"/>
                <a:gd name="T30" fmla="*/ 195 w 212"/>
                <a:gd name="T31" fmla="*/ 29 h 210"/>
                <a:gd name="T32" fmla="*/ 183 w 212"/>
                <a:gd name="T33" fmla="*/ 17 h 210"/>
                <a:gd name="T34" fmla="*/ 30 w 212"/>
                <a:gd name="T35" fmla="*/ 17 h 210"/>
                <a:gd name="T36" fmla="*/ 30 w 212"/>
                <a:gd name="T37" fmla="*/ 1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 h="210">
                  <a:moveTo>
                    <a:pt x="183" y="210"/>
                  </a:moveTo>
                  <a:lnTo>
                    <a:pt x="30" y="210"/>
                  </a:lnTo>
                  <a:cubicBezTo>
                    <a:pt x="13" y="210"/>
                    <a:pt x="0" y="197"/>
                    <a:pt x="0" y="181"/>
                  </a:cubicBezTo>
                  <a:lnTo>
                    <a:pt x="0" y="29"/>
                  </a:lnTo>
                  <a:cubicBezTo>
                    <a:pt x="0" y="13"/>
                    <a:pt x="13" y="0"/>
                    <a:pt x="30" y="0"/>
                  </a:cubicBezTo>
                  <a:lnTo>
                    <a:pt x="183" y="0"/>
                  </a:lnTo>
                  <a:cubicBezTo>
                    <a:pt x="199" y="0"/>
                    <a:pt x="212" y="13"/>
                    <a:pt x="212" y="29"/>
                  </a:cubicBezTo>
                  <a:lnTo>
                    <a:pt x="212" y="181"/>
                  </a:lnTo>
                  <a:cubicBezTo>
                    <a:pt x="212" y="197"/>
                    <a:pt x="199" y="210"/>
                    <a:pt x="183" y="210"/>
                  </a:cubicBezTo>
                  <a:close/>
                  <a:moveTo>
                    <a:pt x="30" y="16"/>
                  </a:moveTo>
                  <a:cubicBezTo>
                    <a:pt x="23" y="16"/>
                    <a:pt x="18" y="21"/>
                    <a:pt x="18" y="28"/>
                  </a:cubicBezTo>
                  <a:lnTo>
                    <a:pt x="18" y="180"/>
                  </a:lnTo>
                  <a:cubicBezTo>
                    <a:pt x="18" y="187"/>
                    <a:pt x="23" y="192"/>
                    <a:pt x="30" y="192"/>
                  </a:cubicBezTo>
                  <a:lnTo>
                    <a:pt x="183" y="192"/>
                  </a:lnTo>
                  <a:cubicBezTo>
                    <a:pt x="190" y="192"/>
                    <a:pt x="195" y="187"/>
                    <a:pt x="195" y="180"/>
                  </a:cubicBezTo>
                  <a:lnTo>
                    <a:pt x="195" y="29"/>
                  </a:lnTo>
                  <a:cubicBezTo>
                    <a:pt x="195" y="22"/>
                    <a:pt x="190" y="17"/>
                    <a:pt x="183" y="17"/>
                  </a:cubicBezTo>
                  <a:lnTo>
                    <a:pt x="30" y="17"/>
                  </a:lnTo>
                  <a:lnTo>
                    <a:pt x="30" y="1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30" name="Checklist"/>
            <p:cNvSpPr>
              <a:spLocks noEditPoints="1"/>
            </p:cNvSpPr>
            <p:nvPr>
              <p:custDataLst>
                <p:tags r:id="rId16"/>
              </p:custDataLst>
            </p:nvPr>
          </p:nvSpPr>
          <p:spPr bwMode="auto">
            <a:xfrm>
              <a:off x="132" y="95"/>
              <a:ext cx="83" cy="83"/>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1 h 211"/>
                <a:gd name="T16" fmla="*/ 183 w 212"/>
                <a:gd name="T17" fmla="*/ 211 h 211"/>
                <a:gd name="T18" fmla="*/ 30 w 212"/>
                <a:gd name="T19" fmla="*/ 17 h 211"/>
                <a:gd name="T20" fmla="*/ 18 w 212"/>
                <a:gd name="T21" fmla="*/ 29 h 211"/>
                <a:gd name="T22" fmla="*/ 18 w 212"/>
                <a:gd name="T23" fmla="*/ 181 h 211"/>
                <a:gd name="T24" fmla="*/ 30 w 212"/>
                <a:gd name="T25" fmla="*/ 193 h 211"/>
                <a:gd name="T26" fmla="*/ 183 w 212"/>
                <a:gd name="T27" fmla="*/ 193 h 211"/>
                <a:gd name="T28" fmla="*/ 195 w 212"/>
                <a:gd name="T29" fmla="*/ 181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1"/>
                  </a:lnTo>
                  <a:cubicBezTo>
                    <a:pt x="212" y="198"/>
                    <a:pt x="199" y="211"/>
                    <a:pt x="183" y="211"/>
                  </a:cubicBezTo>
                  <a:close/>
                  <a:moveTo>
                    <a:pt x="30" y="17"/>
                  </a:moveTo>
                  <a:cubicBezTo>
                    <a:pt x="23" y="17"/>
                    <a:pt x="18" y="22"/>
                    <a:pt x="18" y="29"/>
                  </a:cubicBezTo>
                  <a:lnTo>
                    <a:pt x="18" y="181"/>
                  </a:lnTo>
                  <a:cubicBezTo>
                    <a:pt x="18" y="188"/>
                    <a:pt x="23" y="193"/>
                    <a:pt x="30" y="193"/>
                  </a:cubicBezTo>
                  <a:lnTo>
                    <a:pt x="183" y="193"/>
                  </a:lnTo>
                  <a:cubicBezTo>
                    <a:pt x="190" y="193"/>
                    <a:pt x="195" y="188"/>
                    <a:pt x="195" y="181"/>
                  </a:cubicBezTo>
                  <a:lnTo>
                    <a:pt x="195" y="29"/>
                  </a:lnTo>
                  <a:cubicBezTo>
                    <a:pt x="195" y="22"/>
                    <a:pt x="190" y="17"/>
                    <a:pt x="183" y="17"/>
                  </a:cubicBezTo>
                  <a:lnTo>
                    <a:pt x="30" y="17"/>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63" name="Checklist"/>
            <p:cNvSpPr>
              <a:spLocks noEditPoints="1"/>
            </p:cNvSpPr>
            <p:nvPr>
              <p:custDataLst>
                <p:tags r:id="rId17"/>
              </p:custDataLst>
            </p:nvPr>
          </p:nvSpPr>
          <p:spPr bwMode="auto">
            <a:xfrm>
              <a:off x="132" y="209"/>
              <a:ext cx="83" cy="82"/>
            </a:xfrm>
            <a:custGeom>
              <a:avLst/>
              <a:gdLst>
                <a:gd name="T0" fmla="*/ 183 w 212"/>
                <a:gd name="T1" fmla="*/ 211 h 211"/>
                <a:gd name="T2" fmla="*/ 30 w 212"/>
                <a:gd name="T3" fmla="*/ 211 h 211"/>
                <a:gd name="T4" fmla="*/ 0 w 212"/>
                <a:gd name="T5" fmla="*/ 182 h 211"/>
                <a:gd name="T6" fmla="*/ 0 w 212"/>
                <a:gd name="T7" fmla="*/ 29 h 211"/>
                <a:gd name="T8" fmla="*/ 30 w 212"/>
                <a:gd name="T9" fmla="*/ 0 h 211"/>
                <a:gd name="T10" fmla="*/ 183 w 212"/>
                <a:gd name="T11" fmla="*/ 0 h 211"/>
                <a:gd name="T12" fmla="*/ 212 w 212"/>
                <a:gd name="T13" fmla="*/ 29 h 211"/>
                <a:gd name="T14" fmla="*/ 212 w 212"/>
                <a:gd name="T15" fmla="*/ 182 h 211"/>
                <a:gd name="T16" fmla="*/ 183 w 212"/>
                <a:gd name="T17" fmla="*/ 211 h 211"/>
                <a:gd name="T18" fmla="*/ 30 w 212"/>
                <a:gd name="T19" fmla="*/ 17 h 211"/>
                <a:gd name="T20" fmla="*/ 18 w 212"/>
                <a:gd name="T21" fmla="*/ 29 h 211"/>
                <a:gd name="T22" fmla="*/ 18 w 212"/>
                <a:gd name="T23" fmla="*/ 182 h 211"/>
                <a:gd name="T24" fmla="*/ 30 w 212"/>
                <a:gd name="T25" fmla="*/ 194 h 211"/>
                <a:gd name="T26" fmla="*/ 183 w 212"/>
                <a:gd name="T27" fmla="*/ 194 h 211"/>
                <a:gd name="T28" fmla="*/ 195 w 212"/>
                <a:gd name="T29" fmla="*/ 182 h 211"/>
                <a:gd name="T30" fmla="*/ 195 w 212"/>
                <a:gd name="T31" fmla="*/ 29 h 211"/>
                <a:gd name="T32" fmla="*/ 183 w 212"/>
                <a:gd name="T33" fmla="*/ 17 h 211"/>
                <a:gd name="T34" fmla="*/ 30 w 212"/>
                <a:gd name="T35"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11">
                  <a:moveTo>
                    <a:pt x="183" y="211"/>
                  </a:moveTo>
                  <a:lnTo>
                    <a:pt x="30" y="211"/>
                  </a:lnTo>
                  <a:cubicBezTo>
                    <a:pt x="13" y="211"/>
                    <a:pt x="0" y="198"/>
                    <a:pt x="0" y="182"/>
                  </a:cubicBezTo>
                  <a:lnTo>
                    <a:pt x="0" y="29"/>
                  </a:lnTo>
                  <a:cubicBezTo>
                    <a:pt x="0" y="13"/>
                    <a:pt x="13" y="0"/>
                    <a:pt x="30" y="0"/>
                  </a:cubicBezTo>
                  <a:lnTo>
                    <a:pt x="183" y="0"/>
                  </a:lnTo>
                  <a:cubicBezTo>
                    <a:pt x="199" y="0"/>
                    <a:pt x="212" y="13"/>
                    <a:pt x="212" y="29"/>
                  </a:cubicBezTo>
                  <a:lnTo>
                    <a:pt x="212" y="182"/>
                  </a:lnTo>
                  <a:cubicBezTo>
                    <a:pt x="212" y="198"/>
                    <a:pt x="199" y="211"/>
                    <a:pt x="183" y="211"/>
                  </a:cubicBezTo>
                  <a:close/>
                  <a:moveTo>
                    <a:pt x="30" y="17"/>
                  </a:moveTo>
                  <a:cubicBezTo>
                    <a:pt x="23" y="17"/>
                    <a:pt x="18" y="22"/>
                    <a:pt x="18" y="29"/>
                  </a:cubicBezTo>
                  <a:lnTo>
                    <a:pt x="18" y="182"/>
                  </a:lnTo>
                  <a:cubicBezTo>
                    <a:pt x="18" y="189"/>
                    <a:pt x="23" y="194"/>
                    <a:pt x="30" y="194"/>
                  </a:cubicBezTo>
                  <a:lnTo>
                    <a:pt x="183" y="194"/>
                  </a:lnTo>
                  <a:cubicBezTo>
                    <a:pt x="190" y="194"/>
                    <a:pt x="195" y="189"/>
                    <a:pt x="195" y="182"/>
                  </a:cubicBezTo>
                  <a:lnTo>
                    <a:pt x="195" y="29"/>
                  </a:lnTo>
                  <a:cubicBezTo>
                    <a:pt x="195" y="22"/>
                    <a:pt x="190" y="17"/>
                    <a:pt x="183" y="17"/>
                  </a:cubicBezTo>
                  <a:lnTo>
                    <a:pt x="30" y="17"/>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64" name="Checklist"/>
            <p:cNvSpPr>
              <a:spLocks noEditPoints="1"/>
            </p:cNvSpPr>
            <p:nvPr>
              <p:custDataLst>
                <p:tags r:id="rId18"/>
              </p:custDataLst>
            </p:nvPr>
          </p:nvSpPr>
          <p:spPr bwMode="auto">
            <a:xfrm>
              <a:off x="132" y="322"/>
              <a:ext cx="83" cy="82"/>
            </a:xfrm>
            <a:custGeom>
              <a:avLst/>
              <a:gdLst>
                <a:gd name="T0" fmla="*/ 183 w 212"/>
                <a:gd name="T1" fmla="*/ 210 h 210"/>
                <a:gd name="T2" fmla="*/ 30 w 212"/>
                <a:gd name="T3" fmla="*/ 210 h 210"/>
                <a:gd name="T4" fmla="*/ 0 w 212"/>
                <a:gd name="T5" fmla="*/ 181 h 210"/>
                <a:gd name="T6" fmla="*/ 0 w 212"/>
                <a:gd name="T7" fmla="*/ 29 h 210"/>
                <a:gd name="T8" fmla="*/ 30 w 212"/>
                <a:gd name="T9" fmla="*/ 0 h 210"/>
                <a:gd name="T10" fmla="*/ 183 w 212"/>
                <a:gd name="T11" fmla="*/ 0 h 210"/>
                <a:gd name="T12" fmla="*/ 212 w 212"/>
                <a:gd name="T13" fmla="*/ 29 h 210"/>
                <a:gd name="T14" fmla="*/ 212 w 212"/>
                <a:gd name="T15" fmla="*/ 181 h 210"/>
                <a:gd name="T16" fmla="*/ 183 w 212"/>
                <a:gd name="T17" fmla="*/ 210 h 210"/>
                <a:gd name="T18" fmla="*/ 30 w 212"/>
                <a:gd name="T19" fmla="*/ 16 h 210"/>
                <a:gd name="T20" fmla="*/ 18 w 212"/>
                <a:gd name="T21" fmla="*/ 28 h 210"/>
                <a:gd name="T22" fmla="*/ 18 w 212"/>
                <a:gd name="T23" fmla="*/ 180 h 210"/>
                <a:gd name="T24" fmla="*/ 30 w 212"/>
                <a:gd name="T25" fmla="*/ 192 h 210"/>
                <a:gd name="T26" fmla="*/ 183 w 212"/>
                <a:gd name="T27" fmla="*/ 192 h 210"/>
                <a:gd name="T28" fmla="*/ 195 w 212"/>
                <a:gd name="T29" fmla="*/ 180 h 210"/>
                <a:gd name="T30" fmla="*/ 195 w 212"/>
                <a:gd name="T31" fmla="*/ 29 h 210"/>
                <a:gd name="T32" fmla="*/ 183 w 212"/>
                <a:gd name="T33" fmla="*/ 17 h 210"/>
                <a:gd name="T34" fmla="*/ 30 w 212"/>
                <a:gd name="T35" fmla="*/ 17 h 210"/>
                <a:gd name="T36" fmla="*/ 30 w 212"/>
                <a:gd name="T37" fmla="*/ 1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 h="210">
                  <a:moveTo>
                    <a:pt x="183" y="210"/>
                  </a:moveTo>
                  <a:lnTo>
                    <a:pt x="30" y="210"/>
                  </a:lnTo>
                  <a:cubicBezTo>
                    <a:pt x="13" y="210"/>
                    <a:pt x="0" y="197"/>
                    <a:pt x="0" y="181"/>
                  </a:cubicBezTo>
                  <a:lnTo>
                    <a:pt x="0" y="29"/>
                  </a:lnTo>
                  <a:cubicBezTo>
                    <a:pt x="0" y="13"/>
                    <a:pt x="13" y="0"/>
                    <a:pt x="30" y="0"/>
                  </a:cubicBezTo>
                  <a:lnTo>
                    <a:pt x="183" y="0"/>
                  </a:lnTo>
                  <a:cubicBezTo>
                    <a:pt x="199" y="0"/>
                    <a:pt x="212" y="13"/>
                    <a:pt x="212" y="29"/>
                  </a:cubicBezTo>
                  <a:lnTo>
                    <a:pt x="212" y="181"/>
                  </a:lnTo>
                  <a:cubicBezTo>
                    <a:pt x="212" y="197"/>
                    <a:pt x="199" y="210"/>
                    <a:pt x="183" y="210"/>
                  </a:cubicBezTo>
                  <a:close/>
                  <a:moveTo>
                    <a:pt x="30" y="16"/>
                  </a:moveTo>
                  <a:cubicBezTo>
                    <a:pt x="23" y="16"/>
                    <a:pt x="18" y="21"/>
                    <a:pt x="18" y="28"/>
                  </a:cubicBezTo>
                  <a:lnTo>
                    <a:pt x="18" y="180"/>
                  </a:lnTo>
                  <a:cubicBezTo>
                    <a:pt x="18" y="187"/>
                    <a:pt x="23" y="192"/>
                    <a:pt x="30" y="192"/>
                  </a:cubicBezTo>
                  <a:lnTo>
                    <a:pt x="183" y="192"/>
                  </a:lnTo>
                  <a:cubicBezTo>
                    <a:pt x="190" y="192"/>
                    <a:pt x="195" y="187"/>
                    <a:pt x="195" y="180"/>
                  </a:cubicBezTo>
                  <a:lnTo>
                    <a:pt x="195" y="29"/>
                  </a:lnTo>
                  <a:cubicBezTo>
                    <a:pt x="195" y="22"/>
                    <a:pt x="190" y="17"/>
                    <a:pt x="183" y="17"/>
                  </a:cubicBezTo>
                  <a:lnTo>
                    <a:pt x="30" y="17"/>
                  </a:lnTo>
                  <a:lnTo>
                    <a:pt x="30" y="1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66" name="Checklist"/>
            <p:cNvSpPr>
              <a:spLocks/>
            </p:cNvSpPr>
            <p:nvPr>
              <p:custDataLst>
                <p:tags r:id="rId19"/>
              </p:custDataLst>
            </p:nvPr>
          </p:nvSpPr>
          <p:spPr bwMode="auto">
            <a:xfrm>
              <a:off x="256" y="133"/>
              <a:ext cx="99" cy="7"/>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49" y="0"/>
                    <a:pt x="253" y="4"/>
                    <a:pt x="253" y="9"/>
                  </a:cubicBezTo>
                  <a:cubicBezTo>
                    <a:pt x="253" y="14"/>
                    <a:pt x="249" y="17"/>
                    <a:pt x="244" y="1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72" name="Checklist"/>
            <p:cNvSpPr>
              <a:spLocks/>
            </p:cNvSpPr>
            <p:nvPr>
              <p:custDataLst>
                <p:tags r:id="rId20"/>
              </p:custDataLst>
            </p:nvPr>
          </p:nvSpPr>
          <p:spPr bwMode="auto">
            <a:xfrm>
              <a:off x="256" y="246"/>
              <a:ext cx="99" cy="7"/>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49" y="0"/>
                    <a:pt x="253" y="4"/>
                    <a:pt x="253" y="9"/>
                  </a:cubicBezTo>
                  <a:cubicBezTo>
                    <a:pt x="253" y="14"/>
                    <a:pt x="249" y="17"/>
                    <a:pt x="244" y="1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73" name="Checklist"/>
            <p:cNvSpPr>
              <a:spLocks/>
            </p:cNvSpPr>
            <p:nvPr>
              <p:custDataLst>
                <p:tags r:id="rId21"/>
              </p:custDataLst>
            </p:nvPr>
          </p:nvSpPr>
          <p:spPr bwMode="auto">
            <a:xfrm>
              <a:off x="255" y="360"/>
              <a:ext cx="99" cy="6"/>
            </a:xfrm>
            <a:custGeom>
              <a:avLst/>
              <a:gdLst>
                <a:gd name="T0" fmla="*/ 244 w 253"/>
                <a:gd name="T1" fmla="*/ 17 h 17"/>
                <a:gd name="T2" fmla="*/ 9 w 253"/>
                <a:gd name="T3" fmla="*/ 17 h 17"/>
                <a:gd name="T4" fmla="*/ 0 w 253"/>
                <a:gd name="T5" fmla="*/ 9 h 17"/>
                <a:gd name="T6" fmla="*/ 9 w 253"/>
                <a:gd name="T7" fmla="*/ 0 h 17"/>
                <a:gd name="T8" fmla="*/ 244 w 253"/>
                <a:gd name="T9" fmla="*/ 0 h 17"/>
                <a:gd name="T10" fmla="*/ 253 w 253"/>
                <a:gd name="T11" fmla="*/ 9 h 17"/>
                <a:gd name="T12" fmla="*/ 244 w 253"/>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53" h="17">
                  <a:moveTo>
                    <a:pt x="244" y="17"/>
                  </a:moveTo>
                  <a:lnTo>
                    <a:pt x="9" y="17"/>
                  </a:lnTo>
                  <a:cubicBezTo>
                    <a:pt x="4" y="17"/>
                    <a:pt x="0" y="14"/>
                    <a:pt x="0" y="9"/>
                  </a:cubicBezTo>
                  <a:cubicBezTo>
                    <a:pt x="0" y="4"/>
                    <a:pt x="4" y="0"/>
                    <a:pt x="9" y="0"/>
                  </a:cubicBezTo>
                  <a:lnTo>
                    <a:pt x="244" y="0"/>
                  </a:lnTo>
                  <a:cubicBezTo>
                    <a:pt x="250" y="0"/>
                    <a:pt x="253" y="4"/>
                    <a:pt x="253" y="9"/>
                  </a:cubicBezTo>
                  <a:cubicBezTo>
                    <a:pt x="253" y="14"/>
                    <a:pt x="249" y="17"/>
                    <a:pt x="244" y="1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grpSp>
        <p:nvGrpSpPr>
          <p:cNvPr id="175" name="Compose"/>
          <p:cNvGrpSpPr>
            <a:grpSpLocks noChangeAspect="1"/>
          </p:cNvGrpSpPr>
          <p:nvPr>
            <p:custDataLst>
              <p:tags r:id="rId5"/>
            </p:custDataLst>
          </p:nvPr>
        </p:nvGrpSpPr>
        <p:grpSpPr bwMode="auto">
          <a:xfrm>
            <a:off x="7844386" y="3023265"/>
            <a:ext cx="496804" cy="450452"/>
            <a:chOff x="2478" y="795"/>
            <a:chExt cx="2926" cy="2653"/>
          </a:xfrm>
          <a:solidFill>
            <a:srgbClr val="1F497D"/>
          </a:solidFill>
        </p:grpSpPr>
        <p:sp>
          <p:nvSpPr>
            <p:cNvPr id="177" name="Freeform 309"/>
            <p:cNvSpPr>
              <a:spLocks noEditPoints="1"/>
            </p:cNvSpPr>
            <p:nvPr/>
          </p:nvSpPr>
          <p:spPr bwMode="auto">
            <a:xfrm>
              <a:off x="2478" y="795"/>
              <a:ext cx="1854" cy="2653"/>
            </a:xfrm>
            <a:custGeom>
              <a:avLst/>
              <a:gdLst>
                <a:gd name="T0" fmla="*/ 67 w 467"/>
                <a:gd name="T1" fmla="*/ 117 h 667"/>
                <a:gd name="T2" fmla="*/ 233 w 467"/>
                <a:gd name="T3" fmla="*/ 117 h 667"/>
                <a:gd name="T4" fmla="*/ 233 w 467"/>
                <a:gd name="T5" fmla="*/ 150 h 667"/>
                <a:gd name="T6" fmla="*/ 67 w 467"/>
                <a:gd name="T7" fmla="*/ 150 h 667"/>
                <a:gd name="T8" fmla="*/ 67 w 467"/>
                <a:gd name="T9" fmla="*/ 117 h 667"/>
                <a:gd name="T10" fmla="*/ 50 w 467"/>
                <a:gd name="T11" fmla="*/ 667 h 667"/>
                <a:gd name="T12" fmla="*/ 417 w 467"/>
                <a:gd name="T13" fmla="*/ 667 h 667"/>
                <a:gd name="T14" fmla="*/ 467 w 467"/>
                <a:gd name="T15" fmla="*/ 617 h 667"/>
                <a:gd name="T16" fmla="*/ 467 w 467"/>
                <a:gd name="T17" fmla="*/ 516 h 667"/>
                <a:gd name="T18" fmla="*/ 400 w 467"/>
                <a:gd name="T19" fmla="*/ 583 h 667"/>
                <a:gd name="T20" fmla="*/ 187 w 467"/>
                <a:gd name="T21" fmla="*/ 583 h 667"/>
                <a:gd name="T22" fmla="*/ 67 w 467"/>
                <a:gd name="T23" fmla="*/ 583 h 667"/>
                <a:gd name="T24" fmla="*/ 67 w 467"/>
                <a:gd name="T25" fmla="*/ 550 h 667"/>
                <a:gd name="T26" fmla="*/ 194 w 467"/>
                <a:gd name="T27" fmla="*/ 550 h 667"/>
                <a:gd name="T28" fmla="*/ 199 w 467"/>
                <a:gd name="T29" fmla="*/ 530 h 667"/>
                <a:gd name="T30" fmla="*/ 205 w 467"/>
                <a:gd name="T31" fmla="*/ 500 h 667"/>
                <a:gd name="T32" fmla="*/ 67 w 467"/>
                <a:gd name="T33" fmla="*/ 500 h 667"/>
                <a:gd name="T34" fmla="*/ 67 w 467"/>
                <a:gd name="T35" fmla="*/ 467 h 667"/>
                <a:gd name="T36" fmla="*/ 211 w 467"/>
                <a:gd name="T37" fmla="*/ 467 h 667"/>
                <a:gd name="T38" fmla="*/ 221 w 467"/>
                <a:gd name="T39" fmla="*/ 417 h 667"/>
                <a:gd name="T40" fmla="*/ 67 w 467"/>
                <a:gd name="T41" fmla="*/ 417 h 667"/>
                <a:gd name="T42" fmla="*/ 67 w 467"/>
                <a:gd name="T43" fmla="*/ 383 h 667"/>
                <a:gd name="T44" fmla="*/ 228 w 467"/>
                <a:gd name="T45" fmla="*/ 383 h 667"/>
                <a:gd name="T46" fmla="*/ 230 w 467"/>
                <a:gd name="T47" fmla="*/ 373 h 667"/>
                <a:gd name="T48" fmla="*/ 270 w 467"/>
                <a:gd name="T49" fmla="*/ 333 h 667"/>
                <a:gd name="T50" fmla="*/ 67 w 467"/>
                <a:gd name="T51" fmla="*/ 333 h 667"/>
                <a:gd name="T52" fmla="*/ 67 w 467"/>
                <a:gd name="T53" fmla="*/ 300 h 667"/>
                <a:gd name="T54" fmla="*/ 303 w 467"/>
                <a:gd name="T55" fmla="*/ 300 h 667"/>
                <a:gd name="T56" fmla="*/ 353 w 467"/>
                <a:gd name="T57" fmla="*/ 250 h 667"/>
                <a:gd name="T58" fmla="*/ 67 w 467"/>
                <a:gd name="T59" fmla="*/ 250 h 667"/>
                <a:gd name="T60" fmla="*/ 67 w 467"/>
                <a:gd name="T61" fmla="*/ 217 h 667"/>
                <a:gd name="T62" fmla="*/ 386 w 467"/>
                <a:gd name="T63" fmla="*/ 217 h 667"/>
                <a:gd name="T64" fmla="*/ 467 w 467"/>
                <a:gd name="T65" fmla="*/ 136 h 667"/>
                <a:gd name="T66" fmla="*/ 467 w 467"/>
                <a:gd name="T67" fmla="*/ 50 h 667"/>
                <a:gd name="T68" fmla="*/ 417 w 467"/>
                <a:gd name="T69" fmla="*/ 0 h 667"/>
                <a:gd name="T70" fmla="*/ 267 w 467"/>
                <a:gd name="T71" fmla="*/ 0 h 667"/>
                <a:gd name="T72" fmla="*/ 50 w 467"/>
                <a:gd name="T73" fmla="*/ 0 h 667"/>
                <a:gd name="T74" fmla="*/ 0 w 467"/>
                <a:gd name="T75" fmla="*/ 50 h 667"/>
                <a:gd name="T76" fmla="*/ 0 w 467"/>
                <a:gd name="T77" fmla="*/ 467 h 667"/>
                <a:gd name="T78" fmla="*/ 0 w 467"/>
                <a:gd name="T79" fmla="*/ 617 h 667"/>
                <a:gd name="T80" fmla="*/ 50 w 467"/>
                <a:gd name="T81" fmla="*/ 66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7" h="667">
                  <a:moveTo>
                    <a:pt x="67" y="117"/>
                  </a:moveTo>
                  <a:lnTo>
                    <a:pt x="233" y="117"/>
                  </a:lnTo>
                  <a:lnTo>
                    <a:pt x="233" y="150"/>
                  </a:lnTo>
                  <a:lnTo>
                    <a:pt x="67" y="150"/>
                  </a:lnTo>
                  <a:lnTo>
                    <a:pt x="67" y="117"/>
                  </a:lnTo>
                  <a:close/>
                  <a:moveTo>
                    <a:pt x="50" y="667"/>
                  </a:moveTo>
                  <a:lnTo>
                    <a:pt x="417" y="667"/>
                  </a:lnTo>
                  <a:cubicBezTo>
                    <a:pt x="444" y="667"/>
                    <a:pt x="467" y="644"/>
                    <a:pt x="467" y="617"/>
                  </a:cubicBezTo>
                  <a:lnTo>
                    <a:pt x="467" y="516"/>
                  </a:lnTo>
                  <a:lnTo>
                    <a:pt x="400" y="583"/>
                  </a:lnTo>
                  <a:lnTo>
                    <a:pt x="187" y="583"/>
                  </a:lnTo>
                  <a:lnTo>
                    <a:pt x="67" y="583"/>
                  </a:lnTo>
                  <a:lnTo>
                    <a:pt x="67" y="550"/>
                  </a:lnTo>
                  <a:lnTo>
                    <a:pt x="194" y="550"/>
                  </a:lnTo>
                  <a:lnTo>
                    <a:pt x="199" y="530"/>
                  </a:lnTo>
                  <a:lnTo>
                    <a:pt x="205" y="500"/>
                  </a:lnTo>
                  <a:lnTo>
                    <a:pt x="67" y="500"/>
                  </a:lnTo>
                  <a:lnTo>
                    <a:pt x="67" y="467"/>
                  </a:lnTo>
                  <a:lnTo>
                    <a:pt x="211" y="467"/>
                  </a:lnTo>
                  <a:lnTo>
                    <a:pt x="221" y="417"/>
                  </a:lnTo>
                  <a:lnTo>
                    <a:pt x="67" y="417"/>
                  </a:lnTo>
                  <a:lnTo>
                    <a:pt x="67" y="383"/>
                  </a:lnTo>
                  <a:lnTo>
                    <a:pt x="228" y="383"/>
                  </a:lnTo>
                  <a:lnTo>
                    <a:pt x="230" y="373"/>
                  </a:lnTo>
                  <a:lnTo>
                    <a:pt x="270" y="333"/>
                  </a:lnTo>
                  <a:lnTo>
                    <a:pt x="67" y="333"/>
                  </a:lnTo>
                  <a:lnTo>
                    <a:pt x="67" y="300"/>
                  </a:lnTo>
                  <a:lnTo>
                    <a:pt x="303" y="300"/>
                  </a:lnTo>
                  <a:lnTo>
                    <a:pt x="353" y="250"/>
                  </a:lnTo>
                  <a:lnTo>
                    <a:pt x="67" y="250"/>
                  </a:lnTo>
                  <a:lnTo>
                    <a:pt x="67" y="217"/>
                  </a:lnTo>
                  <a:lnTo>
                    <a:pt x="386" y="217"/>
                  </a:lnTo>
                  <a:lnTo>
                    <a:pt x="467" y="136"/>
                  </a:lnTo>
                  <a:lnTo>
                    <a:pt x="467" y="50"/>
                  </a:lnTo>
                  <a:cubicBezTo>
                    <a:pt x="467" y="22"/>
                    <a:pt x="444" y="0"/>
                    <a:pt x="417" y="0"/>
                  </a:cubicBezTo>
                  <a:lnTo>
                    <a:pt x="267" y="0"/>
                  </a:lnTo>
                  <a:lnTo>
                    <a:pt x="50" y="0"/>
                  </a:lnTo>
                  <a:cubicBezTo>
                    <a:pt x="22" y="0"/>
                    <a:pt x="0" y="22"/>
                    <a:pt x="0" y="50"/>
                  </a:cubicBezTo>
                  <a:lnTo>
                    <a:pt x="0" y="467"/>
                  </a:lnTo>
                  <a:lnTo>
                    <a:pt x="0" y="617"/>
                  </a:lnTo>
                  <a:cubicBezTo>
                    <a:pt x="0" y="644"/>
                    <a:pt x="22" y="667"/>
                    <a:pt x="50" y="667"/>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8" name="Freeform 310"/>
            <p:cNvSpPr>
              <a:spLocks/>
            </p:cNvSpPr>
            <p:nvPr/>
          </p:nvSpPr>
          <p:spPr bwMode="auto">
            <a:xfrm>
              <a:off x="4606" y="1014"/>
              <a:ext cx="798" cy="800"/>
            </a:xfrm>
            <a:custGeom>
              <a:avLst/>
              <a:gdLst>
                <a:gd name="T0" fmla="*/ 118 w 201"/>
                <a:gd name="T1" fmla="*/ 177 h 201"/>
                <a:gd name="T2" fmla="*/ 142 w 201"/>
                <a:gd name="T3" fmla="*/ 201 h 201"/>
                <a:gd name="T4" fmla="*/ 186 w 201"/>
                <a:gd name="T5" fmla="*/ 157 h 201"/>
                <a:gd name="T6" fmla="*/ 186 w 201"/>
                <a:gd name="T7" fmla="*/ 103 h 201"/>
                <a:gd name="T8" fmla="*/ 97 w 201"/>
                <a:gd name="T9" fmla="*/ 14 h 201"/>
                <a:gd name="T10" fmla="*/ 44 w 201"/>
                <a:gd name="T11" fmla="*/ 14 h 201"/>
                <a:gd name="T12" fmla="*/ 0 w 201"/>
                <a:gd name="T13" fmla="*/ 58 h 201"/>
                <a:gd name="T14" fmla="*/ 24 w 201"/>
                <a:gd name="T15" fmla="*/ 82 h 201"/>
                <a:gd name="T16" fmla="*/ 118 w 201"/>
                <a:gd name="T17" fmla="*/ 17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01">
                  <a:moveTo>
                    <a:pt x="118" y="177"/>
                  </a:moveTo>
                  <a:lnTo>
                    <a:pt x="142" y="201"/>
                  </a:lnTo>
                  <a:lnTo>
                    <a:pt x="186" y="157"/>
                  </a:lnTo>
                  <a:cubicBezTo>
                    <a:pt x="201" y="142"/>
                    <a:pt x="201" y="118"/>
                    <a:pt x="186" y="103"/>
                  </a:cubicBezTo>
                  <a:lnTo>
                    <a:pt x="97" y="14"/>
                  </a:lnTo>
                  <a:cubicBezTo>
                    <a:pt x="83" y="0"/>
                    <a:pt x="59" y="0"/>
                    <a:pt x="44" y="14"/>
                  </a:cubicBezTo>
                  <a:lnTo>
                    <a:pt x="0" y="58"/>
                  </a:lnTo>
                  <a:lnTo>
                    <a:pt x="24" y="82"/>
                  </a:lnTo>
                  <a:lnTo>
                    <a:pt x="118" y="177"/>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9" name="Freeform 311"/>
            <p:cNvSpPr>
              <a:spLocks/>
            </p:cNvSpPr>
            <p:nvPr/>
          </p:nvSpPr>
          <p:spPr bwMode="auto">
            <a:xfrm>
              <a:off x="3387" y="1340"/>
              <a:ext cx="1687" cy="1643"/>
            </a:xfrm>
            <a:custGeom>
              <a:avLst/>
              <a:gdLst>
                <a:gd name="T0" fmla="*/ 8 w 1687"/>
                <a:gd name="T1" fmla="*/ 1591 h 1643"/>
                <a:gd name="T2" fmla="*/ 0 w 1687"/>
                <a:gd name="T3" fmla="*/ 1643 h 1643"/>
                <a:gd name="T4" fmla="*/ 623 w 1687"/>
                <a:gd name="T5" fmla="*/ 1643 h 1643"/>
                <a:gd name="T6" fmla="*/ 1687 w 1687"/>
                <a:gd name="T7" fmla="*/ 565 h 1643"/>
                <a:gd name="T8" fmla="*/ 1596 w 1687"/>
                <a:gd name="T9" fmla="*/ 470 h 1643"/>
                <a:gd name="T10" fmla="*/ 1219 w 1687"/>
                <a:gd name="T11" fmla="*/ 96 h 1643"/>
                <a:gd name="T12" fmla="*/ 1128 w 1687"/>
                <a:gd name="T13" fmla="*/ 0 h 1643"/>
                <a:gd name="T14" fmla="*/ 127 w 1687"/>
                <a:gd name="T15" fmla="*/ 1007 h 1643"/>
                <a:gd name="T16" fmla="*/ 8 w 1687"/>
                <a:gd name="T17" fmla="*/ 1591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7" h="1643">
                  <a:moveTo>
                    <a:pt x="8" y="1591"/>
                  </a:moveTo>
                  <a:lnTo>
                    <a:pt x="0" y="1643"/>
                  </a:lnTo>
                  <a:lnTo>
                    <a:pt x="623" y="1643"/>
                  </a:lnTo>
                  <a:lnTo>
                    <a:pt x="1687" y="565"/>
                  </a:lnTo>
                  <a:lnTo>
                    <a:pt x="1596" y="470"/>
                  </a:lnTo>
                  <a:lnTo>
                    <a:pt x="1219" y="96"/>
                  </a:lnTo>
                  <a:lnTo>
                    <a:pt x="1128" y="0"/>
                  </a:lnTo>
                  <a:lnTo>
                    <a:pt x="127" y="1007"/>
                  </a:lnTo>
                  <a:lnTo>
                    <a:pt x="8" y="1591"/>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80" name="Monitor"/>
          <p:cNvGrpSpPr>
            <a:grpSpLocks noChangeAspect="1"/>
          </p:cNvGrpSpPr>
          <p:nvPr>
            <p:custDataLst>
              <p:tags r:id="rId6"/>
            </p:custDataLst>
          </p:nvPr>
        </p:nvGrpSpPr>
        <p:grpSpPr bwMode="auto">
          <a:xfrm>
            <a:off x="7685841" y="4674269"/>
            <a:ext cx="519858" cy="451035"/>
            <a:chOff x="31" y="88"/>
            <a:chExt cx="423" cy="367"/>
          </a:xfrm>
          <a:solidFill>
            <a:srgbClr val="1F497D"/>
          </a:solidFill>
        </p:grpSpPr>
        <p:sp>
          <p:nvSpPr>
            <p:cNvPr id="181" name="Monitor"/>
            <p:cNvSpPr>
              <a:spLocks noEditPoints="1"/>
            </p:cNvSpPr>
            <p:nvPr>
              <p:custDataLst>
                <p:tags r:id="rId7"/>
              </p:custDataLst>
            </p:nvPr>
          </p:nvSpPr>
          <p:spPr bwMode="auto">
            <a:xfrm>
              <a:off x="31" y="88"/>
              <a:ext cx="423" cy="367"/>
            </a:xfrm>
            <a:custGeom>
              <a:avLst/>
              <a:gdLst>
                <a:gd name="T0" fmla="*/ 1101 w 1126"/>
                <a:gd name="T1" fmla="*/ 0 h 975"/>
                <a:gd name="T2" fmla="*/ 25 w 1126"/>
                <a:gd name="T3" fmla="*/ 0 h 975"/>
                <a:gd name="T4" fmla="*/ 0 w 1126"/>
                <a:gd name="T5" fmla="*/ 25 h 975"/>
                <a:gd name="T6" fmla="*/ 0 w 1126"/>
                <a:gd name="T7" fmla="*/ 799 h 975"/>
                <a:gd name="T8" fmla="*/ 25 w 1126"/>
                <a:gd name="T9" fmla="*/ 825 h 975"/>
                <a:gd name="T10" fmla="*/ 388 w 1126"/>
                <a:gd name="T11" fmla="*/ 825 h 975"/>
                <a:gd name="T12" fmla="*/ 305 w 1126"/>
                <a:gd name="T13" fmla="*/ 934 h 975"/>
                <a:gd name="T14" fmla="*/ 303 w 1126"/>
                <a:gd name="T15" fmla="*/ 960 h 975"/>
                <a:gd name="T16" fmla="*/ 325 w 1126"/>
                <a:gd name="T17" fmla="*/ 975 h 975"/>
                <a:gd name="T18" fmla="*/ 800 w 1126"/>
                <a:gd name="T19" fmla="*/ 975 h 975"/>
                <a:gd name="T20" fmla="*/ 823 w 1126"/>
                <a:gd name="T21" fmla="*/ 961 h 975"/>
                <a:gd name="T22" fmla="*/ 821 w 1126"/>
                <a:gd name="T23" fmla="*/ 935 h 975"/>
                <a:gd name="T24" fmla="*/ 738 w 1126"/>
                <a:gd name="T25" fmla="*/ 825 h 975"/>
                <a:gd name="T26" fmla="*/ 1101 w 1126"/>
                <a:gd name="T27" fmla="*/ 825 h 975"/>
                <a:gd name="T28" fmla="*/ 1126 w 1126"/>
                <a:gd name="T29" fmla="*/ 799 h 975"/>
                <a:gd name="T30" fmla="*/ 1126 w 1126"/>
                <a:gd name="T31" fmla="*/ 25 h 975"/>
                <a:gd name="T32" fmla="*/ 1101 w 1126"/>
                <a:gd name="T33" fmla="*/ 0 h 975"/>
                <a:gd name="T34" fmla="*/ 375 w 1126"/>
                <a:gd name="T35" fmla="*/ 924 h 975"/>
                <a:gd name="T36" fmla="*/ 413 w 1126"/>
                <a:gd name="T37" fmla="*/ 874 h 975"/>
                <a:gd name="T38" fmla="*/ 713 w 1126"/>
                <a:gd name="T39" fmla="*/ 874 h 975"/>
                <a:gd name="T40" fmla="*/ 750 w 1126"/>
                <a:gd name="T41" fmla="*/ 924 h 975"/>
                <a:gd name="T42" fmla="*/ 375 w 1126"/>
                <a:gd name="T43" fmla="*/ 924 h 975"/>
                <a:gd name="T44" fmla="*/ 1075 w 1126"/>
                <a:gd name="T45" fmla="*/ 775 h 975"/>
                <a:gd name="T46" fmla="*/ 50 w 1126"/>
                <a:gd name="T47" fmla="*/ 775 h 975"/>
                <a:gd name="T48" fmla="*/ 50 w 1126"/>
                <a:gd name="T49" fmla="*/ 675 h 975"/>
                <a:gd name="T50" fmla="*/ 1075 w 1126"/>
                <a:gd name="T51" fmla="*/ 675 h 975"/>
                <a:gd name="T52" fmla="*/ 1075 w 1126"/>
                <a:gd name="T53" fmla="*/ 775 h 975"/>
                <a:gd name="T54" fmla="*/ 1076 w 1126"/>
                <a:gd name="T55" fmla="*/ 624 h 975"/>
                <a:gd name="T56" fmla="*/ 50 w 1126"/>
                <a:gd name="T57" fmla="*/ 624 h 975"/>
                <a:gd name="T58" fmla="*/ 50 w 1126"/>
                <a:gd name="T59" fmla="*/ 50 h 975"/>
                <a:gd name="T60" fmla="*/ 1076 w 1126"/>
                <a:gd name="T61" fmla="*/ 50 h 975"/>
                <a:gd name="T62" fmla="*/ 1076 w 1126"/>
                <a:gd name="T63" fmla="*/ 62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6" h="975">
                  <a:moveTo>
                    <a:pt x="1101" y="0"/>
                  </a:moveTo>
                  <a:lnTo>
                    <a:pt x="25" y="0"/>
                  </a:lnTo>
                  <a:cubicBezTo>
                    <a:pt x="12" y="0"/>
                    <a:pt x="0" y="11"/>
                    <a:pt x="0" y="25"/>
                  </a:cubicBezTo>
                  <a:lnTo>
                    <a:pt x="0" y="799"/>
                  </a:lnTo>
                  <a:cubicBezTo>
                    <a:pt x="0" y="813"/>
                    <a:pt x="12" y="825"/>
                    <a:pt x="25" y="825"/>
                  </a:cubicBezTo>
                  <a:cubicBezTo>
                    <a:pt x="25" y="825"/>
                    <a:pt x="381" y="825"/>
                    <a:pt x="388" y="825"/>
                  </a:cubicBezTo>
                  <a:lnTo>
                    <a:pt x="305" y="934"/>
                  </a:lnTo>
                  <a:cubicBezTo>
                    <a:pt x="300" y="942"/>
                    <a:pt x="299" y="952"/>
                    <a:pt x="303" y="960"/>
                  </a:cubicBezTo>
                  <a:cubicBezTo>
                    <a:pt x="307" y="969"/>
                    <a:pt x="316" y="975"/>
                    <a:pt x="325" y="975"/>
                  </a:cubicBezTo>
                  <a:lnTo>
                    <a:pt x="800" y="975"/>
                  </a:lnTo>
                  <a:cubicBezTo>
                    <a:pt x="810" y="975"/>
                    <a:pt x="819" y="969"/>
                    <a:pt x="823" y="961"/>
                  </a:cubicBezTo>
                  <a:cubicBezTo>
                    <a:pt x="827" y="952"/>
                    <a:pt x="826" y="942"/>
                    <a:pt x="821" y="935"/>
                  </a:cubicBezTo>
                  <a:lnTo>
                    <a:pt x="738" y="825"/>
                  </a:lnTo>
                  <a:cubicBezTo>
                    <a:pt x="746" y="825"/>
                    <a:pt x="1101" y="825"/>
                    <a:pt x="1101" y="825"/>
                  </a:cubicBezTo>
                  <a:cubicBezTo>
                    <a:pt x="1114" y="825"/>
                    <a:pt x="1126" y="813"/>
                    <a:pt x="1126" y="799"/>
                  </a:cubicBezTo>
                  <a:lnTo>
                    <a:pt x="1126" y="25"/>
                  </a:lnTo>
                  <a:cubicBezTo>
                    <a:pt x="1126" y="11"/>
                    <a:pt x="1114" y="0"/>
                    <a:pt x="1101" y="0"/>
                  </a:cubicBezTo>
                  <a:close/>
                  <a:moveTo>
                    <a:pt x="375" y="924"/>
                  </a:moveTo>
                  <a:lnTo>
                    <a:pt x="413" y="874"/>
                  </a:lnTo>
                  <a:lnTo>
                    <a:pt x="713" y="874"/>
                  </a:lnTo>
                  <a:lnTo>
                    <a:pt x="750" y="924"/>
                  </a:lnTo>
                  <a:lnTo>
                    <a:pt x="375" y="924"/>
                  </a:lnTo>
                  <a:close/>
                  <a:moveTo>
                    <a:pt x="1075" y="775"/>
                  </a:moveTo>
                  <a:lnTo>
                    <a:pt x="50" y="775"/>
                  </a:lnTo>
                  <a:lnTo>
                    <a:pt x="50" y="675"/>
                  </a:lnTo>
                  <a:lnTo>
                    <a:pt x="1075" y="675"/>
                  </a:lnTo>
                  <a:lnTo>
                    <a:pt x="1075" y="775"/>
                  </a:lnTo>
                  <a:close/>
                  <a:moveTo>
                    <a:pt x="1076" y="624"/>
                  </a:moveTo>
                  <a:lnTo>
                    <a:pt x="50" y="624"/>
                  </a:lnTo>
                  <a:lnTo>
                    <a:pt x="50" y="50"/>
                  </a:lnTo>
                  <a:lnTo>
                    <a:pt x="1076" y="50"/>
                  </a:lnTo>
                  <a:lnTo>
                    <a:pt x="1076" y="62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5" name="Monitor"/>
            <p:cNvSpPr>
              <a:spLocks noChangeArrowheads="1"/>
            </p:cNvSpPr>
            <p:nvPr>
              <p:custDataLst>
                <p:tags r:id="rId8"/>
              </p:custDataLst>
            </p:nvPr>
          </p:nvSpPr>
          <p:spPr bwMode="auto">
            <a:xfrm>
              <a:off x="233" y="351"/>
              <a:ext cx="19" cy="1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pic>
        <p:nvPicPr>
          <p:cNvPr id="224" name="Picture 3"/>
          <p:cNvPicPr>
            <a:picLocks noChangeAspect="1" noChangeArrowheads="1"/>
          </p:cNvPicPr>
          <p:nvPr/>
        </p:nvPicPr>
        <p:blipFill>
          <a:blip r:embed="rId61" cstate="print"/>
          <a:srcRect/>
          <a:stretch>
            <a:fillRect/>
          </a:stretch>
        </p:blipFill>
        <p:spPr bwMode="auto">
          <a:xfrm>
            <a:off x="10859643" y="345041"/>
            <a:ext cx="722757" cy="509801"/>
          </a:xfrm>
          <a:prstGeom prst="rect">
            <a:avLst/>
          </a:prstGeom>
          <a:noFill/>
          <a:ln w="9525">
            <a:noFill/>
            <a:miter lim="800000"/>
            <a:headEnd/>
            <a:tailEnd/>
          </a:ln>
        </p:spPr>
      </p:pic>
      <p:sp>
        <p:nvSpPr>
          <p:cNvPr id="187" name="TextBox 91"/>
          <p:cNvSpPr txBox="1"/>
          <p:nvPr/>
        </p:nvSpPr>
        <p:spPr>
          <a:xfrm>
            <a:off x="49701" y="2264294"/>
            <a:ext cx="1593706" cy="648511"/>
          </a:xfrm>
          <a:prstGeom prst="rect">
            <a:avLst/>
          </a:prstGeom>
          <a:noFill/>
        </p:spPr>
        <p:txBody>
          <a:bodyPr wrap="none" rtlCol="0">
            <a:spAutoFit/>
          </a:bodyPr>
          <a:lstStyle/>
          <a:p>
            <a:pPr algn="ctr" defTabSz="518092">
              <a:defRPr/>
            </a:pPr>
            <a:r>
              <a:rPr lang="tr-TR" sz="1807" b="1" kern="0" dirty="0" smtClean="0">
                <a:solidFill>
                  <a:srgbClr val="1F497D"/>
                </a:solidFill>
              </a:rPr>
              <a:t>Yetkilendirme </a:t>
            </a:r>
          </a:p>
          <a:p>
            <a:pPr algn="ctr" defTabSz="518092">
              <a:defRPr/>
            </a:pPr>
            <a:r>
              <a:rPr lang="tr-TR" sz="1807" b="1" kern="0" dirty="0" smtClean="0">
                <a:solidFill>
                  <a:srgbClr val="1F497D"/>
                </a:solidFill>
              </a:rPr>
              <a:t>Formu</a:t>
            </a:r>
            <a:endParaRPr lang="en-US" sz="1807" b="1" kern="0" dirty="0">
              <a:solidFill>
                <a:srgbClr val="1F497D"/>
              </a:solidFill>
            </a:endParaRPr>
          </a:p>
        </p:txBody>
      </p:sp>
    </p:spTree>
    <p:custDataLst>
      <p:tags r:id="rId1"/>
    </p:custDataLst>
    <p:extLst>
      <p:ext uri="{BB962C8B-B14F-4D97-AF65-F5344CB8AC3E}">
        <p14:creationId xmlns:p14="http://schemas.microsoft.com/office/powerpoint/2010/main" val="5050230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3000" r="-13000"/>
          </a:stretch>
        </a:blipFill>
        <a:effectLst/>
      </p:bgPr>
    </p:bg>
    <p:spTree>
      <p:nvGrpSpPr>
        <p:cNvPr id="1" name=""/>
        <p:cNvGrpSpPr/>
        <p:nvPr/>
      </p:nvGrpSpPr>
      <p:grpSpPr>
        <a:xfrm>
          <a:off x="0" y="0"/>
          <a:ext cx="0" cy="0"/>
          <a:chOff x="0" y="0"/>
          <a:chExt cx="0" cy="0"/>
        </a:xfrm>
      </p:grpSpPr>
      <p:sp>
        <p:nvSpPr>
          <p:cNvPr id="4" name="3 Metin kutusu"/>
          <p:cNvSpPr txBox="1"/>
          <p:nvPr/>
        </p:nvSpPr>
        <p:spPr>
          <a:xfrm>
            <a:off x="806609" y="3230595"/>
            <a:ext cx="10795267" cy="923330"/>
          </a:xfrm>
          <a:prstGeom prst="rect">
            <a:avLst/>
          </a:prstGeom>
          <a:noFill/>
        </p:spPr>
        <p:txBody>
          <a:bodyPr wrap="square" rtlCol="0">
            <a:spAutoFit/>
          </a:bodyPr>
          <a:lstStyle/>
          <a:p>
            <a:pPr algn="ctr" fontAlgn="base">
              <a:spcBef>
                <a:spcPct val="0"/>
              </a:spcBef>
              <a:spcAft>
                <a:spcPct val="0"/>
              </a:spcAft>
            </a:pPr>
            <a:r>
              <a:rPr lang="tr-TR" sz="5400" b="1" dirty="0" smtClean="0">
                <a:solidFill>
                  <a:schemeClr val="bg1"/>
                </a:solidFill>
                <a:ea typeface="ヒラギノ角ゴ Pro W3" pitchFamily="1" charset="-128"/>
              </a:rPr>
              <a:t>TEŞEKKÜRLER</a:t>
            </a:r>
          </a:p>
        </p:txBody>
      </p:sp>
      <p:sp>
        <p:nvSpPr>
          <p:cNvPr id="2" name="Dikdörtgen 1"/>
          <p:cNvSpPr/>
          <p:nvPr/>
        </p:nvSpPr>
        <p:spPr>
          <a:xfrm>
            <a:off x="4041341" y="4381473"/>
            <a:ext cx="4325800" cy="584775"/>
          </a:xfrm>
          <a:prstGeom prst="rect">
            <a:avLst/>
          </a:prstGeom>
        </p:spPr>
        <p:txBody>
          <a:bodyPr wrap="none">
            <a:spAutoFit/>
          </a:bodyPr>
          <a:lstStyle/>
          <a:p>
            <a:pPr algn="ctr"/>
            <a:r>
              <a:rPr lang="tr-TR" sz="3200" b="1" dirty="0">
                <a:solidFill>
                  <a:prstClr val="white"/>
                </a:solidFill>
              </a:rPr>
              <a:t>teknoloji@kosgeb.gov.tr</a:t>
            </a:r>
          </a:p>
        </p:txBody>
      </p:sp>
      <p:pic>
        <p:nvPicPr>
          <p:cNvPr id="7" name="Picture 2"/>
          <p:cNvPicPr>
            <a:picLocks noChangeAspect="1" noChangeArrowheads="1"/>
          </p:cNvPicPr>
          <p:nvPr/>
        </p:nvPicPr>
        <p:blipFill>
          <a:blip r:embed="rId4" cstate="print"/>
          <a:srcRect/>
          <a:stretch>
            <a:fillRect/>
          </a:stretch>
        </p:blipFill>
        <p:spPr bwMode="auto">
          <a:xfrm>
            <a:off x="4573845" y="487346"/>
            <a:ext cx="3010986" cy="2046464"/>
          </a:xfrm>
          <a:prstGeom prst="rect">
            <a:avLst/>
          </a:prstGeom>
          <a:noFill/>
          <a:ln w="9525">
            <a:solidFill>
              <a:srgbClr val="4070AA"/>
            </a:solidFill>
            <a:miter lim="800000"/>
            <a:headEnd/>
            <a:tailEnd/>
          </a:ln>
        </p:spPr>
      </p:pic>
    </p:spTree>
    <p:extLst>
      <p:ext uri="{BB962C8B-B14F-4D97-AF65-F5344CB8AC3E}">
        <p14:creationId xmlns:p14="http://schemas.microsoft.com/office/powerpoint/2010/main" val="1821611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yagram 13"/>
          <p:cNvGraphicFramePr/>
          <p:nvPr>
            <p:extLst>
              <p:ext uri="{D42A27DB-BD31-4B8C-83A1-F6EECF244321}">
                <p14:modId xmlns:p14="http://schemas.microsoft.com/office/powerpoint/2010/main" val="2276596149"/>
              </p:ext>
            </p:extLst>
          </p:nvPr>
        </p:nvGraphicFramePr>
        <p:xfrm>
          <a:off x="556037" y="2919981"/>
          <a:ext cx="11001290" cy="22023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3"/>
          <p:cNvPicPr>
            <a:picLocks noChangeAspect="1" noChangeArrowheads="1"/>
          </p:cNvPicPr>
          <p:nvPr/>
        </p:nvPicPr>
        <p:blipFill>
          <a:blip r:embed="rId8" cstate="print"/>
          <a:srcRect/>
          <a:stretch>
            <a:fillRect/>
          </a:stretch>
        </p:blipFill>
        <p:spPr bwMode="auto">
          <a:xfrm>
            <a:off x="10970036" y="176129"/>
            <a:ext cx="720038" cy="507884"/>
          </a:xfrm>
          <a:prstGeom prst="rect">
            <a:avLst/>
          </a:prstGeom>
          <a:noFill/>
          <a:ln w="9525">
            <a:noFill/>
            <a:miter lim="800000"/>
            <a:headEnd/>
            <a:tailEnd/>
          </a:ln>
        </p:spPr>
      </p:pic>
      <p:sp>
        <p:nvSpPr>
          <p:cNvPr id="15" name="Title 1"/>
          <p:cNvSpPr txBox="1">
            <a:spLocks/>
          </p:cNvSpPr>
          <p:nvPr/>
        </p:nvSpPr>
        <p:spPr>
          <a:xfrm>
            <a:off x="239315" y="21270"/>
            <a:ext cx="10514989" cy="1161488"/>
          </a:xfrm>
          <a:prstGeom prst="rect">
            <a:avLst/>
          </a:prstGeom>
        </p:spPr>
        <p:txBody>
          <a:bodyPr vert="horz" lIns="91434" tIns="45718" rIns="91434" bIns="4571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tr-TR" sz="28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rPr>
              <a:t>STRATEJİK ÜRÜN DESTEK </a:t>
            </a:r>
            <a:r>
              <a:rPr lang="tr-TR" sz="2800" b="1" dirty="0" smtClean="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rPr>
              <a:t>PROGRAMI</a:t>
            </a:r>
            <a:endParaRPr lang="en-US" sz="28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endParaRPr>
          </a:p>
          <a:p>
            <a:pPr>
              <a:defRPr/>
            </a:pPr>
            <a:r>
              <a:rPr lang="tr-TR" sz="2000" b="1" dirty="0" smtClean="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rPr>
              <a:t>(TEKNOLOJİ ODAKLI SANAYİ HAMLESİ PROGRAMI KAPSAMINDA)</a:t>
            </a:r>
            <a:endParaRPr lang="en-US" sz="20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endParaRPr>
          </a:p>
        </p:txBody>
      </p:sp>
      <p:sp>
        <p:nvSpPr>
          <p:cNvPr id="39" name="Oval 38"/>
          <p:cNvSpPr>
            <a:spLocks noChangeAspect="1"/>
          </p:cNvSpPr>
          <p:nvPr/>
        </p:nvSpPr>
        <p:spPr>
          <a:xfrm rot="21182206">
            <a:off x="474226" y="1480169"/>
            <a:ext cx="908479" cy="908479"/>
          </a:xfrm>
          <a:prstGeom prst="ellipse">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40" name="Oval 39"/>
          <p:cNvSpPr>
            <a:spLocks noChangeAspect="1"/>
          </p:cNvSpPr>
          <p:nvPr/>
        </p:nvSpPr>
        <p:spPr>
          <a:xfrm rot="21182206">
            <a:off x="569171" y="1578135"/>
            <a:ext cx="690838" cy="69083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775" tIns="45887" rIns="91775" bIns="45887" numCol="1" spcCol="0" rtlCol="0" fromWordArt="0" anchor="ctr" anchorCtr="0" forceAA="0" compatLnSpc="1">
            <a:prstTxWarp prst="textNoShape">
              <a:avLst/>
            </a:prstTxWarp>
            <a:noAutofit/>
          </a:bodyPr>
          <a:lstStyle/>
          <a:p>
            <a:pPr marL="0" marR="0" lvl="0" indent="0" algn="ctr"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prstClr val="black"/>
              </a:solidFill>
              <a:effectLst/>
              <a:uLnTx/>
              <a:uFillTx/>
              <a:latin typeface="Calibri"/>
              <a:ea typeface="+mn-ea"/>
              <a:cs typeface="+mn-cs"/>
            </a:endParaRPr>
          </a:p>
        </p:txBody>
      </p:sp>
      <p:sp>
        <p:nvSpPr>
          <p:cNvPr id="51" name="Dikdörtgen 50"/>
          <p:cNvSpPr/>
          <p:nvPr/>
        </p:nvSpPr>
        <p:spPr>
          <a:xfrm>
            <a:off x="1406673" y="1733042"/>
            <a:ext cx="2905152" cy="461665"/>
          </a:xfrm>
          <a:prstGeom prst="rect">
            <a:avLst/>
          </a:prstGeom>
        </p:spPr>
        <p:txBody>
          <a:bodyPr wrap="square">
            <a:spAutoFit/>
          </a:bodyPr>
          <a:lstStyle/>
          <a:p>
            <a:pPr marL="0" marR="0" lvl="0" indent="0" algn="ctr" defTabSz="917783" rtl="0" eaLnBrk="0" fontAlgn="base" latinLnBrk="0" hangingPunct="0">
              <a:lnSpc>
                <a:spcPct val="100000"/>
              </a:lnSpc>
              <a:spcBef>
                <a:spcPct val="0"/>
              </a:spcBef>
              <a:spcAft>
                <a:spcPct val="0"/>
              </a:spcAft>
              <a:buClrTx/>
              <a:buSzTx/>
              <a:buFontTx/>
              <a:buNone/>
              <a:tabLst/>
              <a:defRPr/>
            </a:pPr>
            <a:r>
              <a:rPr kumimoji="0" lang="tr-TR" sz="2400" b="1"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PROGRAMIN AMACI</a:t>
            </a:r>
          </a:p>
        </p:txBody>
      </p:sp>
    </p:spTree>
    <p:extLst>
      <p:ext uri="{BB962C8B-B14F-4D97-AF65-F5344CB8AC3E}">
        <p14:creationId xmlns:p14="http://schemas.microsoft.com/office/powerpoint/2010/main" val="306494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etin kutusu 7"/>
          <p:cNvSpPr txBox="1"/>
          <p:nvPr/>
        </p:nvSpPr>
        <p:spPr>
          <a:xfrm>
            <a:off x="281596" y="323709"/>
            <a:ext cx="5998534" cy="523535"/>
          </a:xfrm>
          <a:prstGeom prst="rect">
            <a:avLst/>
          </a:prstGeom>
          <a:solidFill>
            <a:schemeClr val="bg1"/>
          </a:solidFill>
        </p:spPr>
        <p:txBody>
          <a:bodyPr wrap="square" lIns="91754" tIns="45876" rIns="91754" bIns="45876" rtlCol="0">
            <a:spAutoFit/>
          </a:bodyPr>
          <a:lstStyle/>
          <a:p>
            <a:r>
              <a:rPr lang="tr-TR" sz="2800" b="1" dirty="0">
                <a:solidFill>
                  <a:schemeClr val="accent5">
                    <a:lumMod val="75000"/>
                  </a:schemeClr>
                </a:solidFill>
                <a:effectLst>
                  <a:outerShdw blurRad="38100" dist="38100" dir="2700000" algn="tl">
                    <a:srgbClr val="000000">
                      <a:alpha val="43137"/>
                    </a:srgbClr>
                  </a:outerShdw>
                </a:effectLst>
              </a:rPr>
              <a:t>PROGRAMDAN YARARLANMA KOŞULU</a:t>
            </a:r>
          </a:p>
        </p:txBody>
      </p:sp>
      <p:graphicFrame>
        <p:nvGraphicFramePr>
          <p:cNvPr id="9" name="Diyagram 8"/>
          <p:cNvGraphicFramePr/>
          <p:nvPr>
            <p:extLst>
              <p:ext uri="{D42A27DB-BD31-4B8C-83A1-F6EECF244321}">
                <p14:modId xmlns:p14="http://schemas.microsoft.com/office/powerpoint/2010/main" val="3184731436"/>
              </p:ext>
            </p:extLst>
          </p:nvPr>
        </p:nvGraphicFramePr>
        <p:xfrm>
          <a:off x="558801" y="1066801"/>
          <a:ext cx="11170416" cy="48086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Metin kutusu 9"/>
          <p:cNvSpPr txBox="1"/>
          <p:nvPr/>
        </p:nvSpPr>
        <p:spPr>
          <a:xfrm>
            <a:off x="809380" y="5802650"/>
            <a:ext cx="10941501" cy="710454"/>
          </a:xfrm>
          <a:prstGeom prst="rect">
            <a:avLst/>
          </a:prstGeom>
          <a:noFill/>
        </p:spPr>
        <p:txBody>
          <a:bodyPr wrap="square" lIns="91754" tIns="45876" rIns="91754" bIns="45876" rtlCol="0">
            <a:spAutoFit/>
          </a:bodyPr>
          <a:lstStyle/>
          <a:p>
            <a:pPr lvl="0" algn="just"/>
            <a:r>
              <a:rPr lang="tr-TR" sz="2007" dirty="0">
                <a:latin typeface="Times New Roman" panose="02020603050405020304" pitchFamily="18" charset="0"/>
                <a:cs typeface="Times New Roman" panose="02020603050405020304" pitchFamily="18" charset="0"/>
              </a:rPr>
              <a:t>İşletme </a:t>
            </a:r>
            <a:r>
              <a:rPr lang="tr-TR" sz="2007" dirty="0" smtClean="0">
                <a:latin typeface="Times New Roman" panose="02020603050405020304" pitchFamily="18" charset="0"/>
                <a:cs typeface="Times New Roman" panose="02020603050405020304" pitchFamily="18" charset="0"/>
              </a:rPr>
              <a:t>Teknoloji </a:t>
            </a:r>
            <a:r>
              <a:rPr lang="tr-TR" sz="2007" dirty="0">
                <a:latin typeface="Times New Roman" panose="02020603050405020304" pitchFamily="18" charset="0"/>
                <a:cs typeface="Times New Roman" panose="02020603050405020304" pitchFamily="18" charset="0"/>
              </a:rPr>
              <a:t>Odaklı Sanayi Hamlesi Programı </a:t>
            </a:r>
            <a:r>
              <a:rPr lang="tr-TR" sz="2007" b="1" u="sng" dirty="0">
                <a:latin typeface="Times New Roman" panose="02020603050405020304" pitchFamily="18" charset="0"/>
                <a:cs typeface="Times New Roman" panose="02020603050405020304" pitchFamily="18" charset="0"/>
              </a:rPr>
              <a:t>çağrı planında yer alan ürünleri</a:t>
            </a:r>
            <a:r>
              <a:rPr lang="tr-TR" sz="2007" dirty="0">
                <a:latin typeface="Times New Roman" panose="02020603050405020304" pitchFamily="18" charset="0"/>
                <a:cs typeface="Times New Roman" panose="02020603050405020304" pitchFamily="18" charset="0"/>
              </a:rPr>
              <a:t> üretmek üzere başvurabilir.</a:t>
            </a:r>
          </a:p>
        </p:txBody>
      </p:sp>
      <p:pic>
        <p:nvPicPr>
          <p:cNvPr id="12" name="Picture 3"/>
          <p:cNvPicPr>
            <a:picLocks noChangeAspect="1" noChangeArrowheads="1"/>
          </p:cNvPicPr>
          <p:nvPr/>
        </p:nvPicPr>
        <p:blipFill>
          <a:blip r:embed="rId8" cstate="print"/>
          <a:srcRect/>
          <a:stretch>
            <a:fillRect/>
          </a:stretch>
        </p:blipFill>
        <p:spPr bwMode="auto">
          <a:xfrm>
            <a:off x="10992544" y="68823"/>
            <a:ext cx="960106" cy="509772"/>
          </a:xfrm>
          <a:prstGeom prst="rect">
            <a:avLst/>
          </a:prstGeom>
          <a:noFill/>
          <a:ln w="9525">
            <a:noFill/>
            <a:miter lim="800000"/>
            <a:headEnd/>
            <a:tailEnd/>
          </a:ln>
        </p:spPr>
      </p:pic>
    </p:spTree>
    <p:extLst>
      <p:ext uri="{BB962C8B-B14F-4D97-AF65-F5344CB8AC3E}">
        <p14:creationId xmlns:p14="http://schemas.microsoft.com/office/powerpoint/2010/main" val="1362633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ayt Numarası Yer Tutucusu 5"/>
          <p:cNvSpPr txBox="1">
            <a:spLocks/>
          </p:cNvSpPr>
          <p:nvPr/>
        </p:nvSpPr>
        <p:spPr>
          <a:xfrm>
            <a:off x="2219480" y="7355190"/>
            <a:ext cx="1075483" cy="571466"/>
          </a:xfrm>
          <a:prstGeom prst="rect">
            <a:avLst/>
          </a:prstGeom>
          <a:noFill/>
          <a:ln>
            <a:miter lim="800000"/>
            <a:headEnd/>
            <a:tailEnd/>
          </a:ln>
        </p:spPr>
        <p:txBody>
          <a:bodyPr anchor="ctr"/>
          <a:lstStyle/>
          <a:p>
            <a:pPr algn="r">
              <a:defRPr/>
            </a:pPr>
            <a:fld id="{E3B29AA5-3A34-4A67-9DD6-75C837EE9A54}" type="slidenum">
              <a:rPr lang="tr-TR" sz="1204">
                <a:solidFill>
                  <a:prstClr val="black">
                    <a:tint val="75000"/>
                  </a:prstClr>
                </a:solidFill>
                <a:latin typeface="Calibri"/>
              </a:rPr>
              <a:pPr algn="r">
                <a:defRPr/>
              </a:pPr>
              <a:t>6</a:t>
            </a:fld>
            <a:endParaRPr lang="tr-TR" sz="1204">
              <a:solidFill>
                <a:prstClr val="black">
                  <a:tint val="75000"/>
                </a:prstClr>
              </a:solidFill>
              <a:latin typeface="Calibri"/>
            </a:endParaRPr>
          </a:p>
        </p:txBody>
      </p:sp>
      <p:sp>
        <p:nvSpPr>
          <p:cNvPr id="9" name="Metin kutusu 8"/>
          <p:cNvSpPr txBox="1"/>
          <p:nvPr/>
        </p:nvSpPr>
        <p:spPr>
          <a:xfrm>
            <a:off x="345808" y="190203"/>
            <a:ext cx="5208007" cy="523220"/>
          </a:xfrm>
          <a:prstGeom prst="rect">
            <a:avLst/>
          </a:prstGeom>
          <a:solidFill>
            <a:schemeClr val="bg1"/>
          </a:solidFill>
        </p:spPr>
        <p:txBody>
          <a:bodyPr wrap="square" rtlCol="0">
            <a:spAutoFit/>
          </a:bodyPr>
          <a:lstStyle/>
          <a:p>
            <a:r>
              <a:rPr lang="tr-TR" sz="28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rPr>
              <a:t>DESTEK </a:t>
            </a:r>
            <a:r>
              <a:rPr lang="tr-TR" sz="2800" b="1" dirty="0" smtClean="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rPr>
              <a:t>ÜST </a:t>
            </a:r>
            <a:r>
              <a:rPr lang="tr-TR" sz="2800"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rPr>
              <a:t>LİMİTİ VE ORANLARI</a:t>
            </a:r>
          </a:p>
        </p:txBody>
      </p:sp>
      <p:pic>
        <p:nvPicPr>
          <p:cNvPr id="11" name="Picture 3"/>
          <p:cNvPicPr>
            <a:picLocks noChangeAspect="1" noChangeArrowheads="1"/>
          </p:cNvPicPr>
          <p:nvPr/>
        </p:nvPicPr>
        <p:blipFill>
          <a:blip r:embed="rId3" cstate="print"/>
          <a:srcRect/>
          <a:stretch>
            <a:fillRect/>
          </a:stretch>
        </p:blipFill>
        <p:spPr bwMode="auto">
          <a:xfrm>
            <a:off x="10865918" y="146588"/>
            <a:ext cx="722715" cy="509772"/>
          </a:xfrm>
          <a:prstGeom prst="rect">
            <a:avLst/>
          </a:prstGeom>
          <a:noFill/>
          <a:ln w="9525">
            <a:noFill/>
            <a:miter lim="800000"/>
            <a:headEnd/>
            <a:tailEnd/>
          </a:ln>
        </p:spPr>
      </p:pic>
      <p:graphicFrame>
        <p:nvGraphicFramePr>
          <p:cNvPr id="5" name="Tablo 4"/>
          <p:cNvGraphicFramePr>
            <a:graphicFrameLocks noGrp="1"/>
          </p:cNvGraphicFramePr>
          <p:nvPr>
            <p:extLst>
              <p:ext uri="{D42A27DB-BD31-4B8C-83A1-F6EECF244321}">
                <p14:modId xmlns:p14="http://schemas.microsoft.com/office/powerpoint/2010/main" val="2058156063"/>
              </p:ext>
            </p:extLst>
          </p:nvPr>
        </p:nvGraphicFramePr>
        <p:xfrm>
          <a:off x="1054538" y="1518043"/>
          <a:ext cx="9811380" cy="914400"/>
        </p:xfrm>
        <a:graphic>
          <a:graphicData uri="http://schemas.openxmlformats.org/drawingml/2006/table">
            <a:tbl>
              <a:tblPr firstRow="1" bandRow="1">
                <a:tableStyleId>{5C22544A-7EE6-4342-B048-85BDC9FD1C3A}</a:tableStyleId>
              </a:tblPr>
              <a:tblGrid>
                <a:gridCol w="3270460">
                  <a:extLst>
                    <a:ext uri="{9D8B030D-6E8A-4147-A177-3AD203B41FA5}">
                      <a16:colId xmlns:a16="http://schemas.microsoft.com/office/drawing/2014/main" val="2079036794"/>
                    </a:ext>
                  </a:extLst>
                </a:gridCol>
                <a:gridCol w="2420186">
                  <a:extLst>
                    <a:ext uri="{9D8B030D-6E8A-4147-A177-3AD203B41FA5}">
                      <a16:colId xmlns:a16="http://schemas.microsoft.com/office/drawing/2014/main" val="114252512"/>
                    </a:ext>
                  </a:extLst>
                </a:gridCol>
                <a:gridCol w="4120734">
                  <a:extLst>
                    <a:ext uri="{9D8B030D-6E8A-4147-A177-3AD203B41FA5}">
                      <a16:colId xmlns:a16="http://schemas.microsoft.com/office/drawing/2014/main" val="2943912940"/>
                    </a:ext>
                  </a:extLst>
                </a:gridCol>
              </a:tblGrid>
              <a:tr h="370840">
                <a:tc rowSpan="2">
                  <a:txBody>
                    <a:bodyPr/>
                    <a:lstStyle/>
                    <a:p>
                      <a:pPr algn="ctr"/>
                      <a:r>
                        <a:rPr lang="tr-TR" dirty="0" smtClean="0"/>
                        <a:t>Destek Üst Limiti</a:t>
                      </a:r>
                      <a:endParaRPr lang="tr-TR" dirty="0"/>
                    </a:p>
                  </a:txBody>
                  <a:tcPr anchor="ctr"/>
                </a:tc>
                <a:tc rowSpan="2">
                  <a:txBody>
                    <a:bodyPr/>
                    <a:lstStyle/>
                    <a:p>
                      <a:pPr algn="ctr"/>
                      <a:r>
                        <a:rPr lang="tr-TR" dirty="0" smtClean="0"/>
                        <a:t>5.000.000 TL</a:t>
                      </a:r>
                      <a:endParaRPr lang="tr-TR" dirty="0"/>
                    </a:p>
                  </a:txBody>
                  <a:tcPr anchor="ctr"/>
                </a:tc>
                <a:tc>
                  <a:txBody>
                    <a:bodyPr/>
                    <a:lstStyle/>
                    <a:p>
                      <a:pPr algn="r"/>
                      <a:r>
                        <a:rPr lang="tr-TR" b="1" dirty="0" smtClean="0">
                          <a:solidFill>
                            <a:schemeClr val="accent1"/>
                          </a:solidFill>
                        </a:rPr>
                        <a:t>1.500.000 TL</a:t>
                      </a:r>
                      <a:r>
                        <a:rPr lang="tr-TR" b="1" baseline="0" dirty="0" smtClean="0">
                          <a:solidFill>
                            <a:schemeClr val="accent1"/>
                          </a:solidFill>
                        </a:rPr>
                        <a:t> - Geri ödemesiz</a:t>
                      </a:r>
                      <a:endParaRPr lang="tr-TR" b="1" dirty="0">
                        <a:solidFill>
                          <a:schemeClr val="accent1"/>
                        </a:solidFill>
                      </a:endParaRPr>
                    </a:p>
                  </a:txBody>
                  <a:tcPr anchor="ctr">
                    <a:solidFill>
                      <a:schemeClr val="tx2">
                        <a:lumMod val="20000"/>
                        <a:lumOff val="80000"/>
                      </a:schemeClr>
                    </a:solidFill>
                  </a:tcPr>
                </a:tc>
                <a:extLst>
                  <a:ext uri="{0D108BD9-81ED-4DB2-BD59-A6C34878D82A}">
                    <a16:rowId xmlns:a16="http://schemas.microsoft.com/office/drawing/2014/main" val="3363246724"/>
                  </a:ext>
                </a:extLst>
              </a:tr>
              <a:tr h="370840">
                <a:tc vMerge="1">
                  <a:txBody>
                    <a:bodyPr/>
                    <a:lstStyle/>
                    <a:p>
                      <a:endParaRPr lang="tr-TR" dirty="0"/>
                    </a:p>
                  </a:txBody>
                  <a:tcPr/>
                </a:tc>
                <a:tc vMerge="1">
                  <a:txBody>
                    <a:bodyPr/>
                    <a:lstStyle/>
                    <a:p>
                      <a:endParaRPr lang="tr-TR" dirty="0"/>
                    </a:p>
                  </a:txBody>
                  <a:tcPr/>
                </a:tc>
                <a:tc>
                  <a:txBody>
                    <a:bodyPr/>
                    <a:lstStyle/>
                    <a:p>
                      <a:pPr algn="r"/>
                      <a:r>
                        <a:rPr lang="tr-TR" b="1" dirty="0" smtClean="0">
                          <a:solidFill>
                            <a:schemeClr val="accent1"/>
                          </a:solidFill>
                        </a:rPr>
                        <a:t>3.500.000 TL - Geri Ödemeli</a:t>
                      </a:r>
                      <a:endParaRPr lang="tr-TR" b="1" dirty="0">
                        <a:solidFill>
                          <a:schemeClr val="accent1"/>
                        </a:solidFill>
                      </a:endParaRPr>
                    </a:p>
                  </a:txBody>
                  <a:tcPr>
                    <a:solidFill>
                      <a:schemeClr val="tx2">
                        <a:lumMod val="20000"/>
                        <a:lumOff val="80000"/>
                      </a:schemeClr>
                    </a:solidFill>
                  </a:tcPr>
                </a:tc>
                <a:extLst>
                  <a:ext uri="{0D108BD9-81ED-4DB2-BD59-A6C34878D82A}">
                    <a16:rowId xmlns:a16="http://schemas.microsoft.com/office/drawing/2014/main" val="3627241477"/>
                  </a:ext>
                </a:extLst>
              </a:tr>
            </a:tbl>
          </a:graphicData>
        </a:graphic>
      </p:graphicFrame>
      <p:graphicFrame>
        <p:nvGraphicFramePr>
          <p:cNvPr id="13" name="Tablo 12"/>
          <p:cNvGraphicFramePr>
            <a:graphicFrameLocks noGrp="1"/>
          </p:cNvGraphicFramePr>
          <p:nvPr>
            <p:extLst>
              <p:ext uri="{D42A27DB-BD31-4B8C-83A1-F6EECF244321}">
                <p14:modId xmlns:p14="http://schemas.microsoft.com/office/powerpoint/2010/main" val="2311780640"/>
              </p:ext>
            </p:extLst>
          </p:nvPr>
        </p:nvGraphicFramePr>
        <p:xfrm>
          <a:off x="1054538" y="3856077"/>
          <a:ext cx="9811380" cy="822960"/>
        </p:xfrm>
        <a:graphic>
          <a:graphicData uri="http://schemas.openxmlformats.org/drawingml/2006/table">
            <a:tbl>
              <a:tblPr firstRow="1" bandRow="1">
                <a:tableStyleId>{5C22544A-7EE6-4342-B048-85BDC9FD1C3A}</a:tableStyleId>
              </a:tblPr>
              <a:tblGrid>
                <a:gridCol w="4014378">
                  <a:extLst>
                    <a:ext uri="{9D8B030D-6E8A-4147-A177-3AD203B41FA5}">
                      <a16:colId xmlns:a16="http://schemas.microsoft.com/office/drawing/2014/main" val="2079036794"/>
                    </a:ext>
                  </a:extLst>
                </a:gridCol>
                <a:gridCol w="5797002">
                  <a:extLst>
                    <a:ext uri="{9D8B030D-6E8A-4147-A177-3AD203B41FA5}">
                      <a16:colId xmlns:a16="http://schemas.microsoft.com/office/drawing/2014/main" val="114252512"/>
                    </a:ext>
                  </a:extLst>
                </a:gridCol>
              </a:tblGrid>
              <a:tr h="741680">
                <a:tc>
                  <a:txBody>
                    <a:bodyPr/>
                    <a:lstStyle/>
                    <a:p>
                      <a:pPr algn="l"/>
                      <a:r>
                        <a:rPr lang="tr-TR" dirty="0" smtClean="0">
                          <a:solidFill>
                            <a:schemeClr val="bg1"/>
                          </a:solidFill>
                        </a:rPr>
                        <a:t>Destek Oranı</a:t>
                      </a:r>
                      <a:endParaRPr lang="tr-TR" dirty="0">
                        <a:solidFill>
                          <a:schemeClr val="bg1"/>
                        </a:solidFill>
                      </a:endParaRPr>
                    </a:p>
                  </a:txBody>
                  <a:tcPr anchor="ctr"/>
                </a:tc>
                <a:tc>
                  <a:txBody>
                    <a:bodyPr/>
                    <a:lstStyle/>
                    <a:p>
                      <a:pPr algn="ctr"/>
                      <a:r>
                        <a:rPr lang="tr-TR" dirty="0" smtClean="0">
                          <a:solidFill>
                            <a:schemeClr val="bg1"/>
                          </a:solidFill>
                        </a:rPr>
                        <a:t>%30’u geri ödemesiz</a:t>
                      </a:r>
                    </a:p>
                    <a:p>
                      <a:pPr marL="0" marR="0" indent="0" algn="ctr" defTabSz="1219275" rtl="0" eaLnBrk="1" fontAlgn="auto" latinLnBrk="0" hangingPunct="1">
                        <a:lnSpc>
                          <a:spcPct val="100000"/>
                        </a:lnSpc>
                        <a:spcBef>
                          <a:spcPts val="0"/>
                        </a:spcBef>
                        <a:spcAft>
                          <a:spcPts val="0"/>
                        </a:spcAft>
                        <a:buClrTx/>
                        <a:buSzTx/>
                        <a:buFontTx/>
                        <a:buNone/>
                        <a:tabLst/>
                        <a:defRPr/>
                      </a:pPr>
                      <a:r>
                        <a:rPr lang="tr-TR" b="1" dirty="0" smtClean="0">
                          <a:solidFill>
                            <a:schemeClr val="bg1"/>
                          </a:solidFill>
                        </a:rPr>
                        <a:t>%70’i geri ödemeli</a:t>
                      </a:r>
                    </a:p>
                  </a:txBody>
                  <a:tcPr anchor="ctr"/>
                </a:tc>
                <a:extLst>
                  <a:ext uri="{0D108BD9-81ED-4DB2-BD59-A6C34878D82A}">
                    <a16:rowId xmlns:a16="http://schemas.microsoft.com/office/drawing/2014/main" val="3363246724"/>
                  </a:ext>
                </a:extLst>
              </a:tr>
            </a:tbl>
          </a:graphicData>
        </a:graphic>
      </p:graphicFrame>
      <p:sp>
        <p:nvSpPr>
          <p:cNvPr id="14" name="Oval 13"/>
          <p:cNvSpPr/>
          <p:nvPr/>
        </p:nvSpPr>
        <p:spPr>
          <a:xfrm>
            <a:off x="4204582" y="1013730"/>
            <a:ext cx="2698466" cy="1923025"/>
          </a:xfrm>
          <a:prstGeom prst="ellipse">
            <a:avLst/>
          </a:pr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15" name="Oval 4"/>
          <p:cNvSpPr txBox="1"/>
          <p:nvPr/>
        </p:nvSpPr>
        <p:spPr>
          <a:xfrm>
            <a:off x="4599763" y="1302118"/>
            <a:ext cx="1908104" cy="1359785"/>
          </a:xfrm>
          <a:prstGeom prst="rect">
            <a:avLst/>
          </a:prstGeom>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tr-TR" sz="2800" kern="1200" dirty="0" smtClean="0">
                <a:latin typeface="Calibri Light" panose="020F0302020204030204"/>
                <a:ea typeface="+mn-ea"/>
                <a:cs typeface="+mn-cs"/>
              </a:rPr>
              <a:t>Toplam</a:t>
            </a:r>
          </a:p>
          <a:p>
            <a:pPr lvl="0" algn="ctr" defTabSz="1244600">
              <a:lnSpc>
                <a:spcPct val="90000"/>
              </a:lnSpc>
              <a:spcBef>
                <a:spcPct val="0"/>
              </a:spcBef>
              <a:spcAft>
                <a:spcPct val="35000"/>
              </a:spcAft>
            </a:pPr>
            <a:r>
              <a:rPr lang="tr-TR" sz="2800" kern="1200" dirty="0" smtClean="0">
                <a:latin typeface="Calibri Light" panose="020F0302020204030204"/>
                <a:ea typeface="+mn-ea"/>
                <a:cs typeface="+mn-cs"/>
              </a:rPr>
              <a:t>5.000.000TL</a:t>
            </a:r>
            <a:endParaRPr lang="tr-TR" sz="2800" kern="1200" dirty="0">
              <a:latin typeface="Calibri Light" panose="020F0302020204030204"/>
              <a:ea typeface="+mn-ea"/>
              <a:cs typeface="+mn-cs"/>
            </a:endParaRPr>
          </a:p>
        </p:txBody>
      </p:sp>
      <p:grpSp>
        <p:nvGrpSpPr>
          <p:cNvPr id="16" name="Grup 15"/>
          <p:cNvGrpSpPr/>
          <p:nvPr/>
        </p:nvGrpSpPr>
        <p:grpSpPr>
          <a:xfrm>
            <a:off x="3119015" y="3492127"/>
            <a:ext cx="2434800" cy="1923025"/>
            <a:chOff x="5417807" y="438997"/>
            <a:chExt cx="2434800" cy="1923025"/>
          </a:xfrm>
          <a:scene3d>
            <a:camera prst="orthographicFront"/>
            <a:lightRig rig="threePt" dir="t">
              <a:rot lat="0" lon="0" rev="7500000"/>
            </a:lightRig>
          </a:scene3d>
        </p:grpSpPr>
        <p:sp>
          <p:nvSpPr>
            <p:cNvPr id="18" name="Oval 17"/>
            <p:cNvSpPr/>
            <p:nvPr/>
          </p:nvSpPr>
          <p:spPr>
            <a:xfrm>
              <a:off x="5417807" y="438997"/>
              <a:ext cx="2434800" cy="1923025"/>
            </a:xfrm>
            <a:prstGeom prst="ellipse">
              <a:avLst/>
            </a:prstGeom>
            <a:sp3d prstMaterial="plastic">
              <a:bevelT w="127000" h="25400" prst="relaxedInset"/>
            </a:sp3d>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19" name="Oval 4"/>
            <p:cNvSpPr txBox="1"/>
            <p:nvPr/>
          </p:nvSpPr>
          <p:spPr>
            <a:xfrm>
              <a:off x="5774375" y="720617"/>
              <a:ext cx="1892064" cy="135978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r>
                <a:rPr lang="tr-TR" sz="2800" kern="1200" dirty="0" smtClean="0">
                  <a:latin typeface="Calibri Light" panose="020F0302020204030204"/>
                  <a:ea typeface="+mn-ea"/>
                  <a:cs typeface="+mn-cs"/>
                </a:rPr>
                <a:t>Destek Oranı %60 *</a:t>
              </a:r>
              <a:endParaRPr lang="tr-TR" sz="2800" kern="1200" dirty="0">
                <a:latin typeface="Calibri Light" panose="020F0302020204030204"/>
                <a:ea typeface="+mn-ea"/>
                <a:cs typeface="+mn-cs"/>
              </a:endParaRPr>
            </a:p>
          </p:txBody>
        </p:sp>
      </p:grpSp>
      <p:sp>
        <p:nvSpPr>
          <p:cNvPr id="20" name="Metin kutusu 19"/>
          <p:cNvSpPr txBox="1"/>
          <p:nvPr/>
        </p:nvSpPr>
        <p:spPr>
          <a:xfrm>
            <a:off x="4920497" y="5372067"/>
            <a:ext cx="6206682" cy="400110"/>
          </a:xfrm>
          <a:prstGeom prst="rect">
            <a:avLst/>
          </a:prstGeom>
          <a:noFill/>
        </p:spPr>
        <p:txBody>
          <a:bodyPr wrap="square" rtlCol="0">
            <a:spAutoFit/>
          </a:bodyPr>
          <a:lstStyle/>
          <a:p>
            <a:pPr algn="ctr" defTabSz="917783" fontAlgn="base">
              <a:spcBef>
                <a:spcPct val="0"/>
              </a:spcBef>
              <a:spcAft>
                <a:spcPct val="0"/>
              </a:spcAft>
              <a:defRPr/>
            </a:pPr>
            <a:r>
              <a:rPr lang="tr-TR" sz="2000" dirty="0" smtClean="0">
                <a:latin typeface="Calibri Light" panose="020F0302020204030204"/>
              </a:rPr>
              <a:t>* </a:t>
            </a:r>
            <a:r>
              <a:rPr kumimoji="0" lang="tr-TR" sz="1807" b="0" i="0" u="none" strike="noStrike" kern="1200" cap="none" spc="0" normalizeH="0" baseline="0" noProof="0" dirty="0" smtClean="0">
                <a:ln>
                  <a:noFill/>
                </a:ln>
                <a:solidFill>
                  <a:prstClr val="black"/>
                </a:solidFill>
                <a:effectLst/>
                <a:uLnTx/>
                <a:uFillTx/>
                <a:latin typeface="Calibri" pitchFamily="34" charset="0"/>
                <a:ea typeface="ヒラギノ角ゴ Pro W3" pitchFamily="1" charset="-128"/>
                <a:cs typeface="+mn-cs"/>
              </a:rPr>
              <a:t>Personel </a:t>
            </a: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gideri </a:t>
            </a:r>
            <a:r>
              <a:rPr kumimoji="0" lang="tr-TR" sz="1807" b="0" i="0" u="none" strike="noStrike" kern="1200" cap="none" spc="0" normalizeH="0" baseline="0" noProof="0" dirty="0" smtClean="0">
                <a:ln>
                  <a:noFill/>
                </a:ln>
                <a:solidFill>
                  <a:prstClr val="black"/>
                </a:solidFill>
                <a:effectLst/>
                <a:uLnTx/>
                <a:uFillTx/>
                <a:latin typeface="Calibri" pitchFamily="34" charset="0"/>
                <a:ea typeface="ヒラギノ角ゴ Pro W3" pitchFamily="1" charset="-128"/>
                <a:cs typeface="+mn-cs"/>
              </a:rPr>
              <a:t>için </a:t>
            </a:r>
            <a:r>
              <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rPr>
              <a:t>%100 oranında </a:t>
            </a:r>
            <a:r>
              <a:rPr kumimoji="0" lang="tr-TR" sz="1807" b="0" i="0" u="none" strike="noStrike" kern="1200" cap="none" spc="0" normalizeH="0" baseline="0" noProof="0" dirty="0" smtClean="0">
                <a:ln>
                  <a:noFill/>
                </a:ln>
                <a:solidFill>
                  <a:prstClr val="black"/>
                </a:solidFill>
                <a:effectLst/>
                <a:uLnTx/>
                <a:uFillTx/>
                <a:latin typeface="Calibri" pitchFamily="34" charset="0"/>
                <a:ea typeface="ヒラギノ角ゴ Pro W3" pitchFamily="1" charset="-128"/>
                <a:cs typeface="+mn-cs"/>
              </a:rPr>
              <a:t>ve geri ödemesiz destek</a:t>
            </a:r>
            <a:endParaRPr kumimoji="0" lang="tr-TR" sz="1807" b="0" i="0" u="none" strike="noStrike" kern="1200" cap="none" spc="0" normalizeH="0" baseline="0" noProof="0" dirty="0">
              <a:ln>
                <a:noFill/>
              </a:ln>
              <a:solidFill>
                <a:prstClr val="black"/>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046868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a:spLocks noChangeAspect="1"/>
          </p:cNvSpPr>
          <p:nvPr/>
        </p:nvSpPr>
        <p:spPr>
          <a:xfrm>
            <a:off x="5161534" y="2482028"/>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6" kern="0" dirty="0">
                <a:solidFill>
                  <a:prstClr val="white"/>
                </a:solidFill>
              </a:rPr>
              <a:t>Makine-teçhizat </a:t>
            </a:r>
            <a:r>
              <a:rPr lang="en-US" sz="1606" kern="0" dirty="0" err="1">
                <a:solidFill>
                  <a:prstClr val="white"/>
                </a:solidFill>
              </a:rPr>
              <a:t>desteği</a:t>
            </a:r>
            <a:endParaRPr lang="en-US" sz="1606" kern="0" dirty="0">
              <a:solidFill>
                <a:prstClr val="white"/>
              </a:solidFill>
            </a:endParaRPr>
          </a:p>
        </p:txBody>
      </p:sp>
      <p:sp>
        <p:nvSpPr>
          <p:cNvPr id="5" name="Freeform 4"/>
          <p:cNvSpPr>
            <a:spLocks noChangeAspect="1"/>
          </p:cNvSpPr>
          <p:nvPr/>
        </p:nvSpPr>
        <p:spPr>
          <a:xfrm>
            <a:off x="3599926" y="3320067"/>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6" kern="0" dirty="0">
                <a:solidFill>
                  <a:prstClr val="white"/>
                </a:solidFill>
              </a:rPr>
              <a:t>Yazılım </a:t>
            </a:r>
            <a:r>
              <a:rPr lang="en-US" sz="1606" kern="0" dirty="0" err="1">
                <a:solidFill>
                  <a:prstClr val="white"/>
                </a:solidFill>
              </a:rPr>
              <a:t>giderleri</a:t>
            </a:r>
            <a:r>
              <a:rPr lang="en-US" sz="1606" kern="0" dirty="0">
                <a:solidFill>
                  <a:prstClr val="white"/>
                </a:solidFill>
              </a:rPr>
              <a:t> </a:t>
            </a:r>
            <a:r>
              <a:rPr lang="en-US" sz="1606" kern="0" dirty="0" err="1">
                <a:solidFill>
                  <a:prstClr val="white"/>
                </a:solidFill>
              </a:rPr>
              <a:t>desteği</a:t>
            </a:r>
            <a:endParaRPr lang="en-US" sz="1606" kern="0" dirty="0">
              <a:solidFill>
                <a:prstClr val="white"/>
              </a:solidFill>
            </a:endParaRPr>
          </a:p>
        </p:txBody>
      </p:sp>
      <p:sp>
        <p:nvSpPr>
          <p:cNvPr id="6" name="Freeform 5"/>
          <p:cNvSpPr>
            <a:spLocks noChangeAspect="1"/>
          </p:cNvSpPr>
          <p:nvPr/>
        </p:nvSpPr>
        <p:spPr>
          <a:xfrm>
            <a:off x="2006963" y="2366960"/>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tr-TR" sz="1807" dirty="0"/>
              <a:t>Personel gideri desteği</a:t>
            </a:r>
            <a:endParaRPr lang="en-US" sz="1606" kern="0" dirty="0">
              <a:solidFill>
                <a:prstClr val="white"/>
              </a:solidFill>
            </a:endParaRPr>
          </a:p>
        </p:txBody>
      </p:sp>
      <p:sp>
        <p:nvSpPr>
          <p:cNvPr id="7" name="Freeform 6"/>
          <p:cNvSpPr>
            <a:spLocks noChangeAspect="1"/>
          </p:cNvSpPr>
          <p:nvPr/>
        </p:nvSpPr>
        <p:spPr>
          <a:xfrm>
            <a:off x="6674641" y="3320067"/>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tr-TR" sz="1807" b="1" u="sng" dirty="0"/>
              <a:t>Referans numune gideri desteği</a:t>
            </a:r>
            <a:endParaRPr lang="en-US" sz="1606" kern="0" dirty="0">
              <a:solidFill>
                <a:prstClr val="white"/>
              </a:solidFill>
            </a:endParaRPr>
          </a:p>
        </p:txBody>
      </p:sp>
      <p:sp>
        <p:nvSpPr>
          <p:cNvPr id="8" name="Freeform 7"/>
          <p:cNvSpPr>
            <a:spLocks noChangeAspect="1"/>
          </p:cNvSpPr>
          <p:nvPr/>
        </p:nvSpPr>
        <p:spPr>
          <a:xfrm>
            <a:off x="8211999" y="2534217"/>
            <a:ext cx="1808672" cy="1571698"/>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tr-TR" sz="1807" dirty="0"/>
              <a:t>Hizmet alımı desteği</a:t>
            </a:r>
            <a:endParaRPr lang="en-US" sz="1606" kern="0" dirty="0">
              <a:solidFill>
                <a:prstClr val="white"/>
              </a:solidFill>
            </a:endParaRPr>
          </a:p>
        </p:txBody>
      </p:sp>
      <p:pic>
        <p:nvPicPr>
          <p:cNvPr id="24" name="Picture 3"/>
          <p:cNvPicPr>
            <a:picLocks noChangeAspect="1" noChangeArrowheads="1"/>
          </p:cNvPicPr>
          <p:nvPr/>
        </p:nvPicPr>
        <p:blipFill>
          <a:blip r:embed="rId4" cstate="print"/>
          <a:srcRect/>
          <a:stretch>
            <a:fillRect/>
          </a:stretch>
        </p:blipFill>
        <p:spPr bwMode="auto">
          <a:xfrm>
            <a:off x="10970036" y="176129"/>
            <a:ext cx="720038" cy="507884"/>
          </a:xfrm>
          <a:prstGeom prst="rect">
            <a:avLst/>
          </a:prstGeom>
          <a:noFill/>
          <a:ln w="9525">
            <a:noFill/>
            <a:miter lim="800000"/>
            <a:headEnd/>
            <a:tailEnd/>
          </a:ln>
        </p:spPr>
      </p:pic>
      <p:sp>
        <p:nvSpPr>
          <p:cNvPr id="12" name="Title 1"/>
          <p:cNvSpPr txBox="1">
            <a:spLocks/>
          </p:cNvSpPr>
          <p:nvPr/>
        </p:nvSpPr>
        <p:spPr>
          <a:xfrm>
            <a:off x="633376" y="430071"/>
            <a:ext cx="10514989" cy="1325487"/>
          </a:xfrm>
          <a:prstGeom prst="rect">
            <a:avLst/>
          </a:prstGeom>
        </p:spPr>
        <p:txBody>
          <a:bodyPr vert="horz" lIns="91434" tIns="45718" rIns="91434" bIns="4571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tr-TR" sz="3613"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rPr>
              <a:t>DESTEK UNSURLARI</a:t>
            </a:r>
            <a:endParaRPr lang="en-US" sz="2409" b="1" dirty="0">
              <a:solidFill>
                <a:srgbClr val="00A3CA"/>
              </a:solidFill>
              <a:effectLst>
                <a:outerShdw blurRad="38100" dist="38100" dir="2700000" algn="tl">
                  <a:srgbClr val="000000">
                    <a:alpha val="43137"/>
                  </a:srgbClr>
                </a:outerShdw>
              </a:effectLst>
              <a:latin typeface="Calibri" pitchFamily="34" charset="0"/>
              <a:ea typeface="ヒラギノ角ゴ Pro W3" pitchFamily="1" charset="-128"/>
              <a:cs typeface="+mn-cs"/>
            </a:endParaRPr>
          </a:p>
        </p:txBody>
      </p:sp>
    </p:spTree>
    <p:custDataLst>
      <p:tags r:id="rId1"/>
    </p:custDataLst>
    <p:extLst>
      <p:ext uri="{BB962C8B-B14F-4D97-AF65-F5344CB8AC3E}">
        <p14:creationId xmlns:p14="http://schemas.microsoft.com/office/powerpoint/2010/main" val="21828403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4"/>
          <p:cNvSpPr>
            <a:spLocks noChangeAspect="1"/>
          </p:cNvSpPr>
          <p:nvPr/>
        </p:nvSpPr>
        <p:spPr>
          <a:xfrm rot="10800000">
            <a:off x="750017" y="1723707"/>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Arc 5"/>
          <p:cNvSpPr>
            <a:spLocks noChangeAspect="1"/>
          </p:cNvSpPr>
          <p:nvPr/>
        </p:nvSpPr>
        <p:spPr>
          <a:xfrm>
            <a:off x="2532031" y="1723709"/>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Arc 8"/>
          <p:cNvSpPr>
            <a:spLocks noChangeAspect="1"/>
          </p:cNvSpPr>
          <p:nvPr/>
        </p:nvSpPr>
        <p:spPr>
          <a:xfrm rot="10800000">
            <a:off x="4314046" y="1723709"/>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Arc 9"/>
          <p:cNvSpPr>
            <a:spLocks noChangeAspect="1"/>
          </p:cNvSpPr>
          <p:nvPr/>
        </p:nvSpPr>
        <p:spPr>
          <a:xfrm>
            <a:off x="6096059" y="1723711"/>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Arc 12"/>
          <p:cNvSpPr>
            <a:spLocks noChangeAspect="1"/>
          </p:cNvSpPr>
          <p:nvPr/>
        </p:nvSpPr>
        <p:spPr>
          <a:xfrm rot="10800000">
            <a:off x="7878074" y="1723711"/>
            <a:ext cx="1781803" cy="1781803"/>
          </a:xfrm>
          <a:prstGeom prst="arc">
            <a:avLst>
              <a:gd name="adj1" fmla="val 10800000"/>
              <a:gd name="adj2" fmla="val 0"/>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Arc 2"/>
          <p:cNvSpPr>
            <a:spLocks noChangeAspect="1"/>
          </p:cNvSpPr>
          <p:nvPr/>
        </p:nvSpPr>
        <p:spPr>
          <a:xfrm>
            <a:off x="750017" y="1723707"/>
            <a:ext cx="1781801" cy="1781802"/>
          </a:xfrm>
          <a:prstGeom prst="arc">
            <a:avLst>
              <a:gd name="adj1" fmla="val 10800000"/>
              <a:gd name="adj2" fmla="val 0"/>
            </a:avLst>
          </a:prstGeom>
          <a:ln w="57150">
            <a:solidFill>
              <a:schemeClr val="tx2">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Arc 6"/>
          <p:cNvSpPr>
            <a:spLocks noChangeAspect="1"/>
          </p:cNvSpPr>
          <p:nvPr/>
        </p:nvSpPr>
        <p:spPr>
          <a:xfrm rot="10800000">
            <a:off x="2532031" y="1723708"/>
            <a:ext cx="1781803" cy="1781803"/>
          </a:xfrm>
          <a:prstGeom prst="arc">
            <a:avLst>
              <a:gd name="adj1" fmla="val 10800000"/>
              <a:gd name="adj2" fmla="val 0"/>
            </a:avLst>
          </a:prstGeom>
          <a:ln w="57150">
            <a:solidFill>
              <a:schemeClr val="accent1">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Arc 7"/>
          <p:cNvSpPr>
            <a:spLocks noChangeAspect="1"/>
          </p:cNvSpPr>
          <p:nvPr/>
        </p:nvSpPr>
        <p:spPr>
          <a:xfrm>
            <a:off x="4314046" y="1723710"/>
            <a:ext cx="1781803" cy="1781803"/>
          </a:xfrm>
          <a:prstGeom prst="arc">
            <a:avLst>
              <a:gd name="adj1" fmla="val 10800000"/>
              <a:gd name="adj2" fmla="val 0"/>
            </a:avLst>
          </a:prstGeom>
          <a:ln w="57150">
            <a:solidFill>
              <a:schemeClr val="accent2">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Arc 10"/>
          <p:cNvSpPr>
            <a:spLocks noChangeAspect="1"/>
          </p:cNvSpPr>
          <p:nvPr/>
        </p:nvSpPr>
        <p:spPr>
          <a:xfrm rot="10800000">
            <a:off x="6096059" y="1723710"/>
            <a:ext cx="1781803" cy="1781803"/>
          </a:xfrm>
          <a:prstGeom prst="arc">
            <a:avLst>
              <a:gd name="adj1" fmla="val 10800000"/>
              <a:gd name="adj2" fmla="val 0"/>
            </a:avLst>
          </a:prstGeom>
          <a:ln w="57150">
            <a:solidFill>
              <a:schemeClr val="accent3">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Arc 11"/>
          <p:cNvSpPr>
            <a:spLocks noChangeAspect="1"/>
          </p:cNvSpPr>
          <p:nvPr/>
        </p:nvSpPr>
        <p:spPr>
          <a:xfrm>
            <a:off x="7878074" y="1723713"/>
            <a:ext cx="1781803" cy="1781803"/>
          </a:xfrm>
          <a:prstGeom prst="arc">
            <a:avLst>
              <a:gd name="adj1" fmla="val 10800000"/>
              <a:gd name="adj2" fmla="val 132161"/>
            </a:avLst>
          </a:prstGeom>
          <a:ln w="57150">
            <a:solidFill>
              <a:schemeClr val="accent4">
                <a:alpha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TextBox 16"/>
          <p:cNvSpPr txBox="1"/>
          <p:nvPr/>
        </p:nvSpPr>
        <p:spPr>
          <a:xfrm>
            <a:off x="710716" y="3589429"/>
            <a:ext cx="1781804" cy="2502112"/>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İşletmey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tır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onu</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ünü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etilm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işk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la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kine-teçhizat</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lıp</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irlikt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ağlanı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lınan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kine-teçhizat</a:t>
            </a:r>
            <a:r>
              <a:rPr kumimoji="0" lang="tr-TR"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ın</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r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l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lg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lgelendirilm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durumu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anın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15</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av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dil</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ir</a:t>
            </a: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19" name="TextBox 18"/>
          <p:cNvSpPr txBox="1"/>
          <p:nvPr/>
        </p:nvSpPr>
        <p:spPr>
          <a:xfrm>
            <a:off x="2488933" y="3589429"/>
            <a:ext cx="1840602" cy="3428821"/>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İşletmey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tır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n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onu</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ünü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üretilm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işki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la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zıl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l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psam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n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alınaca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azılımı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lisans</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d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y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ür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dek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zaman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ınırl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lisans</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ullanı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d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ve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irlikt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ağlanı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lınan </a:t>
            </a:r>
            <a:r>
              <a:rPr kumimoji="0" lang="tr-TR"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yazılımı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rl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malı</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lg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belgelendirilm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urumu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anın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 15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lave</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dilir</a:t>
            </a: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a:p>
            <a:pPr marL="0" marR="0" lvl="0" indent="0" algn="just" defTabSz="914388" rtl="0" eaLnBrk="1" fontAlgn="auto" latinLnBrk="0" hangingPunct="1">
              <a:lnSpc>
                <a:spcPct val="100000"/>
              </a:lnSpc>
              <a:spcBef>
                <a:spcPts val="0"/>
              </a:spcBef>
              <a:spcAft>
                <a:spcPts val="0"/>
              </a:spcAft>
              <a:buClrTx/>
              <a:buSzTx/>
              <a:buFontTx/>
              <a:buNone/>
              <a:tabLst/>
              <a:defRPr/>
            </a:pPr>
            <a:endPar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20" name="TextBox 19"/>
          <p:cNvSpPr txBox="1"/>
          <p:nvPr/>
        </p:nvSpPr>
        <p:spPr>
          <a:xfrm>
            <a:off x="4349003" y="3632841"/>
            <a:ext cx="1781804" cy="1760097"/>
          </a:xfrm>
          <a:prstGeom prst="rect">
            <a:avLst/>
          </a:prstGeom>
          <a:noFill/>
        </p:spPr>
        <p:txBody>
          <a:bodyPr wrap="square" rtlCol="0">
            <a:spAutoFit/>
          </a:bodyPr>
          <a:lstStyle/>
          <a:p>
            <a:pPr marL="0" marR="0" lvl="0" indent="0" algn="just" defTabSz="914388" rtl="0" eaLnBrk="1" fontAlgn="auto" latinLnBrk="0" hangingPunct="1">
              <a:lnSpc>
                <a:spcPct val="100000"/>
              </a:lnSpc>
              <a:spcBef>
                <a:spcPts val="0"/>
              </a:spcBef>
              <a:spcAft>
                <a:spcPts val="0"/>
              </a:spcAft>
              <a:buClrTx/>
              <a:buSzTx/>
              <a:buFontTx/>
              <a:buNone/>
              <a:tabLst/>
              <a:defRPr/>
            </a:pP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Yatırım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rojes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psam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yen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stihdam</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edilec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ersone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için</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verili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Personel</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id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ğ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kapsam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100</a:t>
            </a:r>
            <a:r>
              <a:rPr kumimoji="0" lang="tr-TR" sz="1204" b="1"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oranında</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geri</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ödemesiz</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destek</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r>
              <a:rPr kumimoji="0" lang="en-US" sz="1204" b="0" i="0" u="none" strike="noStrike" kern="1200" cap="none" spc="0" normalizeH="0" baseline="0" noProof="0" dirty="0" err="1">
                <a:ln>
                  <a:noFill/>
                </a:ln>
                <a:solidFill>
                  <a:prstClr val="black"/>
                </a:solidFill>
                <a:effectLst/>
                <a:uLnTx/>
                <a:uFillTx/>
                <a:latin typeface="Calibri"/>
                <a:ea typeface="ヒラギノ角ゴ Pro W3" pitchFamily="1" charset="-128"/>
                <a:cs typeface="+mn-cs"/>
              </a:rPr>
              <a:t>sağlanır</a:t>
            </a:r>
            <a:r>
              <a:rPr kumimoji="0" lang="en-US" sz="1204" b="0" i="0" u="none" strike="noStrike" kern="1200" cap="none" spc="0" normalizeH="0" baseline="0" noProof="0" dirty="0">
                <a:ln>
                  <a:noFill/>
                </a:ln>
                <a:solidFill>
                  <a:prstClr val="black"/>
                </a:solidFill>
                <a:effectLst/>
                <a:uLnTx/>
                <a:uFillTx/>
                <a:latin typeface="Calibri"/>
                <a:ea typeface="ヒラギノ角ゴ Pro W3" pitchFamily="1" charset="-128"/>
                <a:cs typeface="+mn-cs"/>
              </a:rPr>
              <a:t>. </a:t>
            </a:r>
          </a:p>
        </p:txBody>
      </p:sp>
      <p:sp>
        <p:nvSpPr>
          <p:cNvPr id="52" name="TextBox 51"/>
          <p:cNvSpPr txBox="1"/>
          <p:nvPr/>
        </p:nvSpPr>
        <p:spPr>
          <a:xfrm>
            <a:off x="687775" y="1057633"/>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4617B"/>
                </a:solidFill>
                <a:effectLst/>
                <a:uLnTx/>
                <a:uFillTx/>
                <a:latin typeface="Calibri"/>
                <a:ea typeface="ヒラギノ角ゴ Pro W3" pitchFamily="1" charset="-128"/>
                <a:cs typeface="+mn-cs"/>
              </a:rPr>
              <a:t>Makine-teçhizat</a:t>
            </a:r>
            <a:r>
              <a:rPr kumimoji="0" lang="en-US" sz="1400" b="1" i="0" u="none" strike="noStrike" kern="1200" cap="none" spc="0" normalizeH="0" baseline="0" noProof="0" dirty="0">
                <a:ln>
                  <a:noFill/>
                </a:ln>
                <a:solidFill>
                  <a:srgbClr val="04617B"/>
                </a:solidFill>
                <a:effectLst/>
                <a:uLnTx/>
                <a:uFillTx/>
                <a:latin typeface="Calibri"/>
                <a:ea typeface="ヒラギノ角ゴ Pro W3" pitchFamily="1" charset="-128"/>
                <a:cs typeface="+mn-cs"/>
              </a:rPr>
              <a:t> </a:t>
            </a:r>
            <a:r>
              <a:rPr kumimoji="0" lang="en-US" sz="1400" b="1" i="0" u="none" strike="noStrike" kern="1200" cap="none" spc="0" normalizeH="0" baseline="0" noProof="0" dirty="0" err="1">
                <a:ln>
                  <a:noFill/>
                </a:ln>
                <a:solidFill>
                  <a:srgbClr val="04617B"/>
                </a:solidFill>
                <a:effectLst/>
                <a:uLnTx/>
                <a:uFillTx/>
                <a:latin typeface="Calibri"/>
                <a:ea typeface="ヒラギノ角ゴ Pro W3" pitchFamily="1" charset="-128"/>
                <a:cs typeface="+mn-cs"/>
              </a:rPr>
              <a:t>desteği</a:t>
            </a:r>
            <a:endParaRPr kumimoji="0" lang="en-US" sz="1400" b="1" i="0" u="none" strike="noStrike" kern="1200" cap="none" spc="0" normalizeH="0" baseline="0" noProof="0" dirty="0">
              <a:ln>
                <a:noFill/>
              </a:ln>
              <a:solidFill>
                <a:srgbClr val="04617B"/>
              </a:solidFill>
              <a:effectLst/>
              <a:uLnTx/>
              <a:uFillTx/>
              <a:latin typeface="Calibri"/>
              <a:ea typeface="ヒラギノ角ゴ Pro W3" pitchFamily="1" charset="-128"/>
              <a:cs typeface="+mn-cs"/>
            </a:endParaRPr>
          </a:p>
        </p:txBody>
      </p:sp>
      <p:sp>
        <p:nvSpPr>
          <p:cNvPr id="54" name="TextBox 53"/>
          <p:cNvSpPr txBox="1"/>
          <p:nvPr/>
        </p:nvSpPr>
        <p:spPr>
          <a:xfrm>
            <a:off x="2517923" y="1104484"/>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srgbClr val="009DD9"/>
                </a:solidFill>
                <a:effectLst/>
                <a:uLnTx/>
                <a:uFillTx/>
                <a:latin typeface="Calibri"/>
                <a:ea typeface="ヒラギノ角ゴ Pro W3" pitchFamily="1" charset="-128"/>
                <a:cs typeface="+mn-cs"/>
              </a:rPr>
              <a:t>Yazılım Giderleri Desteği</a:t>
            </a:r>
            <a:endParaRPr kumimoji="0" lang="en-US" sz="1400" b="1" i="0" u="none" strike="noStrike" kern="1200" cap="none" spc="0" normalizeH="0" baseline="0" noProof="0" dirty="0">
              <a:ln>
                <a:noFill/>
              </a:ln>
              <a:solidFill>
                <a:srgbClr val="009DD9"/>
              </a:solidFill>
              <a:effectLst/>
              <a:uLnTx/>
              <a:uFillTx/>
              <a:latin typeface="Calibri"/>
              <a:ea typeface="ヒラギノ角ゴ Pro W3" pitchFamily="1" charset="-128"/>
              <a:cs typeface="+mn-cs"/>
            </a:endParaRPr>
          </a:p>
        </p:txBody>
      </p:sp>
      <p:sp>
        <p:nvSpPr>
          <p:cNvPr id="55" name="TextBox 54"/>
          <p:cNvSpPr txBox="1"/>
          <p:nvPr/>
        </p:nvSpPr>
        <p:spPr>
          <a:xfrm>
            <a:off x="4324212" y="1104484"/>
            <a:ext cx="1781801" cy="52359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a:ln>
                  <a:noFill/>
                </a:ln>
                <a:solidFill>
                  <a:srgbClr val="0BD0D9"/>
                </a:solidFill>
                <a:effectLst/>
                <a:uLnTx/>
                <a:uFillTx/>
                <a:latin typeface="Calibri"/>
                <a:ea typeface="ヒラギノ角ゴ Pro W3" pitchFamily="1" charset="-128"/>
                <a:cs typeface="+mn-cs"/>
              </a:rPr>
              <a:t>Personel Gideri Desteği</a:t>
            </a:r>
            <a:endParaRPr kumimoji="0" lang="en-US" sz="1400" b="1" i="0" u="none" strike="noStrike" kern="1200" cap="none" spc="0" normalizeH="0" baseline="0" noProof="0" dirty="0">
              <a:ln>
                <a:noFill/>
              </a:ln>
              <a:solidFill>
                <a:srgbClr val="0BD0D9"/>
              </a:solidFill>
              <a:effectLst/>
              <a:uLnTx/>
              <a:uFillTx/>
              <a:latin typeface="Calibri"/>
              <a:ea typeface="ヒラギノ角ゴ Pro W3" pitchFamily="1" charset="-128"/>
              <a:cs typeface="+mn-cs"/>
            </a:endParaRPr>
          </a:p>
        </p:txBody>
      </p:sp>
      <p:sp>
        <p:nvSpPr>
          <p:cNvPr id="56" name="TextBox 55"/>
          <p:cNvSpPr txBox="1"/>
          <p:nvPr/>
        </p:nvSpPr>
        <p:spPr>
          <a:xfrm>
            <a:off x="5998449" y="1092805"/>
            <a:ext cx="1781801" cy="523220"/>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smtClean="0">
                <a:ln>
                  <a:noFill/>
                </a:ln>
                <a:solidFill>
                  <a:srgbClr val="10CF9B"/>
                </a:solidFill>
                <a:effectLst/>
                <a:uLnTx/>
                <a:uFillTx/>
                <a:latin typeface="Calibri"/>
                <a:ea typeface="ヒラギノ角ゴ Pro W3" pitchFamily="1" charset="-128"/>
                <a:cs typeface="+mn-cs"/>
              </a:rPr>
              <a:t>Referans Numune Gideri Desteği</a:t>
            </a:r>
            <a:endParaRPr kumimoji="0" lang="en-US" sz="1400" b="1" i="0" u="none" strike="noStrike" kern="1200" cap="none" spc="0" normalizeH="0" baseline="0" noProof="0" dirty="0">
              <a:ln>
                <a:noFill/>
              </a:ln>
              <a:solidFill>
                <a:srgbClr val="10CF9B"/>
              </a:solidFill>
              <a:effectLst/>
              <a:uLnTx/>
              <a:uFillTx/>
              <a:latin typeface="Calibri"/>
              <a:ea typeface="ヒラギノ角ゴ Pro W3" pitchFamily="1" charset="-128"/>
              <a:cs typeface="+mn-cs"/>
            </a:endParaRPr>
          </a:p>
        </p:txBody>
      </p:sp>
      <p:sp>
        <p:nvSpPr>
          <p:cNvPr id="57" name="TextBox 56"/>
          <p:cNvSpPr txBox="1"/>
          <p:nvPr/>
        </p:nvSpPr>
        <p:spPr>
          <a:xfrm>
            <a:off x="7855668" y="1104484"/>
            <a:ext cx="1781801" cy="307777"/>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tr-TR" sz="1400" b="1" i="0" u="none" strike="noStrike" kern="1200" cap="none" spc="0" normalizeH="0" baseline="0" noProof="0" dirty="0" smtClean="0">
                <a:ln>
                  <a:noFill/>
                </a:ln>
                <a:solidFill>
                  <a:srgbClr val="7CCA62"/>
                </a:solidFill>
                <a:effectLst/>
                <a:uLnTx/>
                <a:uFillTx/>
                <a:latin typeface="Calibri"/>
                <a:ea typeface="ヒラギノ角ゴ Pro W3" pitchFamily="1" charset="-128"/>
                <a:cs typeface="+mn-cs"/>
              </a:rPr>
              <a:t>Hizmet Alımı Desteği</a:t>
            </a:r>
            <a:endParaRPr kumimoji="0" lang="en-US" sz="1400" b="1" i="0" u="none" strike="noStrike" kern="1200" cap="none" spc="0" normalizeH="0" baseline="0" noProof="0" dirty="0">
              <a:ln>
                <a:noFill/>
              </a:ln>
              <a:solidFill>
                <a:srgbClr val="7CCA62"/>
              </a:solidFill>
              <a:effectLst/>
              <a:uLnTx/>
              <a:uFillTx/>
              <a:latin typeface="Calibri"/>
              <a:ea typeface="ヒラギノ角ゴ Pro W3" pitchFamily="1" charset="-128"/>
              <a:cs typeface="+mn-cs"/>
            </a:endParaRPr>
          </a:p>
        </p:txBody>
      </p:sp>
      <p:sp>
        <p:nvSpPr>
          <p:cNvPr id="61" name="TextBox 60"/>
          <p:cNvSpPr txBox="1"/>
          <p:nvPr/>
        </p:nvSpPr>
        <p:spPr>
          <a:xfrm>
            <a:off x="1090009"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4617B"/>
                </a:solidFill>
                <a:effectLst/>
                <a:uLnTx/>
                <a:uFillTx/>
                <a:latin typeface="Calibri"/>
                <a:ea typeface="ヒラギノ角ゴ Pro W3" pitchFamily="1" charset="-128"/>
                <a:cs typeface="+mn-cs"/>
              </a:rPr>
              <a:t>1</a:t>
            </a:r>
          </a:p>
        </p:txBody>
      </p:sp>
      <p:sp>
        <p:nvSpPr>
          <p:cNvPr id="62" name="TextBox 61"/>
          <p:cNvSpPr txBox="1"/>
          <p:nvPr/>
        </p:nvSpPr>
        <p:spPr>
          <a:xfrm>
            <a:off x="2871811"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F6FC6"/>
                </a:solidFill>
                <a:effectLst/>
                <a:uLnTx/>
                <a:uFillTx/>
                <a:latin typeface="Calibri"/>
                <a:ea typeface="ヒラギノ角ゴ Pro W3" pitchFamily="1" charset="-128"/>
                <a:cs typeface="+mn-cs"/>
              </a:rPr>
              <a:t>2</a:t>
            </a:r>
          </a:p>
        </p:txBody>
      </p:sp>
      <p:sp>
        <p:nvSpPr>
          <p:cNvPr id="63" name="TextBox 62"/>
          <p:cNvSpPr txBox="1"/>
          <p:nvPr/>
        </p:nvSpPr>
        <p:spPr>
          <a:xfrm>
            <a:off x="4661934" y="1704724"/>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DD9"/>
                </a:solidFill>
                <a:effectLst/>
                <a:uLnTx/>
                <a:uFillTx/>
                <a:latin typeface="Calibri"/>
                <a:ea typeface="ヒラギノ角ゴ Pro W3" pitchFamily="1" charset="-128"/>
                <a:cs typeface="+mn-cs"/>
              </a:rPr>
              <a:t>3</a:t>
            </a:r>
          </a:p>
        </p:txBody>
      </p:sp>
      <p:sp>
        <p:nvSpPr>
          <p:cNvPr id="64" name="TextBox 63"/>
          <p:cNvSpPr txBox="1"/>
          <p:nvPr/>
        </p:nvSpPr>
        <p:spPr>
          <a:xfrm>
            <a:off x="6435202" y="1732309"/>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BD0D9"/>
                </a:solidFill>
                <a:effectLst/>
                <a:uLnTx/>
                <a:uFillTx/>
                <a:latin typeface="Calibri"/>
                <a:ea typeface="ヒラギノ角ゴ Pro W3" pitchFamily="1" charset="-128"/>
                <a:cs typeface="+mn-cs"/>
              </a:rPr>
              <a:t>4</a:t>
            </a:r>
          </a:p>
        </p:txBody>
      </p:sp>
      <p:sp>
        <p:nvSpPr>
          <p:cNvPr id="65" name="TextBox 64"/>
          <p:cNvSpPr txBox="1"/>
          <p:nvPr/>
        </p:nvSpPr>
        <p:spPr>
          <a:xfrm>
            <a:off x="8217218" y="1742905"/>
            <a:ext cx="1106359" cy="523189"/>
          </a:xfrm>
          <a:prstGeom prst="rect">
            <a:avLst/>
          </a:prstGeom>
          <a:noFill/>
        </p:spPr>
        <p:txBody>
          <a:bodyPr wrap="square" rtlCol="0">
            <a:spAutoFit/>
          </a:bodyPr>
          <a:lstStyle/>
          <a:p>
            <a:pPr marL="0" marR="0" lvl="0" indent="0" algn="ctr" defTabSz="914388"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0CF9B"/>
                </a:solidFill>
                <a:effectLst/>
                <a:uLnTx/>
                <a:uFillTx/>
                <a:latin typeface="Calibri"/>
                <a:ea typeface="ヒラギノ角ゴ Pro W3" pitchFamily="1" charset="-128"/>
                <a:cs typeface="+mn-cs"/>
              </a:rPr>
              <a:t>5</a:t>
            </a:r>
          </a:p>
        </p:txBody>
      </p:sp>
      <p:sp>
        <p:nvSpPr>
          <p:cNvPr id="67" name="Title 1"/>
          <p:cNvSpPr txBox="1">
            <a:spLocks/>
          </p:cNvSpPr>
          <p:nvPr/>
        </p:nvSpPr>
        <p:spPr>
          <a:xfrm>
            <a:off x="335100" y="-63950"/>
            <a:ext cx="6845488" cy="1114024"/>
          </a:xfrm>
          <a:prstGeom prst="rect">
            <a:avLst/>
          </a:prstGeom>
        </p:spPr>
        <p:txBody>
          <a:bodyPr vert="horz" lIns="91434" tIns="45718" rIns="91434" bIns="4571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j-cs"/>
              </a:rPr>
              <a:t>DESTEK UNSURLARI</a:t>
            </a:r>
            <a:endParaRPr kumimoji="0" lang="en-US" sz="2409"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j-cs"/>
            </a:endParaRPr>
          </a:p>
        </p:txBody>
      </p:sp>
      <p:pic>
        <p:nvPicPr>
          <p:cNvPr id="68" name="Picture 3"/>
          <p:cNvPicPr>
            <a:picLocks noChangeAspect="1" noChangeArrowheads="1"/>
          </p:cNvPicPr>
          <p:nvPr/>
        </p:nvPicPr>
        <p:blipFill>
          <a:blip r:embed="rId24" cstate="print"/>
          <a:srcRect/>
          <a:stretch>
            <a:fillRect/>
          </a:stretch>
        </p:blipFill>
        <p:spPr bwMode="auto">
          <a:xfrm>
            <a:off x="10970036" y="176129"/>
            <a:ext cx="720038" cy="507884"/>
          </a:xfrm>
          <a:prstGeom prst="rect">
            <a:avLst/>
          </a:prstGeom>
          <a:noFill/>
          <a:ln w="9525">
            <a:noFill/>
            <a:miter lim="800000"/>
            <a:headEnd/>
            <a:tailEnd/>
          </a:ln>
        </p:spPr>
      </p:pic>
      <p:grpSp>
        <p:nvGrpSpPr>
          <p:cNvPr id="70" name="POWER_USER_ID_ICONS_Forklift"/>
          <p:cNvGrpSpPr>
            <a:grpSpLocks noChangeAspect="1"/>
          </p:cNvGrpSpPr>
          <p:nvPr>
            <p:custDataLst>
              <p:tags r:id="rId2"/>
            </p:custDataLst>
          </p:nvPr>
        </p:nvGrpSpPr>
        <p:grpSpPr bwMode="auto">
          <a:xfrm>
            <a:off x="1177814" y="2248994"/>
            <a:ext cx="925394" cy="809720"/>
            <a:chOff x="8" y="8"/>
            <a:chExt cx="528" cy="462"/>
          </a:xfrm>
          <a:solidFill>
            <a:schemeClr val="accent2"/>
          </a:solidFill>
        </p:grpSpPr>
        <p:sp>
          <p:nvSpPr>
            <p:cNvPr id="71" name="POWER_USER_ID_ICONS_Forklift"/>
            <p:cNvSpPr>
              <a:spLocks/>
            </p:cNvSpPr>
            <p:nvPr>
              <p:custDataLst>
                <p:tags r:id="rId21"/>
              </p:custDataLst>
            </p:nvPr>
          </p:nvSpPr>
          <p:spPr bwMode="auto">
            <a:xfrm>
              <a:off x="341" y="91"/>
              <a:ext cx="47" cy="47"/>
            </a:xfrm>
            <a:custGeom>
              <a:avLst/>
              <a:gdLst>
                <a:gd name="T0" fmla="*/ 55 w 111"/>
                <a:gd name="T1" fmla="*/ 112 h 112"/>
                <a:gd name="T2" fmla="*/ 111 w 111"/>
                <a:gd name="T3" fmla="*/ 56 h 112"/>
                <a:gd name="T4" fmla="*/ 55 w 111"/>
                <a:gd name="T5" fmla="*/ 0 h 112"/>
                <a:gd name="T6" fmla="*/ 54 w 111"/>
                <a:gd name="T7" fmla="*/ 0 h 112"/>
                <a:gd name="T8" fmla="*/ 0 w 111"/>
                <a:gd name="T9" fmla="*/ 56 h 112"/>
                <a:gd name="T10" fmla="*/ 55 w 111"/>
                <a:gd name="T11" fmla="*/ 112 h 112"/>
              </a:gdLst>
              <a:ahLst/>
              <a:cxnLst>
                <a:cxn ang="0">
                  <a:pos x="T0" y="T1"/>
                </a:cxn>
                <a:cxn ang="0">
                  <a:pos x="T2" y="T3"/>
                </a:cxn>
                <a:cxn ang="0">
                  <a:pos x="T4" y="T5"/>
                </a:cxn>
                <a:cxn ang="0">
                  <a:pos x="T6" y="T7"/>
                </a:cxn>
                <a:cxn ang="0">
                  <a:pos x="T8" y="T9"/>
                </a:cxn>
                <a:cxn ang="0">
                  <a:pos x="T10" y="T11"/>
                </a:cxn>
              </a:cxnLst>
              <a:rect l="0" t="0" r="r" b="b"/>
              <a:pathLst>
                <a:path w="111" h="112">
                  <a:moveTo>
                    <a:pt x="55" y="112"/>
                  </a:moveTo>
                  <a:cubicBezTo>
                    <a:pt x="86" y="112"/>
                    <a:pt x="111" y="87"/>
                    <a:pt x="111" y="56"/>
                  </a:cubicBezTo>
                  <a:cubicBezTo>
                    <a:pt x="111" y="25"/>
                    <a:pt x="86" y="0"/>
                    <a:pt x="55" y="0"/>
                  </a:cubicBezTo>
                  <a:lnTo>
                    <a:pt x="54" y="0"/>
                  </a:lnTo>
                  <a:cubicBezTo>
                    <a:pt x="24" y="1"/>
                    <a:pt x="0" y="26"/>
                    <a:pt x="0" y="56"/>
                  </a:cubicBezTo>
                  <a:cubicBezTo>
                    <a:pt x="0" y="87"/>
                    <a:pt x="25" y="112"/>
                    <a:pt x="55" y="112"/>
                  </a:cubicBezTo>
                  <a:close/>
                </a:path>
              </a:pathLst>
            </a:custGeom>
            <a:solidFill>
              <a:srgbClr val="0070C0"/>
            </a:solid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72" name="POWER_USER_ID_ICONS_Forklift"/>
            <p:cNvSpPr>
              <a:spLocks noEditPoints="1"/>
            </p:cNvSpPr>
            <p:nvPr>
              <p:custDataLst>
                <p:tags r:id="rId22"/>
              </p:custDataLst>
            </p:nvPr>
          </p:nvSpPr>
          <p:spPr bwMode="auto">
            <a:xfrm>
              <a:off x="8" y="8"/>
              <a:ext cx="528" cy="462"/>
            </a:xfrm>
            <a:custGeom>
              <a:avLst/>
              <a:gdLst>
                <a:gd name="T0" fmla="*/ 1202 w 1250"/>
                <a:gd name="T1" fmla="*/ 585 h 1092"/>
                <a:gd name="T2" fmla="*/ 1034 w 1250"/>
                <a:gd name="T3" fmla="*/ 585 h 1092"/>
                <a:gd name="T4" fmla="*/ 1034 w 1250"/>
                <a:gd name="T5" fmla="*/ 162 h 1092"/>
                <a:gd name="T6" fmla="*/ 604 w 1250"/>
                <a:gd name="T7" fmla="*/ 114 h 1092"/>
                <a:gd name="T8" fmla="*/ 560 w 1250"/>
                <a:gd name="T9" fmla="*/ 149 h 1092"/>
                <a:gd name="T10" fmla="*/ 361 w 1250"/>
                <a:gd name="T11" fmla="*/ 822 h 1092"/>
                <a:gd name="T12" fmla="*/ 545 w 1250"/>
                <a:gd name="T13" fmla="*/ 14 h 1092"/>
                <a:gd name="T14" fmla="*/ 202 w 1250"/>
                <a:gd name="T15" fmla="*/ 1005 h 1092"/>
                <a:gd name="T16" fmla="*/ 0 w 1250"/>
                <a:gd name="T17" fmla="*/ 1005 h 1092"/>
                <a:gd name="T18" fmla="*/ 246 w 1250"/>
                <a:gd name="T19" fmla="*/ 1023 h 1092"/>
                <a:gd name="T20" fmla="*/ 451 w 1250"/>
                <a:gd name="T21" fmla="*/ 1092 h 1092"/>
                <a:gd name="T22" fmla="*/ 841 w 1250"/>
                <a:gd name="T23" fmla="*/ 1023 h 1092"/>
                <a:gd name="T24" fmla="*/ 1080 w 1250"/>
                <a:gd name="T25" fmla="*/ 1023 h 1092"/>
                <a:gd name="T26" fmla="*/ 1250 w 1250"/>
                <a:gd name="T27" fmla="*/ 633 h 1092"/>
                <a:gd name="T28" fmla="*/ 606 w 1250"/>
                <a:gd name="T29" fmla="*/ 162 h 1092"/>
                <a:gd name="T30" fmla="*/ 986 w 1250"/>
                <a:gd name="T31" fmla="*/ 162 h 1092"/>
                <a:gd name="T32" fmla="*/ 910 w 1250"/>
                <a:gd name="T33" fmla="*/ 585 h 1092"/>
                <a:gd name="T34" fmla="*/ 924 w 1250"/>
                <a:gd name="T35" fmla="*/ 324 h 1092"/>
                <a:gd name="T36" fmla="*/ 798 w 1250"/>
                <a:gd name="T37" fmla="*/ 312 h 1092"/>
                <a:gd name="T38" fmla="*/ 629 w 1250"/>
                <a:gd name="T39" fmla="*/ 439 h 1092"/>
                <a:gd name="T40" fmla="*/ 735 w 1250"/>
                <a:gd name="T41" fmla="*/ 470 h 1092"/>
                <a:gd name="T42" fmla="*/ 793 w 1250"/>
                <a:gd name="T43" fmla="*/ 541 h 1092"/>
                <a:gd name="T44" fmla="*/ 659 w 1250"/>
                <a:gd name="T45" fmla="*/ 708 h 1092"/>
                <a:gd name="T46" fmla="*/ 605 w 1250"/>
                <a:gd name="T47" fmla="*/ 162 h 1092"/>
                <a:gd name="T48" fmla="*/ 771 w 1250"/>
                <a:gd name="T49" fmla="*/ 633 h 1092"/>
                <a:gd name="T50" fmla="*/ 711 w 1250"/>
                <a:gd name="T51" fmla="*/ 708 h 1092"/>
                <a:gd name="T52" fmla="*/ 771 w 1250"/>
                <a:gd name="T53" fmla="*/ 593 h 1092"/>
                <a:gd name="T54" fmla="*/ 395 w 1250"/>
                <a:gd name="T55" fmla="*/ 992 h 1092"/>
                <a:gd name="T56" fmla="*/ 506 w 1250"/>
                <a:gd name="T57" fmla="*/ 992 h 1092"/>
                <a:gd name="T58" fmla="*/ 960 w 1250"/>
                <a:gd name="T59" fmla="*/ 1041 h 1092"/>
                <a:gd name="T60" fmla="*/ 960 w 1250"/>
                <a:gd name="T61" fmla="*/ 866 h 1092"/>
                <a:gd name="T62" fmla="*/ 960 w 1250"/>
                <a:gd name="T63" fmla="*/ 1041 h 1092"/>
                <a:gd name="T64" fmla="*/ 1097 w 1250"/>
                <a:gd name="T65" fmla="*/ 975 h 1092"/>
                <a:gd name="T66" fmla="*/ 960 w 1250"/>
                <a:gd name="T67" fmla="*/ 815 h 1092"/>
                <a:gd name="T68" fmla="*/ 824 w 1250"/>
                <a:gd name="T69" fmla="*/ 975 h 1092"/>
                <a:gd name="T70" fmla="*/ 451 w 1250"/>
                <a:gd name="T71" fmla="*/ 892 h 1092"/>
                <a:gd name="T72" fmla="*/ 260 w 1250"/>
                <a:gd name="T73" fmla="*/ 975 h 1092"/>
                <a:gd name="T74" fmla="*/ 396 w 1250"/>
                <a:gd name="T75" fmla="*/ 870 h 1092"/>
                <a:gd name="T76" fmla="*/ 819 w 1250"/>
                <a:gd name="T77" fmla="*/ 755 h 1092"/>
                <a:gd name="T78" fmla="*/ 1202 w 1250"/>
                <a:gd name="T79" fmla="*/ 633 h 1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0" h="1092">
                  <a:moveTo>
                    <a:pt x="1250" y="633"/>
                  </a:moveTo>
                  <a:cubicBezTo>
                    <a:pt x="1250" y="606"/>
                    <a:pt x="1229" y="585"/>
                    <a:pt x="1202" y="585"/>
                  </a:cubicBezTo>
                  <a:lnTo>
                    <a:pt x="1202" y="585"/>
                  </a:lnTo>
                  <a:lnTo>
                    <a:pt x="1034" y="585"/>
                  </a:lnTo>
                  <a:lnTo>
                    <a:pt x="1034" y="162"/>
                  </a:lnTo>
                  <a:lnTo>
                    <a:pt x="1034" y="162"/>
                  </a:lnTo>
                  <a:cubicBezTo>
                    <a:pt x="1034" y="136"/>
                    <a:pt x="1013" y="114"/>
                    <a:pt x="986" y="114"/>
                  </a:cubicBezTo>
                  <a:lnTo>
                    <a:pt x="604" y="114"/>
                  </a:lnTo>
                  <a:lnTo>
                    <a:pt x="604" y="115"/>
                  </a:lnTo>
                  <a:cubicBezTo>
                    <a:pt x="583" y="115"/>
                    <a:pt x="566" y="129"/>
                    <a:pt x="560" y="149"/>
                  </a:cubicBezTo>
                  <a:lnTo>
                    <a:pt x="560" y="149"/>
                  </a:lnTo>
                  <a:lnTo>
                    <a:pt x="361" y="822"/>
                  </a:lnTo>
                  <a:lnTo>
                    <a:pt x="306" y="822"/>
                  </a:lnTo>
                  <a:lnTo>
                    <a:pt x="545" y="14"/>
                  </a:lnTo>
                  <a:lnTo>
                    <a:pt x="499" y="0"/>
                  </a:lnTo>
                  <a:lnTo>
                    <a:pt x="202" y="1005"/>
                  </a:lnTo>
                  <a:lnTo>
                    <a:pt x="11" y="959"/>
                  </a:lnTo>
                  <a:lnTo>
                    <a:pt x="0" y="1005"/>
                  </a:lnTo>
                  <a:lnTo>
                    <a:pt x="235" y="1062"/>
                  </a:lnTo>
                  <a:lnTo>
                    <a:pt x="246" y="1023"/>
                  </a:lnTo>
                  <a:lnTo>
                    <a:pt x="355" y="1023"/>
                  </a:lnTo>
                  <a:cubicBezTo>
                    <a:pt x="368" y="1063"/>
                    <a:pt x="406" y="1092"/>
                    <a:pt x="451" y="1092"/>
                  </a:cubicBezTo>
                  <a:cubicBezTo>
                    <a:pt x="495" y="1092"/>
                    <a:pt x="533" y="1063"/>
                    <a:pt x="546" y="1023"/>
                  </a:cubicBezTo>
                  <a:lnTo>
                    <a:pt x="841" y="1023"/>
                  </a:lnTo>
                  <a:cubicBezTo>
                    <a:pt x="864" y="1064"/>
                    <a:pt x="909" y="1092"/>
                    <a:pt x="960" y="1092"/>
                  </a:cubicBezTo>
                  <a:cubicBezTo>
                    <a:pt x="1012" y="1092"/>
                    <a:pt x="1056" y="1064"/>
                    <a:pt x="1080" y="1023"/>
                  </a:cubicBezTo>
                  <a:lnTo>
                    <a:pt x="1250" y="1023"/>
                  </a:lnTo>
                  <a:lnTo>
                    <a:pt x="1250" y="633"/>
                  </a:lnTo>
                  <a:close/>
                  <a:moveTo>
                    <a:pt x="605" y="162"/>
                  </a:moveTo>
                  <a:lnTo>
                    <a:pt x="606" y="162"/>
                  </a:lnTo>
                  <a:lnTo>
                    <a:pt x="606" y="162"/>
                  </a:lnTo>
                  <a:lnTo>
                    <a:pt x="986" y="162"/>
                  </a:lnTo>
                  <a:lnTo>
                    <a:pt x="986" y="585"/>
                  </a:lnTo>
                  <a:lnTo>
                    <a:pt x="910" y="585"/>
                  </a:lnTo>
                  <a:cubicBezTo>
                    <a:pt x="919" y="578"/>
                    <a:pt x="924" y="570"/>
                    <a:pt x="924" y="564"/>
                  </a:cubicBezTo>
                  <a:lnTo>
                    <a:pt x="924" y="324"/>
                  </a:lnTo>
                  <a:cubicBezTo>
                    <a:pt x="921" y="313"/>
                    <a:pt x="911" y="299"/>
                    <a:pt x="906" y="298"/>
                  </a:cubicBezTo>
                  <a:cubicBezTo>
                    <a:pt x="885" y="323"/>
                    <a:pt x="845" y="334"/>
                    <a:pt x="798" y="312"/>
                  </a:cubicBezTo>
                  <a:cubicBezTo>
                    <a:pt x="798" y="312"/>
                    <a:pt x="747" y="382"/>
                    <a:pt x="702" y="420"/>
                  </a:cubicBezTo>
                  <a:cubicBezTo>
                    <a:pt x="693" y="424"/>
                    <a:pt x="629" y="439"/>
                    <a:pt x="629" y="439"/>
                  </a:cubicBezTo>
                  <a:lnTo>
                    <a:pt x="639" y="489"/>
                  </a:lnTo>
                  <a:lnTo>
                    <a:pt x="735" y="470"/>
                  </a:lnTo>
                  <a:lnTo>
                    <a:pt x="793" y="406"/>
                  </a:lnTo>
                  <a:lnTo>
                    <a:pt x="793" y="541"/>
                  </a:lnTo>
                  <a:lnTo>
                    <a:pt x="659" y="541"/>
                  </a:lnTo>
                  <a:lnTo>
                    <a:pt x="659" y="708"/>
                  </a:lnTo>
                  <a:lnTo>
                    <a:pt x="444" y="708"/>
                  </a:lnTo>
                  <a:lnTo>
                    <a:pt x="605" y="162"/>
                  </a:lnTo>
                  <a:close/>
                  <a:moveTo>
                    <a:pt x="771" y="593"/>
                  </a:moveTo>
                  <a:lnTo>
                    <a:pt x="771" y="633"/>
                  </a:lnTo>
                  <a:lnTo>
                    <a:pt x="771" y="708"/>
                  </a:lnTo>
                  <a:lnTo>
                    <a:pt x="711" y="708"/>
                  </a:lnTo>
                  <a:lnTo>
                    <a:pt x="711" y="593"/>
                  </a:lnTo>
                  <a:lnTo>
                    <a:pt x="771" y="593"/>
                  </a:lnTo>
                  <a:close/>
                  <a:moveTo>
                    <a:pt x="451" y="1048"/>
                  </a:moveTo>
                  <a:cubicBezTo>
                    <a:pt x="420" y="1048"/>
                    <a:pt x="395" y="1023"/>
                    <a:pt x="395" y="992"/>
                  </a:cubicBezTo>
                  <a:cubicBezTo>
                    <a:pt x="395" y="961"/>
                    <a:pt x="420" y="936"/>
                    <a:pt x="451" y="936"/>
                  </a:cubicBezTo>
                  <a:cubicBezTo>
                    <a:pt x="481" y="936"/>
                    <a:pt x="506" y="961"/>
                    <a:pt x="506" y="992"/>
                  </a:cubicBezTo>
                  <a:cubicBezTo>
                    <a:pt x="506" y="1023"/>
                    <a:pt x="481" y="1048"/>
                    <a:pt x="451" y="1048"/>
                  </a:cubicBezTo>
                  <a:close/>
                  <a:moveTo>
                    <a:pt x="960" y="1041"/>
                  </a:moveTo>
                  <a:cubicBezTo>
                    <a:pt x="912" y="1041"/>
                    <a:pt x="873" y="1002"/>
                    <a:pt x="873" y="954"/>
                  </a:cubicBezTo>
                  <a:cubicBezTo>
                    <a:pt x="873" y="906"/>
                    <a:pt x="912" y="866"/>
                    <a:pt x="960" y="866"/>
                  </a:cubicBezTo>
                  <a:cubicBezTo>
                    <a:pt x="1009" y="866"/>
                    <a:pt x="1048" y="906"/>
                    <a:pt x="1048" y="954"/>
                  </a:cubicBezTo>
                  <a:cubicBezTo>
                    <a:pt x="1048" y="1002"/>
                    <a:pt x="1009" y="1041"/>
                    <a:pt x="960" y="1041"/>
                  </a:cubicBezTo>
                  <a:close/>
                  <a:moveTo>
                    <a:pt x="1202" y="975"/>
                  </a:moveTo>
                  <a:lnTo>
                    <a:pt x="1097" y="975"/>
                  </a:lnTo>
                  <a:cubicBezTo>
                    <a:pt x="1098" y="968"/>
                    <a:pt x="1099" y="961"/>
                    <a:pt x="1099" y="954"/>
                  </a:cubicBezTo>
                  <a:cubicBezTo>
                    <a:pt x="1099" y="877"/>
                    <a:pt x="1037" y="815"/>
                    <a:pt x="960" y="815"/>
                  </a:cubicBezTo>
                  <a:cubicBezTo>
                    <a:pt x="884" y="815"/>
                    <a:pt x="822" y="877"/>
                    <a:pt x="822" y="954"/>
                  </a:cubicBezTo>
                  <a:cubicBezTo>
                    <a:pt x="822" y="961"/>
                    <a:pt x="823" y="968"/>
                    <a:pt x="824" y="975"/>
                  </a:cubicBezTo>
                  <a:lnTo>
                    <a:pt x="549" y="975"/>
                  </a:lnTo>
                  <a:cubicBezTo>
                    <a:pt x="541" y="928"/>
                    <a:pt x="500" y="892"/>
                    <a:pt x="451" y="892"/>
                  </a:cubicBezTo>
                  <a:cubicBezTo>
                    <a:pt x="401" y="892"/>
                    <a:pt x="360" y="928"/>
                    <a:pt x="352" y="975"/>
                  </a:cubicBezTo>
                  <a:lnTo>
                    <a:pt x="260" y="975"/>
                  </a:lnTo>
                  <a:lnTo>
                    <a:pt x="291" y="870"/>
                  </a:lnTo>
                  <a:lnTo>
                    <a:pt x="396" y="870"/>
                  </a:lnTo>
                  <a:lnTo>
                    <a:pt x="430" y="755"/>
                  </a:lnTo>
                  <a:lnTo>
                    <a:pt x="819" y="755"/>
                  </a:lnTo>
                  <a:lnTo>
                    <a:pt x="819" y="633"/>
                  </a:lnTo>
                  <a:lnTo>
                    <a:pt x="1202" y="633"/>
                  </a:lnTo>
                  <a:lnTo>
                    <a:pt x="1202" y="975"/>
                  </a:lnTo>
                  <a:close/>
                </a:path>
              </a:pathLst>
            </a:custGeom>
            <a:solidFill>
              <a:srgbClr val="0070C0"/>
            </a:solid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83" name="POWER_USER_ID_ICONS_Gears"/>
          <p:cNvGrpSpPr>
            <a:grpSpLocks noChangeAspect="1"/>
          </p:cNvGrpSpPr>
          <p:nvPr>
            <p:custDataLst>
              <p:tags r:id="rId3"/>
            </p:custDataLst>
          </p:nvPr>
        </p:nvGrpSpPr>
        <p:grpSpPr bwMode="auto">
          <a:xfrm>
            <a:off x="6606899" y="2291478"/>
            <a:ext cx="774133" cy="826088"/>
            <a:chOff x="8" y="8"/>
            <a:chExt cx="447" cy="477"/>
          </a:xfrm>
          <a:solidFill>
            <a:schemeClr val="bg1">
              <a:lumMod val="50000"/>
            </a:schemeClr>
          </a:solidFill>
        </p:grpSpPr>
        <p:sp>
          <p:nvSpPr>
            <p:cNvPr id="84" name="POWER_USER_ID_ICONS_Gears"/>
            <p:cNvSpPr>
              <a:spLocks noEditPoints="1"/>
            </p:cNvSpPr>
            <p:nvPr>
              <p:custDataLst>
                <p:tags r:id="rId17"/>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85" name="POWER_USER_ID_ICONS_Gears"/>
            <p:cNvSpPr>
              <a:spLocks noEditPoints="1"/>
            </p:cNvSpPr>
            <p:nvPr>
              <p:custDataLst>
                <p:tags r:id="rId18"/>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86" name="POWER_USER_ID_ICONS_Gears"/>
            <p:cNvSpPr>
              <a:spLocks noEditPoints="1"/>
            </p:cNvSpPr>
            <p:nvPr>
              <p:custDataLst>
                <p:tags r:id="rId19"/>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87" name="POWER_USER_ID_ICONS_Gears"/>
            <p:cNvSpPr>
              <a:spLocks noEditPoints="1"/>
            </p:cNvSpPr>
            <p:nvPr>
              <p:custDataLst>
                <p:tags r:id="rId20"/>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88" name="POWER_USER_ID_ICONS_Laptop"/>
          <p:cNvGrpSpPr>
            <a:grpSpLocks noChangeAspect="1"/>
          </p:cNvGrpSpPr>
          <p:nvPr>
            <p:custDataLst>
              <p:tags r:id="rId4"/>
            </p:custDataLst>
          </p:nvPr>
        </p:nvGrpSpPr>
        <p:grpSpPr bwMode="auto">
          <a:xfrm>
            <a:off x="2843146" y="2174900"/>
            <a:ext cx="1096492" cy="807552"/>
            <a:chOff x="24" y="83"/>
            <a:chExt cx="444" cy="327"/>
          </a:xfrm>
          <a:solidFill>
            <a:srgbClr val="C00000"/>
          </a:solidFill>
        </p:grpSpPr>
        <p:sp>
          <p:nvSpPr>
            <p:cNvPr id="89" name="POWER_USER_ID_ICONS_Laptop"/>
            <p:cNvSpPr>
              <a:spLocks noEditPoints="1"/>
            </p:cNvSpPr>
            <p:nvPr>
              <p:custDataLst>
                <p:tags r:id="rId10"/>
              </p:custDataLst>
            </p:nvPr>
          </p:nvSpPr>
          <p:spPr bwMode="auto">
            <a:xfrm>
              <a:off x="36" y="83"/>
              <a:ext cx="420" cy="291"/>
            </a:xfrm>
            <a:custGeom>
              <a:avLst/>
              <a:gdLst>
                <a:gd name="T0" fmla="*/ 931 w 996"/>
                <a:gd name="T1" fmla="*/ 0 h 689"/>
                <a:gd name="T2" fmla="*/ 64 w 996"/>
                <a:gd name="T3" fmla="*/ 0 h 689"/>
                <a:gd name="T4" fmla="*/ 0 w 996"/>
                <a:gd name="T5" fmla="*/ 64 h 689"/>
                <a:gd name="T6" fmla="*/ 0 w 996"/>
                <a:gd name="T7" fmla="*/ 627 h 689"/>
                <a:gd name="T8" fmla="*/ 44 w 996"/>
                <a:gd name="T9" fmla="*/ 687 h 689"/>
                <a:gd name="T10" fmla="*/ 81 w 996"/>
                <a:gd name="T11" fmla="*/ 656 h 689"/>
                <a:gd name="T12" fmla="*/ 131 w 996"/>
                <a:gd name="T13" fmla="*/ 656 h 689"/>
                <a:gd name="T14" fmla="*/ 170 w 996"/>
                <a:gd name="T15" fmla="*/ 689 h 689"/>
                <a:gd name="T16" fmla="*/ 171 w 996"/>
                <a:gd name="T17" fmla="*/ 689 h 689"/>
                <a:gd name="T18" fmla="*/ 210 w 996"/>
                <a:gd name="T19" fmla="*/ 656 h 689"/>
                <a:gd name="T20" fmla="*/ 260 w 996"/>
                <a:gd name="T21" fmla="*/ 656 h 689"/>
                <a:gd name="T22" fmla="*/ 299 w 996"/>
                <a:gd name="T23" fmla="*/ 689 h 689"/>
                <a:gd name="T24" fmla="*/ 311 w 996"/>
                <a:gd name="T25" fmla="*/ 689 h 689"/>
                <a:gd name="T26" fmla="*/ 353 w 996"/>
                <a:gd name="T27" fmla="*/ 656 h 689"/>
                <a:gd name="T28" fmla="*/ 645 w 996"/>
                <a:gd name="T29" fmla="*/ 656 h 689"/>
                <a:gd name="T30" fmla="*/ 686 w 996"/>
                <a:gd name="T31" fmla="*/ 689 h 689"/>
                <a:gd name="T32" fmla="*/ 699 w 996"/>
                <a:gd name="T33" fmla="*/ 689 h 689"/>
                <a:gd name="T34" fmla="*/ 738 w 996"/>
                <a:gd name="T35" fmla="*/ 656 h 689"/>
                <a:gd name="T36" fmla="*/ 788 w 996"/>
                <a:gd name="T37" fmla="*/ 656 h 689"/>
                <a:gd name="T38" fmla="*/ 826 w 996"/>
                <a:gd name="T39" fmla="*/ 689 h 689"/>
                <a:gd name="T40" fmla="*/ 823 w 996"/>
                <a:gd name="T41" fmla="*/ 689 h 689"/>
                <a:gd name="T42" fmla="*/ 861 w 996"/>
                <a:gd name="T43" fmla="*/ 656 h 689"/>
                <a:gd name="T44" fmla="*/ 911 w 996"/>
                <a:gd name="T45" fmla="*/ 656 h 689"/>
                <a:gd name="T46" fmla="*/ 949 w 996"/>
                <a:gd name="T47" fmla="*/ 688 h 689"/>
                <a:gd name="T48" fmla="*/ 996 w 996"/>
                <a:gd name="T49" fmla="*/ 626 h 689"/>
                <a:gd name="T50" fmla="*/ 996 w 996"/>
                <a:gd name="T51" fmla="*/ 64 h 689"/>
                <a:gd name="T52" fmla="*/ 931 w 996"/>
                <a:gd name="T53" fmla="*/ 0 h 689"/>
                <a:gd name="T54" fmla="*/ 945 w 996"/>
                <a:gd name="T55" fmla="*/ 613 h 689"/>
                <a:gd name="T56" fmla="*/ 924 w 996"/>
                <a:gd name="T57" fmla="*/ 634 h 689"/>
                <a:gd name="T58" fmla="*/ 71 w 996"/>
                <a:gd name="T59" fmla="*/ 634 h 689"/>
                <a:gd name="T60" fmla="*/ 50 w 996"/>
                <a:gd name="T61" fmla="*/ 613 h 689"/>
                <a:gd name="T62" fmla="*/ 50 w 996"/>
                <a:gd name="T63" fmla="*/ 78 h 689"/>
                <a:gd name="T64" fmla="*/ 71 w 996"/>
                <a:gd name="T65" fmla="*/ 57 h 689"/>
                <a:gd name="T66" fmla="*/ 924 w 996"/>
                <a:gd name="T67" fmla="*/ 57 h 689"/>
                <a:gd name="T68" fmla="*/ 945 w 996"/>
                <a:gd name="T69" fmla="*/ 78 h 689"/>
                <a:gd name="T70" fmla="*/ 945 w 996"/>
                <a:gd name="T71" fmla="*/ 613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6" h="689">
                  <a:moveTo>
                    <a:pt x="931" y="0"/>
                  </a:moveTo>
                  <a:lnTo>
                    <a:pt x="64" y="0"/>
                  </a:lnTo>
                  <a:cubicBezTo>
                    <a:pt x="29" y="0"/>
                    <a:pt x="0" y="29"/>
                    <a:pt x="0" y="64"/>
                  </a:cubicBezTo>
                  <a:lnTo>
                    <a:pt x="0" y="627"/>
                  </a:lnTo>
                  <a:cubicBezTo>
                    <a:pt x="0" y="655"/>
                    <a:pt x="19" y="679"/>
                    <a:pt x="44" y="687"/>
                  </a:cubicBezTo>
                  <a:cubicBezTo>
                    <a:pt x="48" y="669"/>
                    <a:pt x="63" y="656"/>
                    <a:pt x="81" y="656"/>
                  </a:cubicBezTo>
                  <a:lnTo>
                    <a:pt x="131" y="656"/>
                  </a:lnTo>
                  <a:cubicBezTo>
                    <a:pt x="150" y="656"/>
                    <a:pt x="166" y="670"/>
                    <a:pt x="170" y="689"/>
                  </a:cubicBezTo>
                  <a:lnTo>
                    <a:pt x="171" y="689"/>
                  </a:lnTo>
                  <a:cubicBezTo>
                    <a:pt x="174" y="670"/>
                    <a:pt x="190" y="656"/>
                    <a:pt x="210" y="656"/>
                  </a:cubicBezTo>
                  <a:lnTo>
                    <a:pt x="260" y="656"/>
                  </a:lnTo>
                  <a:cubicBezTo>
                    <a:pt x="279" y="656"/>
                    <a:pt x="295" y="670"/>
                    <a:pt x="299" y="689"/>
                  </a:cubicBezTo>
                  <a:lnTo>
                    <a:pt x="311" y="689"/>
                  </a:lnTo>
                  <a:cubicBezTo>
                    <a:pt x="315" y="670"/>
                    <a:pt x="333" y="656"/>
                    <a:pt x="353" y="656"/>
                  </a:cubicBezTo>
                  <a:lnTo>
                    <a:pt x="645" y="656"/>
                  </a:lnTo>
                  <a:cubicBezTo>
                    <a:pt x="665" y="656"/>
                    <a:pt x="683" y="670"/>
                    <a:pt x="686" y="689"/>
                  </a:cubicBezTo>
                  <a:lnTo>
                    <a:pt x="699" y="689"/>
                  </a:lnTo>
                  <a:cubicBezTo>
                    <a:pt x="701" y="670"/>
                    <a:pt x="718" y="656"/>
                    <a:pt x="738" y="656"/>
                  </a:cubicBezTo>
                  <a:lnTo>
                    <a:pt x="788" y="656"/>
                  </a:lnTo>
                  <a:cubicBezTo>
                    <a:pt x="806" y="656"/>
                    <a:pt x="823" y="670"/>
                    <a:pt x="826" y="689"/>
                  </a:cubicBezTo>
                  <a:lnTo>
                    <a:pt x="823" y="689"/>
                  </a:lnTo>
                  <a:cubicBezTo>
                    <a:pt x="825" y="670"/>
                    <a:pt x="841" y="656"/>
                    <a:pt x="861" y="656"/>
                  </a:cubicBezTo>
                  <a:lnTo>
                    <a:pt x="911" y="656"/>
                  </a:lnTo>
                  <a:cubicBezTo>
                    <a:pt x="930" y="656"/>
                    <a:pt x="945" y="670"/>
                    <a:pt x="949" y="688"/>
                  </a:cubicBezTo>
                  <a:cubicBezTo>
                    <a:pt x="976" y="680"/>
                    <a:pt x="996" y="656"/>
                    <a:pt x="996" y="626"/>
                  </a:cubicBezTo>
                  <a:lnTo>
                    <a:pt x="996" y="64"/>
                  </a:lnTo>
                  <a:cubicBezTo>
                    <a:pt x="995" y="29"/>
                    <a:pt x="966" y="0"/>
                    <a:pt x="931" y="0"/>
                  </a:cubicBezTo>
                  <a:close/>
                  <a:moveTo>
                    <a:pt x="945" y="613"/>
                  </a:moveTo>
                  <a:cubicBezTo>
                    <a:pt x="945" y="624"/>
                    <a:pt x="935" y="634"/>
                    <a:pt x="924" y="634"/>
                  </a:cubicBezTo>
                  <a:lnTo>
                    <a:pt x="71" y="634"/>
                  </a:lnTo>
                  <a:cubicBezTo>
                    <a:pt x="60" y="634"/>
                    <a:pt x="50" y="624"/>
                    <a:pt x="50" y="613"/>
                  </a:cubicBezTo>
                  <a:lnTo>
                    <a:pt x="50" y="78"/>
                  </a:lnTo>
                  <a:cubicBezTo>
                    <a:pt x="50" y="67"/>
                    <a:pt x="60" y="57"/>
                    <a:pt x="71" y="57"/>
                  </a:cubicBezTo>
                  <a:lnTo>
                    <a:pt x="924" y="57"/>
                  </a:lnTo>
                  <a:cubicBezTo>
                    <a:pt x="935" y="57"/>
                    <a:pt x="945" y="67"/>
                    <a:pt x="945" y="78"/>
                  </a:cubicBezTo>
                  <a:lnTo>
                    <a:pt x="945" y="613"/>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0" name="POWER_USER_ID_ICONS_Laptop"/>
            <p:cNvSpPr>
              <a:spLocks/>
            </p:cNvSpPr>
            <p:nvPr>
              <p:custDataLst>
                <p:tags r:id="rId11"/>
              </p:custDataLst>
            </p:nvPr>
          </p:nvSpPr>
          <p:spPr bwMode="auto">
            <a:xfrm>
              <a:off x="24" y="382"/>
              <a:ext cx="444" cy="28"/>
            </a:xfrm>
            <a:custGeom>
              <a:avLst/>
              <a:gdLst>
                <a:gd name="T0" fmla="*/ 1051 w 1052"/>
                <a:gd name="T1" fmla="*/ 26 h 65"/>
                <a:gd name="T2" fmla="*/ 1024 w 1052"/>
                <a:gd name="T3" fmla="*/ 0 h 65"/>
                <a:gd name="T4" fmla="*/ 27 w 1052"/>
                <a:gd name="T5" fmla="*/ 0 h 65"/>
                <a:gd name="T6" fmla="*/ 0 w 1052"/>
                <a:gd name="T7" fmla="*/ 26 h 65"/>
                <a:gd name="T8" fmla="*/ 0 w 1052"/>
                <a:gd name="T9" fmla="*/ 39 h 65"/>
                <a:gd name="T10" fmla="*/ 27 w 1052"/>
                <a:gd name="T11" fmla="*/ 65 h 65"/>
                <a:gd name="T12" fmla="*/ 1026 w 1052"/>
                <a:gd name="T13" fmla="*/ 65 h 65"/>
                <a:gd name="T14" fmla="*/ 1052 w 1052"/>
                <a:gd name="T15" fmla="*/ 39 h 65"/>
                <a:gd name="T16" fmla="*/ 1052 w 1052"/>
                <a:gd name="T17" fmla="*/ 26 h 65"/>
                <a:gd name="T18" fmla="*/ 1051 w 1052"/>
                <a:gd name="T19" fmla="*/ 2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5">
                  <a:moveTo>
                    <a:pt x="1051" y="26"/>
                  </a:moveTo>
                  <a:cubicBezTo>
                    <a:pt x="1051" y="12"/>
                    <a:pt x="1039" y="0"/>
                    <a:pt x="1024" y="0"/>
                  </a:cubicBezTo>
                  <a:lnTo>
                    <a:pt x="27" y="0"/>
                  </a:lnTo>
                  <a:cubicBezTo>
                    <a:pt x="13" y="0"/>
                    <a:pt x="0" y="11"/>
                    <a:pt x="0" y="26"/>
                  </a:cubicBezTo>
                  <a:lnTo>
                    <a:pt x="0" y="39"/>
                  </a:lnTo>
                  <a:cubicBezTo>
                    <a:pt x="0" y="52"/>
                    <a:pt x="12" y="65"/>
                    <a:pt x="27" y="65"/>
                  </a:cubicBezTo>
                  <a:lnTo>
                    <a:pt x="1026" y="65"/>
                  </a:lnTo>
                  <a:cubicBezTo>
                    <a:pt x="1039" y="65"/>
                    <a:pt x="1052" y="53"/>
                    <a:pt x="1052" y="39"/>
                  </a:cubicBezTo>
                  <a:lnTo>
                    <a:pt x="1052" y="26"/>
                  </a:lnTo>
                  <a:lnTo>
                    <a:pt x="1051" y="26"/>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1" name="POWER_USER_ID_ICONS_Laptop"/>
            <p:cNvSpPr>
              <a:spLocks/>
            </p:cNvSpPr>
            <p:nvPr>
              <p:custDataLst>
                <p:tags r:id="rId12"/>
              </p:custDataLst>
            </p:nvPr>
          </p:nvSpPr>
          <p:spPr bwMode="auto">
            <a:xfrm>
              <a:off x="173" y="368"/>
              <a:ext cx="145" cy="10"/>
            </a:xfrm>
            <a:custGeom>
              <a:avLst/>
              <a:gdLst>
                <a:gd name="T0" fmla="*/ 316 w 343"/>
                <a:gd name="T1" fmla="*/ 0 h 24"/>
                <a:gd name="T2" fmla="*/ 25 w 343"/>
                <a:gd name="T3" fmla="*/ 0 h 24"/>
                <a:gd name="T4" fmla="*/ 0 w 343"/>
                <a:gd name="T5" fmla="*/ 24 h 24"/>
                <a:gd name="T6" fmla="*/ 343 w 343"/>
                <a:gd name="T7" fmla="*/ 24 h 24"/>
                <a:gd name="T8" fmla="*/ 316 w 343"/>
                <a:gd name="T9" fmla="*/ 0 h 24"/>
              </a:gdLst>
              <a:ahLst/>
              <a:cxnLst>
                <a:cxn ang="0">
                  <a:pos x="T0" y="T1"/>
                </a:cxn>
                <a:cxn ang="0">
                  <a:pos x="T2" y="T3"/>
                </a:cxn>
                <a:cxn ang="0">
                  <a:pos x="T4" y="T5"/>
                </a:cxn>
                <a:cxn ang="0">
                  <a:pos x="T6" y="T7"/>
                </a:cxn>
                <a:cxn ang="0">
                  <a:pos x="T8" y="T9"/>
                </a:cxn>
              </a:cxnLst>
              <a:rect l="0" t="0" r="r" b="b"/>
              <a:pathLst>
                <a:path w="343" h="24">
                  <a:moveTo>
                    <a:pt x="316" y="0"/>
                  </a:moveTo>
                  <a:lnTo>
                    <a:pt x="25" y="0"/>
                  </a:lnTo>
                  <a:cubicBezTo>
                    <a:pt x="11" y="0"/>
                    <a:pt x="1" y="10"/>
                    <a:pt x="0" y="24"/>
                  </a:cubicBezTo>
                  <a:lnTo>
                    <a:pt x="343" y="24"/>
                  </a:lnTo>
                  <a:cubicBezTo>
                    <a:pt x="341" y="10"/>
                    <a:pt x="330" y="0"/>
                    <a:pt x="316"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2" name="POWER_USER_ID_ICONS_Laptop"/>
            <p:cNvSpPr>
              <a:spLocks/>
            </p:cNvSpPr>
            <p:nvPr>
              <p:custDataLst>
                <p:tags r:id="rId13"/>
              </p:custDataLst>
            </p:nvPr>
          </p:nvSpPr>
          <p:spPr bwMode="auto">
            <a:xfrm>
              <a:off x="336" y="368"/>
              <a:ext cx="40" cy="10"/>
            </a:xfrm>
            <a:custGeom>
              <a:avLst/>
              <a:gdLst>
                <a:gd name="T0" fmla="*/ 72 w 94"/>
                <a:gd name="T1" fmla="*/ 0 h 23"/>
                <a:gd name="T2" fmla="*/ 22 w 94"/>
                <a:gd name="T3" fmla="*/ 0 h 23"/>
                <a:gd name="T4" fmla="*/ 0 w 94"/>
                <a:gd name="T5" fmla="*/ 21 h 23"/>
                <a:gd name="T6" fmla="*/ 0 w 94"/>
                <a:gd name="T7" fmla="*/ 23 h 23"/>
                <a:gd name="T8" fmla="*/ 93 w 94"/>
                <a:gd name="T9" fmla="*/ 23 h 23"/>
                <a:gd name="T10" fmla="*/ 93 w 94"/>
                <a:gd name="T11" fmla="*/ 21 h 23"/>
                <a:gd name="T12" fmla="*/ 72 w 9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4" h="23">
                  <a:moveTo>
                    <a:pt x="72" y="0"/>
                  </a:moveTo>
                  <a:lnTo>
                    <a:pt x="22" y="0"/>
                  </a:lnTo>
                  <a:cubicBezTo>
                    <a:pt x="9" y="0"/>
                    <a:pt x="0" y="10"/>
                    <a:pt x="0" y="21"/>
                  </a:cubicBezTo>
                  <a:lnTo>
                    <a:pt x="0" y="23"/>
                  </a:lnTo>
                  <a:lnTo>
                    <a:pt x="93" y="23"/>
                  </a:lnTo>
                  <a:lnTo>
                    <a:pt x="93" y="21"/>
                  </a:lnTo>
                  <a:cubicBezTo>
                    <a:pt x="94" y="10"/>
                    <a:pt x="84" y="0"/>
                    <a:pt x="72"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3" name="POWER_USER_ID_ICONS_Laptop"/>
            <p:cNvSpPr>
              <a:spLocks/>
            </p:cNvSpPr>
            <p:nvPr>
              <p:custDataLst>
                <p:tags r:id="rId14"/>
              </p:custDataLst>
            </p:nvPr>
          </p:nvSpPr>
          <p:spPr bwMode="auto">
            <a:xfrm>
              <a:off x="390" y="368"/>
              <a:ext cx="39" cy="10"/>
            </a:xfrm>
            <a:custGeom>
              <a:avLst/>
              <a:gdLst>
                <a:gd name="T0" fmla="*/ 92 w 92"/>
                <a:gd name="T1" fmla="*/ 21 h 23"/>
                <a:gd name="T2" fmla="*/ 71 w 92"/>
                <a:gd name="T3" fmla="*/ 0 h 23"/>
                <a:gd name="T4" fmla="*/ 21 w 92"/>
                <a:gd name="T5" fmla="*/ 0 h 23"/>
                <a:gd name="T6" fmla="*/ 0 w 92"/>
                <a:gd name="T7" fmla="*/ 21 h 23"/>
                <a:gd name="T8" fmla="*/ 0 w 92"/>
                <a:gd name="T9" fmla="*/ 23 h 23"/>
                <a:gd name="T10" fmla="*/ 92 w 92"/>
                <a:gd name="T11" fmla="*/ 23 h 23"/>
                <a:gd name="T12" fmla="*/ 92 w 92"/>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92" h="23">
                  <a:moveTo>
                    <a:pt x="92" y="21"/>
                  </a:moveTo>
                  <a:cubicBezTo>
                    <a:pt x="92" y="9"/>
                    <a:pt x="82" y="0"/>
                    <a:pt x="71" y="0"/>
                  </a:cubicBezTo>
                  <a:lnTo>
                    <a:pt x="21" y="0"/>
                  </a:lnTo>
                  <a:cubicBezTo>
                    <a:pt x="9" y="0"/>
                    <a:pt x="0" y="10"/>
                    <a:pt x="0" y="21"/>
                  </a:cubicBezTo>
                  <a:lnTo>
                    <a:pt x="0" y="23"/>
                  </a:lnTo>
                  <a:lnTo>
                    <a:pt x="92" y="23"/>
                  </a:lnTo>
                  <a:lnTo>
                    <a:pt x="92" y="21"/>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4" name="POWER_USER_ID_ICONS_Laptop"/>
            <p:cNvSpPr>
              <a:spLocks/>
            </p:cNvSpPr>
            <p:nvPr>
              <p:custDataLst>
                <p:tags r:id="rId15"/>
              </p:custDataLst>
            </p:nvPr>
          </p:nvSpPr>
          <p:spPr bwMode="auto">
            <a:xfrm>
              <a:off x="61" y="368"/>
              <a:ext cx="39" cy="10"/>
            </a:xfrm>
            <a:custGeom>
              <a:avLst/>
              <a:gdLst>
                <a:gd name="T0" fmla="*/ 71 w 92"/>
                <a:gd name="T1" fmla="*/ 0 h 23"/>
                <a:gd name="T2" fmla="*/ 21 w 92"/>
                <a:gd name="T3" fmla="*/ 0 h 23"/>
                <a:gd name="T4" fmla="*/ 0 w 92"/>
                <a:gd name="T5" fmla="*/ 21 h 23"/>
                <a:gd name="T6" fmla="*/ 0 w 92"/>
                <a:gd name="T7" fmla="*/ 23 h 23"/>
                <a:gd name="T8" fmla="*/ 92 w 92"/>
                <a:gd name="T9" fmla="*/ 23 h 23"/>
                <a:gd name="T10" fmla="*/ 92 w 92"/>
                <a:gd name="T11" fmla="*/ 21 h 23"/>
                <a:gd name="T12" fmla="*/ 71 w 9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2" h="23">
                  <a:moveTo>
                    <a:pt x="71" y="0"/>
                  </a:moveTo>
                  <a:lnTo>
                    <a:pt x="21" y="0"/>
                  </a:lnTo>
                  <a:cubicBezTo>
                    <a:pt x="9" y="0"/>
                    <a:pt x="0" y="10"/>
                    <a:pt x="0" y="21"/>
                  </a:cubicBezTo>
                  <a:lnTo>
                    <a:pt x="0" y="23"/>
                  </a:lnTo>
                  <a:lnTo>
                    <a:pt x="92" y="23"/>
                  </a:lnTo>
                  <a:lnTo>
                    <a:pt x="92" y="21"/>
                  </a:lnTo>
                  <a:cubicBezTo>
                    <a:pt x="92" y="10"/>
                    <a:pt x="83" y="0"/>
                    <a:pt x="71"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5" name="POWER_USER_ID_ICONS_Laptop"/>
            <p:cNvSpPr>
              <a:spLocks/>
            </p:cNvSpPr>
            <p:nvPr>
              <p:custDataLst>
                <p:tags r:id="rId16"/>
              </p:custDataLst>
            </p:nvPr>
          </p:nvSpPr>
          <p:spPr bwMode="auto">
            <a:xfrm>
              <a:off x="114" y="368"/>
              <a:ext cx="40" cy="10"/>
            </a:xfrm>
            <a:custGeom>
              <a:avLst/>
              <a:gdLst>
                <a:gd name="T0" fmla="*/ 72 w 94"/>
                <a:gd name="T1" fmla="*/ 0 h 23"/>
                <a:gd name="T2" fmla="*/ 22 w 94"/>
                <a:gd name="T3" fmla="*/ 0 h 23"/>
                <a:gd name="T4" fmla="*/ 0 w 94"/>
                <a:gd name="T5" fmla="*/ 21 h 23"/>
                <a:gd name="T6" fmla="*/ 0 w 94"/>
                <a:gd name="T7" fmla="*/ 23 h 23"/>
                <a:gd name="T8" fmla="*/ 93 w 94"/>
                <a:gd name="T9" fmla="*/ 23 h 23"/>
                <a:gd name="T10" fmla="*/ 93 w 94"/>
                <a:gd name="T11" fmla="*/ 21 h 23"/>
                <a:gd name="T12" fmla="*/ 72 w 9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4" h="23">
                  <a:moveTo>
                    <a:pt x="72" y="0"/>
                  </a:moveTo>
                  <a:lnTo>
                    <a:pt x="22" y="0"/>
                  </a:lnTo>
                  <a:cubicBezTo>
                    <a:pt x="9" y="0"/>
                    <a:pt x="0" y="10"/>
                    <a:pt x="0" y="21"/>
                  </a:cubicBezTo>
                  <a:lnTo>
                    <a:pt x="0" y="23"/>
                  </a:lnTo>
                  <a:lnTo>
                    <a:pt x="93" y="23"/>
                  </a:lnTo>
                  <a:lnTo>
                    <a:pt x="93" y="21"/>
                  </a:lnTo>
                  <a:cubicBezTo>
                    <a:pt x="94" y="10"/>
                    <a:pt x="84" y="0"/>
                    <a:pt x="72"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96" name="POWER_USER_ID_ICONS_Main_Office"/>
          <p:cNvGrpSpPr>
            <a:grpSpLocks noChangeAspect="1"/>
          </p:cNvGrpSpPr>
          <p:nvPr>
            <p:custDataLst>
              <p:tags r:id="rId5"/>
            </p:custDataLst>
          </p:nvPr>
        </p:nvGrpSpPr>
        <p:grpSpPr bwMode="auto">
          <a:xfrm flipH="1">
            <a:off x="4794332" y="2257520"/>
            <a:ext cx="819924" cy="707035"/>
            <a:chOff x="8" y="8"/>
            <a:chExt cx="552" cy="476"/>
          </a:xfrm>
          <a:solidFill>
            <a:schemeClr val="accent3">
              <a:lumMod val="75000"/>
            </a:schemeClr>
          </a:solidFill>
        </p:grpSpPr>
        <p:sp>
          <p:nvSpPr>
            <p:cNvPr id="97" name="POWER_USER_ID_ICONS_Main_Office"/>
            <p:cNvSpPr>
              <a:spLocks noEditPoints="1"/>
            </p:cNvSpPr>
            <p:nvPr>
              <p:custDataLst>
                <p:tags r:id="rId7"/>
              </p:custDataLst>
            </p:nvPr>
          </p:nvSpPr>
          <p:spPr bwMode="auto">
            <a:xfrm>
              <a:off x="8" y="254"/>
              <a:ext cx="552" cy="230"/>
            </a:xfrm>
            <a:custGeom>
              <a:avLst/>
              <a:gdLst>
                <a:gd name="T0" fmla="*/ 1181 w 1250"/>
                <a:gd name="T1" fmla="*/ 0 h 520"/>
                <a:gd name="T2" fmla="*/ 69 w 1250"/>
                <a:gd name="T3" fmla="*/ 0 h 520"/>
                <a:gd name="T4" fmla="*/ 0 w 1250"/>
                <a:gd name="T5" fmla="*/ 0 h 520"/>
                <a:gd name="T6" fmla="*/ 0 w 1250"/>
                <a:gd name="T7" fmla="*/ 86 h 520"/>
                <a:gd name="T8" fmla="*/ 69 w 1250"/>
                <a:gd name="T9" fmla="*/ 86 h 520"/>
                <a:gd name="T10" fmla="*/ 69 w 1250"/>
                <a:gd name="T11" fmla="*/ 520 h 520"/>
                <a:gd name="T12" fmla="*/ 1181 w 1250"/>
                <a:gd name="T13" fmla="*/ 520 h 520"/>
                <a:gd name="T14" fmla="*/ 1181 w 1250"/>
                <a:gd name="T15" fmla="*/ 86 h 520"/>
                <a:gd name="T16" fmla="*/ 1250 w 1250"/>
                <a:gd name="T17" fmla="*/ 86 h 520"/>
                <a:gd name="T18" fmla="*/ 1250 w 1250"/>
                <a:gd name="T19" fmla="*/ 0 h 520"/>
                <a:gd name="T20" fmla="*/ 1181 w 1250"/>
                <a:gd name="T21" fmla="*/ 0 h 520"/>
                <a:gd name="T22" fmla="*/ 727 w 1250"/>
                <a:gd name="T23" fmla="*/ 418 h 520"/>
                <a:gd name="T24" fmla="*/ 625 w 1250"/>
                <a:gd name="T25" fmla="*/ 344 h 520"/>
                <a:gd name="T26" fmla="*/ 523 w 1250"/>
                <a:gd name="T27" fmla="*/ 418 h 520"/>
                <a:gd name="T28" fmla="*/ 562 w 1250"/>
                <a:gd name="T29" fmla="*/ 298 h 520"/>
                <a:gd name="T30" fmla="*/ 460 w 1250"/>
                <a:gd name="T31" fmla="*/ 224 h 520"/>
                <a:gd name="T32" fmla="*/ 586 w 1250"/>
                <a:gd name="T33" fmla="*/ 224 h 520"/>
                <a:gd name="T34" fmla="*/ 625 w 1250"/>
                <a:gd name="T35" fmla="*/ 104 h 520"/>
                <a:gd name="T36" fmla="*/ 664 w 1250"/>
                <a:gd name="T37" fmla="*/ 224 h 520"/>
                <a:gd name="T38" fmla="*/ 790 w 1250"/>
                <a:gd name="T39" fmla="*/ 224 h 520"/>
                <a:gd name="T40" fmla="*/ 688 w 1250"/>
                <a:gd name="T41" fmla="*/ 298 h 520"/>
                <a:gd name="T42" fmla="*/ 727 w 1250"/>
                <a:gd name="T43" fmla="*/ 418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0" h="520">
                  <a:moveTo>
                    <a:pt x="1181" y="0"/>
                  </a:moveTo>
                  <a:lnTo>
                    <a:pt x="69" y="0"/>
                  </a:lnTo>
                  <a:lnTo>
                    <a:pt x="0" y="0"/>
                  </a:lnTo>
                  <a:lnTo>
                    <a:pt x="0" y="86"/>
                  </a:lnTo>
                  <a:lnTo>
                    <a:pt x="69" y="86"/>
                  </a:lnTo>
                  <a:lnTo>
                    <a:pt x="69" y="520"/>
                  </a:lnTo>
                  <a:lnTo>
                    <a:pt x="1181" y="520"/>
                  </a:lnTo>
                  <a:lnTo>
                    <a:pt x="1181" y="86"/>
                  </a:lnTo>
                  <a:lnTo>
                    <a:pt x="1250" y="86"/>
                  </a:lnTo>
                  <a:lnTo>
                    <a:pt x="1250" y="0"/>
                  </a:lnTo>
                  <a:lnTo>
                    <a:pt x="1181" y="0"/>
                  </a:lnTo>
                  <a:close/>
                  <a:moveTo>
                    <a:pt x="727" y="418"/>
                  </a:moveTo>
                  <a:lnTo>
                    <a:pt x="625" y="344"/>
                  </a:lnTo>
                  <a:lnTo>
                    <a:pt x="523" y="418"/>
                  </a:lnTo>
                  <a:lnTo>
                    <a:pt x="562" y="298"/>
                  </a:lnTo>
                  <a:lnTo>
                    <a:pt x="460" y="224"/>
                  </a:lnTo>
                  <a:lnTo>
                    <a:pt x="586" y="224"/>
                  </a:lnTo>
                  <a:lnTo>
                    <a:pt x="625" y="104"/>
                  </a:lnTo>
                  <a:lnTo>
                    <a:pt x="664" y="224"/>
                  </a:lnTo>
                  <a:lnTo>
                    <a:pt x="790" y="224"/>
                  </a:lnTo>
                  <a:lnTo>
                    <a:pt x="688" y="298"/>
                  </a:lnTo>
                  <a:lnTo>
                    <a:pt x="727" y="418"/>
                  </a:ln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8" name="POWER_USER_ID_ICONS_Main_Office"/>
            <p:cNvSpPr>
              <a:spLocks noChangeArrowheads="1"/>
            </p:cNvSpPr>
            <p:nvPr>
              <p:custDataLst>
                <p:tags r:id="rId8"/>
              </p:custDataLst>
            </p:nvPr>
          </p:nvSpPr>
          <p:spPr bwMode="auto">
            <a:xfrm>
              <a:off x="238" y="8"/>
              <a:ext cx="92" cy="92"/>
            </a:xfrm>
            <a:prstGeom prst="ellipse">
              <a:avLst/>
            </a:pr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99" name="POWER_USER_ID_ICONS_Main_Office"/>
            <p:cNvSpPr>
              <a:spLocks/>
            </p:cNvSpPr>
            <p:nvPr>
              <p:custDataLst>
                <p:tags r:id="rId9"/>
              </p:custDataLst>
            </p:nvPr>
          </p:nvSpPr>
          <p:spPr bwMode="auto">
            <a:xfrm>
              <a:off x="169" y="115"/>
              <a:ext cx="230" cy="123"/>
            </a:xfrm>
            <a:custGeom>
              <a:avLst/>
              <a:gdLst>
                <a:gd name="T0" fmla="*/ 399 w 520"/>
                <a:gd name="T1" fmla="*/ 0 h 278"/>
                <a:gd name="T2" fmla="*/ 121 w 520"/>
                <a:gd name="T3" fmla="*/ 0 h 278"/>
                <a:gd name="T4" fmla="*/ 0 w 520"/>
                <a:gd name="T5" fmla="*/ 122 h 278"/>
                <a:gd name="T6" fmla="*/ 0 w 520"/>
                <a:gd name="T7" fmla="*/ 243 h 278"/>
                <a:gd name="T8" fmla="*/ 0 w 520"/>
                <a:gd name="T9" fmla="*/ 278 h 278"/>
                <a:gd name="T10" fmla="*/ 86 w 520"/>
                <a:gd name="T11" fmla="*/ 278 h 278"/>
                <a:gd name="T12" fmla="*/ 86 w 520"/>
                <a:gd name="T13" fmla="*/ 243 h 278"/>
                <a:gd name="T14" fmla="*/ 86 w 520"/>
                <a:gd name="T15" fmla="*/ 139 h 278"/>
                <a:gd name="T16" fmla="*/ 121 w 520"/>
                <a:gd name="T17" fmla="*/ 139 h 278"/>
                <a:gd name="T18" fmla="*/ 121 w 520"/>
                <a:gd name="T19" fmla="*/ 243 h 278"/>
                <a:gd name="T20" fmla="*/ 121 w 520"/>
                <a:gd name="T21" fmla="*/ 278 h 278"/>
                <a:gd name="T22" fmla="*/ 399 w 520"/>
                <a:gd name="T23" fmla="*/ 278 h 278"/>
                <a:gd name="T24" fmla="*/ 399 w 520"/>
                <a:gd name="T25" fmla="*/ 243 h 278"/>
                <a:gd name="T26" fmla="*/ 399 w 520"/>
                <a:gd name="T27" fmla="*/ 139 h 278"/>
                <a:gd name="T28" fmla="*/ 434 w 520"/>
                <a:gd name="T29" fmla="*/ 139 h 278"/>
                <a:gd name="T30" fmla="*/ 434 w 520"/>
                <a:gd name="T31" fmla="*/ 243 h 278"/>
                <a:gd name="T32" fmla="*/ 434 w 520"/>
                <a:gd name="T33" fmla="*/ 278 h 278"/>
                <a:gd name="T34" fmla="*/ 520 w 520"/>
                <a:gd name="T35" fmla="*/ 278 h 278"/>
                <a:gd name="T36" fmla="*/ 520 w 520"/>
                <a:gd name="T37" fmla="*/ 243 h 278"/>
                <a:gd name="T38" fmla="*/ 520 w 520"/>
                <a:gd name="T39" fmla="*/ 122 h 278"/>
                <a:gd name="T40" fmla="*/ 399 w 520"/>
                <a:gd name="T41"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0" h="278">
                  <a:moveTo>
                    <a:pt x="399" y="0"/>
                  </a:moveTo>
                  <a:lnTo>
                    <a:pt x="121" y="0"/>
                  </a:lnTo>
                  <a:cubicBezTo>
                    <a:pt x="34" y="0"/>
                    <a:pt x="0" y="70"/>
                    <a:pt x="0" y="122"/>
                  </a:cubicBezTo>
                  <a:lnTo>
                    <a:pt x="0" y="243"/>
                  </a:lnTo>
                  <a:lnTo>
                    <a:pt x="0" y="278"/>
                  </a:lnTo>
                  <a:lnTo>
                    <a:pt x="86" y="278"/>
                  </a:lnTo>
                  <a:lnTo>
                    <a:pt x="86" y="243"/>
                  </a:lnTo>
                  <a:lnTo>
                    <a:pt x="86" y="139"/>
                  </a:lnTo>
                  <a:lnTo>
                    <a:pt x="121" y="139"/>
                  </a:lnTo>
                  <a:lnTo>
                    <a:pt x="121" y="243"/>
                  </a:lnTo>
                  <a:lnTo>
                    <a:pt x="121" y="278"/>
                  </a:lnTo>
                  <a:lnTo>
                    <a:pt x="399" y="278"/>
                  </a:lnTo>
                  <a:lnTo>
                    <a:pt x="399" y="243"/>
                  </a:lnTo>
                  <a:lnTo>
                    <a:pt x="399" y="139"/>
                  </a:lnTo>
                  <a:lnTo>
                    <a:pt x="434" y="139"/>
                  </a:lnTo>
                  <a:lnTo>
                    <a:pt x="434" y="243"/>
                  </a:lnTo>
                  <a:lnTo>
                    <a:pt x="434" y="278"/>
                  </a:lnTo>
                  <a:lnTo>
                    <a:pt x="520" y="278"/>
                  </a:lnTo>
                  <a:lnTo>
                    <a:pt x="520" y="243"/>
                  </a:lnTo>
                  <a:lnTo>
                    <a:pt x="520" y="122"/>
                  </a:lnTo>
                  <a:cubicBezTo>
                    <a:pt x="520" y="70"/>
                    <a:pt x="486" y="0"/>
                    <a:pt x="399" y="0"/>
                  </a:cubicBezTo>
                  <a:close/>
                </a:path>
              </a:pathLst>
            </a:custGeom>
            <a:grpFill/>
            <a:ln w="0">
              <a:noFill/>
              <a:prstDash val="solid"/>
              <a:round/>
              <a:headEnd/>
              <a:tailEnd/>
            </a:ln>
          </p:spPr>
          <p:txBody>
            <a:bodyPr vert="horz" wrap="square" lIns="91775" tIns="45887" rIns="91775" bIns="45887" numCol="1" anchor="t" anchorCtr="0" compatLnSpc="1">
              <a:prstTxWarp prst="textNoShape">
                <a:avLst/>
              </a:prstTxWarp>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sp>
        <p:nvSpPr>
          <p:cNvPr id="101" name="Business_People3"/>
          <p:cNvSpPr>
            <a:spLocks noChangeAspect="1"/>
          </p:cNvSpPr>
          <p:nvPr>
            <p:custDataLst>
              <p:tags r:id="rId6"/>
            </p:custDataLst>
          </p:nvPr>
        </p:nvSpPr>
        <p:spPr bwMode="auto">
          <a:xfrm>
            <a:off x="8429840" y="2188187"/>
            <a:ext cx="730443" cy="954048"/>
          </a:xfrm>
          <a:custGeom>
            <a:avLst/>
            <a:gdLst>
              <a:gd name="connsiteX0" fmla="*/ 865613 w 2208433"/>
              <a:gd name="connsiteY0" fmla="*/ 1682726 h 2884488"/>
              <a:gd name="connsiteX1" fmla="*/ 866321 w 2208433"/>
              <a:gd name="connsiteY1" fmla="*/ 1704565 h 2884488"/>
              <a:gd name="connsiteX2" fmla="*/ 789393 w 2208433"/>
              <a:gd name="connsiteY2" fmla="*/ 1963819 h 2884488"/>
              <a:gd name="connsiteX3" fmla="*/ 876381 w 2208433"/>
              <a:gd name="connsiteY3" fmla="*/ 1971514 h 2884488"/>
              <a:gd name="connsiteX4" fmla="*/ 926215 w 2208433"/>
              <a:gd name="connsiteY4" fmla="*/ 1963293 h 2884488"/>
              <a:gd name="connsiteX5" fmla="*/ 919070 w 2208433"/>
              <a:gd name="connsiteY5" fmla="*/ 1737369 h 2884488"/>
              <a:gd name="connsiteX6" fmla="*/ 905769 w 2208433"/>
              <a:gd name="connsiteY6" fmla="*/ 1736436 h 2884488"/>
              <a:gd name="connsiteX7" fmla="*/ 892172 w 2208433"/>
              <a:gd name="connsiteY7" fmla="*/ 1728167 h 2884488"/>
              <a:gd name="connsiteX8" fmla="*/ 880348 w 2208433"/>
              <a:gd name="connsiteY8" fmla="*/ 1696274 h 2884488"/>
              <a:gd name="connsiteX9" fmla="*/ 867342 w 2208433"/>
              <a:gd name="connsiteY9" fmla="*/ 1683280 h 2884488"/>
              <a:gd name="connsiteX10" fmla="*/ 1058756 w 2208433"/>
              <a:gd name="connsiteY10" fmla="*/ 1643194 h 2884488"/>
              <a:gd name="connsiteX11" fmla="*/ 1059247 w 2208433"/>
              <a:gd name="connsiteY11" fmla="*/ 1654350 h 2884488"/>
              <a:gd name="connsiteX12" fmla="*/ 1061428 w 2208433"/>
              <a:gd name="connsiteY12" fmla="*/ 1661003 h 2884488"/>
              <a:gd name="connsiteX13" fmla="*/ 1062361 w 2208433"/>
              <a:gd name="connsiteY13" fmla="*/ 1682247 h 2884488"/>
              <a:gd name="connsiteX14" fmla="*/ 1061988 w 2208433"/>
              <a:gd name="connsiteY14" fmla="*/ 1716610 h 2884488"/>
              <a:gd name="connsiteX15" fmla="*/ 1071681 w 2208433"/>
              <a:gd name="connsiteY15" fmla="*/ 1936797 h 2884488"/>
              <a:gd name="connsiteX16" fmla="*/ 1074500 w 2208433"/>
              <a:gd name="connsiteY16" fmla="*/ 1936157 h 2884488"/>
              <a:gd name="connsiteX17" fmla="*/ 1119001 w 2208433"/>
              <a:gd name="connsiteY17" fmla="*/ 1915875 h 2884488"/>
              <a:gd name="connsiteX18" fmla="*/ 1106008 w 2208433"/>
              <a:gd name="connsiteY18" fmla="*/ 1829854 h 2884488"/>
              <a:gd name="connsiteX19" fmla="*/ 1160857 w 2208433"/>
              <a:gd name="connsiteY19" fmla="*/ 1837531 h 2884488"/>
              <a:gd name="connsiteX20" fmla="*/ 1207548 w 2208433"/>
              <a:gd name="connsiteY20" fmla="*/ 1812208 h 2884488"/>
              <a:gd name="connsiteX21" fmla="*/ 1345848 w 2208433"/>
              <a:gd name="connsiteY21" fmla="*/ 1859910 h 2884488"/>
              <a:gd name="connsiteX22" fmla="*/ 1479421 w 2208433"/>
              <a:gd name="connsiteY22" fmla="*/ 1882289 h 2884488"/>
              <a:gd name="connsiteX23" fmla="*/ 1547389 w 2208433"/>
              <a:gd name="connsiteY23" fmla="*/ 1892300 h 2884488"/>
              <a:gd name="connsiteX24" fmla="*/ 1706375 w 2208433"/>
              <a:gd name="connsiteY24" fmla="*/ 1823398 h 2884488"/>
              <a:gd name="connsiteX25" fmla="*/ 1200196 w 2208433"/>
              <a:gd name="connsiteY25" fmla="*/ 1766926 h 2884488"/>
              <a:gd name="connsiteX26" fmla="*/ 1203138 w 2208433"/>
              <a:gd name="connsiteY26" fmla="*/ 1774826 h 2884488"/>
              <a:gd name="connsiteX27" fmla="*/ 1153478 w 2208433"/>
              <a:gd name="connsiteY27" fmla="*/ 1768920 h 2884488"/>
              <a:gd name="connsiteX28" fmla="*/ 1150427 w 2208433"/>
              <a:gd name="connsiteY28" fmla="*/ 1761374 h 2884488"/>
              <a:gd name="connsiteX29" fmla="*/ 1094725 w 2208433"/>
              <a:gd name="connsiteY29" fmla="*/ 1755159 h 2884488"/>
              <a:gd name="connsiteX30" fmla="*/ 1080538 w 2208433"/>
              <a:gd name="connsiteY30" fmla="*/ 1661239 h 2884488"/>
              <a:gd name="connsiteX31" fmla="*/ 1062435 w 2208433"/>
              <a:gd name="connsiteY31" fmla="*/ 1646071 h 2884488"/>
              <a:gd name="connsiteX32" fmla="*/ 1516881 w 2208433"/>
              <a:gd name="connsiteY32" fmla="*/ 1057046 h 2884488"/>
              <a:gd name="connsiteX33" fmla="*/ 1481659 w 2208433"/>
              <a:gd name="connsiteY33" fmla="*/ 1080602 h 2884488"/>
              <a:gd name="connsiteX34" fmla="*/ 1481773 w 2208433"/>
              <a:gd name="connsiteY34" fmla="*/ 1089589 h 2884488"/>
              <a:gd name="connsiteX35" fmla="*/ 1480754 w 2208433"/>
              <a:gd name="connsiteY35" fmla="*/ 1080499 h 2884488"/>
              <a:gd name="connsiteX36" fmla="*/ 860404 w 2208433"/>
              <a:gd name="connsiteY36" fmla="*/ 495300 h 2884488"/>
              <a:gd name="connsiteX37" fmla="*/ 836142 w 2208433"/>
              <a:gd name="connsiteY37" fmla="*/ 529631 h 2884488"/>
              <a:gd name="connsiteX38" fmla="*/ 816614 w 2208433"/>
              <a:gd name="connsiteY38" fmla="*/ 529039 h 2884488"/>
              <a:gd name="connsiteX39" fmla="*/ 855392 w 2208433"/>
              <a:gd name="connsiteY39" fmla="*/ 1367817 h 2884488"/>
              <a:gd name="connsiteX40" fmla="*/ 860030 w 2208433"/>
              <a:gd name="connsiteY40" fmla="*/ 1510704 h 2884488"/>
              <a:gd name="connsiteX41" fmla="*/ 871480 w 2208433"/>
              <a:gd name="connsiteY41" fmla="*/ 1500188 h 2884488"/>
              <a:gd name="connsiteX42" fmla="*/ 904596 w 2208433"/>
              <a:gd name="connsiteY42" fmla="*/ 1509850 h 2884488"/>
              <a:gd name="connsiteX43" fmla="*/ 911955 w 2208433"/>
              <a:gd name="connsiteY43" fmla="*/ 1512368 h 2884488"/>
              <a:gd name="connsiteX44" fmla="*/ 911627 w 2208433"/>
              <a:gd name="connsiteY44" fmla="*/ 1502004 h 2884488"/>
              <a:gd name="connsiteX45" fmla="*/ 917573 w 2208433"/>
              <a:gd name="connsiteY45" fmla="*/ 943459 h 2884488"/>
              <a:gd name="connsiteX46" fmla="*/ 906275 w 2208433"/>
              <a:gd name="connsiteY46" fmla="*/ 807964 h 2884488"/>
              <a:gd name="connsiteX47" fmla="*/ 967520 w 2208433"/>
              <a:gd name="connsiteY47" fmla="*/ 763588 h 2884488"/>
              <a:gd name="connsiteX48" fmla="*/ 1027576 w 2208433"/>
              <a:gd name="connsiteY48" fmla="*/ 764771 h 2884488"/>
              <a:gd name="connsiteX49" fmla="*/ 1055523 w 2208433"/>
              <a:gd name="connsiteY49" fmla="*/ 785480 h 2884488"/>
              <a:gd name="connsiteX50" fmla="*/ 1000818 w 2208433"/>
              <a:gd name="connsiteY50" fmla="*/ 852340 h 2884488"/>
              <a:gd name="connsiteX51" fmla="*/ 1013900 w 2208433"/>
              <a:gd name="connsiteY51" fmla="*/ 915058 h 2884488"/>
              <a:gd name="connsiteX52" fmla="*/ 1034117 w 2208433"/>
              <a:gd name="connsiteY52" fmla="*/ 1019785 h 2884488"/>
              <a:gd name="connsiteX53" fmla="*/ 1053739 w 2208433"/>
              <a:gd name="connsiteY53" fmla="*/ 1529222 h 2884488"/>
              <a:gd name="connsiteX54" fmla="*/ 1054178 w 2208433"/>
              <a:gd name="connsiteY54" fmla="*/ 1539189 h 2884488"/>
              <a:gd name="connsiteX55" fmla="*/ 1063559 w 2208433"/>
              <a:gd name="connsiteY55" fmla="*/ 1548835 h 2884488"/>
              <a:gd name="connsiteX56" fmla="*/ 1061601 w 2208433"/>
              <a:gd name="connsiteY56" fmla="*/ 1535871 h 2884488"/>
              <a:gd name="connsiteX57" fmla="*/ 1101249 w 2208433"/>
              <a:gd name="connsiteY57" fmla="*/ 1133967 h 2884488"/>
              <a:gd name="connsiteX58" fmla="*/ 1106574 w 2208433"/>
              <a:gd name="connsiteY58" fmla="*/ 762842 h 2884488"/>
              <a:gd name="connsiteX59" fmla="*/ 1107758 w 2208433"/>
              <a:gd name="connsiteY59" fmla="*/ 723776 h 2884488"/>
              <a:gd name="connsiteX60" fmla="*/ 1057459 w 2208433"/>
              <a:gd name="connsiteY60" fmla="*/ 723184 h 2884488"/>
              <a:gd name="connsiteX61" fmla="*/ 1036747 w 2208433"/>
              <a:gd name="connsiteY61" fmla="*/ 735022 h 2884488"/>
              <a:gd name="connsiteX62" fmla="*/ 996508 w 2208433"/>
              <a:gd name="connsiteY62" fmla="*/ 736206 h 2884488"/>
              <a:gd name="connsiteX63" fmla="*/ 865138 w 2208433"/>
              <a:gd name="connsiteY63" fmla="*/ 549164 h 2884488"/>
              <a:gd name="connsiteX64" fmla="*/ 862771 w 2208433"/>
              <a:gd name="connsiteY64" fmla="*/ 495892 h 2884488"/>
              <a:gd name="connsiteX65" fmla="*/ 1211378 w 2208433"/>
              <a:gd name="connsiteY65" fmla="*/ 0 h 2884488"/>
              <a:gd name="connsiteX66" fmla="*/ 1411638 w 2208433"/>
              <a:gd name="connsiteY66" fmla="*/ 238006 h 2884488"/>
              <a:gd name="connsiteX67" fmla="*/ 1366742 w 2208433"/>
              <a:gd name="connsiteY67" fmla="*/ 364706 h 2884488"/>
              <a:gd name="connsiteX68" fmla="*/ 1324209 w 2208433"/>
              <a:gd name="connsiteY68" fmla="*/ 457658 h 2884488"/>
              <a:gd name="connsiteX69" fmla="*/ 1325981 w 2208433"/>
              <a:gd name="connsiteY69" fmla="*/ 481932 h 2884488"/>
              <a:gd name="connsiteX70" fmla="*/ 1297626 w 2208433"/>
              <a:gd name="connsiteY70" fmla="*/ 509759 h 2884488"/>
              <a:gd name="connsiteX71" fmla="*/ 1258637 w 2208433"/>
              <a:gd name="connsiteY71" fmla="*/ 594423 h 2884488"/>
              <a:gd name="connsiteX72" fmla="*/ 1137536 w 2208433"/>
              <a:gd name="connsiteY72" fmla="*/ 721714 h 2884488"/>
              <a:gd name="connsiteX73" fmla="*/ 1131629 w 2208433"/>
              <a:gd name="connsiteY73" fmla="*/ 724674 h 2884488"/>
              <a:gd name="connsiteX74" fmla="*/ 1131629 w 2208433"/>
              <a:gd name="connsiteY74" fmla="*/ 728227 h 2884488"/>
              <a:gd name="connsiteX75" fmla="*/ 1377375 w 2208433"/>
              <a:gd name="connsiteY75" fmla="*/ 930709 h 2884488"/>
              <a:gd name="connsiteX76" fmla="*/ 1348429 w 2208433"/>
              <a:gd name="connsiteY76" fmla="*/ 1343371 h 2884488"/>
              <a:gd name="connsiteX77" fmla="*/ 1450627 w 2208433"/>
              <a:gd name="connsiteY77" fmla="*/ 1183517 h 2884488"/>
              <a:gd name="connsiteX78" fmla="*/ 1481345 w 2208433"/>
              <a:gd name="connsiteY78" fmla="*/ 1134968 h 2884488"/>
              <a:gd name="connsiteX79" fmla="*/ 1482280 w 2208433"/>
              <a:gd name="connsiteY79" fmla="*/ 1123842 h 2884488"/>
              <a:gd name="connsiteX80" fmla="*/ 1483207 w 2208433"/>
              <a:gd name="connsiteY80" fmla="*/ 1143551 h 2884488"/>
              <a:gd name="connsiteX81" fmla="*/ 1488736 w 2208433"/>
              <a:gd name="connsiteY81" fmla="*/ 1168287 h 2884488"/>
              <a:gd name="connsiteX82" fmla="*/ 1540044 w 2208433"/>
              <a:gd name="connsiteY82" fmla="*/ 1137479 h 2884488"/>
              <a:gd name="connsiteX83" fmla="*/ 1564813 w 2208433"/>
              <a:gd name="connsiteY83" fmla="*/ 1178951 h 2884488"/>
              <a:gd name="connsiteX84" fmla="*/ 1325375 w 2208433"/>
              <a:gd name="connsiteY84" fmla="*/ 1455632 h 2884488"/>
              <a:gd name="connsiteX85" fmla="*/ 1440966 w 2208433"/>
              <a:gd name="connsiteY85" fmla="*/ 1763713 h 2884488"/>
              <a:gd name="connsiteX86" fmla="*/ 1830200 w 2208433"/>
              <a:gd name="connsiteY86" fmla="*/ 1031427 h 2884488"/>
              <a:gd name="connsiteX87" fmla="*/ 1788918 w 2208433"/>
              <a:gd name="connsiteY87" fmla="*/ 1023725 h 2884488"/>
              <a:gd name="connsiteX88" fmla="*/ 1697507 w 2208433"/>
              <a:gd name="connsiteY88" fmla="*/ 1104301 h 2884488"/>
              <a:gd name="connsiteX89" fmla="*/ 1672737 w 2208433"/>
              <a:gd name="connsiteY89" fmla="*/ 1185468 h 2884488"/>
              <a:gd name="connsiteX90" fmla="*/ 1646199 w 2208433"/>
              <a:gd name="connsiteY90" fmla="*/ 1190208 h 2884488"/>
              <a:gd name="connsiteX91" fmla="*/ 1645609 w 2208433"/>
              <a:gd name="connsiteY91" fmla="*/ 1212722 h 2884488"/>
              <a:gd name="connsiteX92" fmla="*/ 1645019 w 2208433"/>
              <a:gd name="connsiteY92" fmla="*/ 1221016 h 2884488"/>
              <a:gd name="connsiteX93" fmla="*/ 1591352 w 2208433"/>
              <a:gd name="connsiteY93" fmla="*/ 1297444 h 2884488"/>
              <a:gd name="connsiteX94" fmla="*/ 1610814 w 2208433"/>
              <a:gd name="connsiteY94" fmla="*/ 1217461 h 2884488"/>
              <a:gd name="connsiteX95" fmla="*/ 1614352 w 2208433"/>
              <a:gd name="connsiteY95" fmla="*/ 1057496 h 2884488"/>
              <a:gd name="connsiteX96" fmla="*/ 1590172 w 2208433"/>
              <a:gd name="connsiteY96" fmla="*/ 1020763 h 2884488"/>
              <a:gd name="connsiteX97" fmla="*/ 1534598 w 2208433"/>
              <a:gd name="connsiteY97" fmla="*/ 1045544 h 2884488"/>
              <a:gd name="connsiteX98" fmla="*/ 1537982 w 2208433"/>
              <a:gd name="connsiteY98" fmla="*/ 1043348 h 2884488"/>
              <a:gd name="connsiteX99" fmla="*/ 1591222 w 2208433"/>
              <a:gd name="connsiteY99" fmla="*/ 1017741 h 2884488"/>
              <a:gd name="connsiteX100" fmla="*/ 1591813 w 2208433"/>
              <a:gd name="connsiteY100" fmla="*/ 996427 h 2884488"/>
              <a:gd name="connsiteX101" fmla="*/ 1533330 w 2208433"/>
              <a:gd name="connsiteY101" fmla="*/ 820587 h 2884488"/>
              <a:gd name="connsiteX102" fmla="*/ 1526241 w 2208433"/>
              <a:gd name="connsiteY102" fmla="*/ 732371 h 2884488"/>
              <a:gd name="connsiteX103" fmla="*/ 1524469 w 2208433"/>
              <a:gd name="connsiteY103" fmla="*/ 716978 h 2884488"/>
              <a:gd name="connsiteX104" fmla="*/ 1762536 w 2208433"/>
              <a:gd name="connsiteY104" fmla="*/ 412662 h 2884488"/>
              <a:gd name="connsiteX105" fmla="*/ 2034865 w 2208433"/>
              <a:gd name="connsiteY105" fmla="*/ 657180 h 2884488"/>
              <a:gd name="connsiteX106" fmla="*/ 2067947 w 2208433"/>
              <a:gd name="connsiteY106" fmla="*/ 722306 h 2884488"/>
              <a:gd name="connsiteX107" fmla="*/ 2072673 w 2208433"/>
              <a:gd name="connsiteY107" fmla="*/ 772631 h 2884488"/>
              <a:gd name="connsiteX108" fmla="*/ 2057313 w 2208433"/>
              <a:gd name="connsiteY108" fmla="*/ 722306 h 2884488"/>
              <a:gd name="connsiteX109" fmla="*/ 2053178 w 2208433"/>
              <a:gd name="connsiteY109" fmla="*/ 768486 h 2884488"/>
              <a:gd name="connsiteX110" fmla="*/ 2031912 w 2208433"/>
              <a:gd name="connsiteY110" fmla="*/ 989323 h 2884488"/>
              <a:gd name="connsiteX111" fmla="*/ 2018325 w 2208433"/>
              <a:gd name="connsiteY111" fmla="*/ 1002348 h 2884488"/>
              <a:gd name="connsiteX112" fmla="*/ 2021278 w 2208433"/>
              <a:gd name="connsiteY112" fmla="*/ 1042016 h 2884488"/>
              <a:gd name="connsiteX113" fmla="*/ 2098074 w 2208433"/>
              <a:gd name="connsiteY113" fmla="*/ 1080499 h 2884488"/>
              <a:gd name="connsiteX114" fmla="*/ 2202044 w 2208433"/>
              <a:gd name="connsiteY114" fmla="*/ 1191805 h 2884488"/>
              <a:gd name="connsiteX115" fmla="*/ 2203816 w 2208433"/>
              <a:gd name="connsiteY115" fmla="*/ 1435140 h 2884488"/>
              <a:gd name="connsiteX116" fmla="*/ 2194955 w 2208433"/>
              <a:gd name="connsiteY116" fmla="*/ 1661896 h 2884488"/>
              <a:gd name="connsiteX117" fmla="*/ 2178414 w 2208433"/>
              <a:gd name="connsiteY117" fmla="*/ 1764914 h 2884488"/>
              <a:gd name="connsiteX118" fmla="*/ 2196727 w 2208433"/>
              <a:gd name="connsiteY118" fmla="*/ 1927729 h 2884488"/>
              <a:gd name="connsiteX119" fmla="*/ 2190229 w 2208433"/>
              <a:gd name="connsiteY119" fmla="*/ 1962660 h 2884488"/>
              <a:gd name="connsiteX120" fmla="*/ 2113433 w 2208433"/>
              <a:gd name="connsiteY120" fmla="*/ 2049692 h 2884488"/>
              <a:gd name="connsiteX121" fmla="*/ 2089804 w 2208433"/>
              <a:gd name="connsiteY121" fmla="*/ 2055612 h 2884488"/>
              <a:gd name="connsiteX122" fmla="*/ 1926170 w 2208433"/>
              <a:gd name="connsiteY122" fmla="*/ 2044363 h 2884488"/>
              <a:gd name="connsiteX123" fmla="*/ 1962796 w 2208433"/>
              <a:gd name="connsiteY123" fmla="*/ 2303091 h 2884488"/>
              <a:gd name="connsiteX124" fmla="*/ 1934440 w 2208433"/>
              <a:gd name="connsiteY124" fmla="*/ 2454657 h 2884488"/>
              <a:gd name="connsiteX125" fmla="*/ 1917900 w 2208433"/>
              <a:gd name="connsiteY125" fmla="*/ 2684374 h 2884488"/>
              <a:gd name="connsiteX126" fmla="*/ 1865324 w 2208433"/>
              <a:gd name="connsiteY126" fmla="*/ 2883896 h 2884488"/>
              <a:gd name="connsiteX127" fmla="*/ 1167073 w 2208433"/>
              <a:gd name="connsiteY127" fmla="*/ 2883896 h 2884488"/>
              <a:gd name="connsiteX128" fmla="*/ 1240915 w 2208433"/>
              <a:gd name="connsiteY128" fmla="*/ 2271712 h 2884488"/>
              <a:gd name="connsiteX129" fmla="*/ 1218467 w 2208433"/>
              <a:gd name="connsiteY129" fmla="*/ 2255135 h 2884488"/>
              <a:gd name="connsiteX130" fmla="*/ 1246822 w 2208433"/>
              <a:gd name="connsiteY130" fmla="*/ 2143236 h 2884488"/>
              <a:gd name="connsiteX131" fmla="*/ 1207243 w 2208433"/>
              <a:gd name="connsiteY131" fmla="*/ 2156854 h 2884488"/>
              <a:gd name="connsiteX132" fmla="*/ 1190702 w 2208433"/>
              <a:gd name="connsiteY132" fmla="*/ 2107121 h 2884488"/>
              <a:gd name="connsiteX133" fmla="*/ 1175343 w 2208433"/>
              <a:gd name="connsiteY133" fmla="*/ 2107121 h 2884488"/>
              <a:gd name="connsiteX134" fmla="*/ 1164119 w 2208433"/>
              <a:gd name="connsiteY134" fmla="*/ 2600894 h 2884488"/>
              <a:gd name="connsiteX135" fmla="*/ 1140490 w 2208433"/>
              <a:gd name="connsiteY135" fmla="*/ 2639378 h 2884488"/>
              <a:gd name="connsiteX136" fmla="*/ 1108590 w 2208433"/>
              <a:gd name="connsiteY136" fmla="*/ 2884488 h 2884488"/>
              <a:gd name="connsiteX137" fmla="*/ 220122 w 2208433"/>
              <a:gd name="connsiteY137" fmla="*/ 2882712 h 2884488"/>
              <a:gd name="connsiteX138" fmla="*/ 260292 w 2208433"/>
              <a:gd name="connsiteY138" fmla="*/ 2571884 h 2884488"/>
              <a:gd name="connsiteX139" fmla="*/ 83662 w 2208433"/>
              <a:gd name="connsiteY139" fmla="*/ 2416765 h 2884488"/>
              <a:gd name="connsiteX140" fmla="*/ 331180 w 2208433"/>
              <a:gd name="connsiteY140" fmla="*/ 1677882 h 2884488"/>
              <a:gd name="connsiteX141" fmla="*/ 317003 w 2208433"/>
              <a:gd name="connsiteY141" fmla="*/ 1655976 h 2884488"/>
              <a:gd name="connsiteX142" fmla="*/ 959 w 2208433"/>
              <a:gd name="connsiteY142" fmla="*/ 1463558 h 2884488"/>
              <a:gd name="connsiteX143" fmla="*/ 39947 w 2208433"/>
              <a:gd name="connsiteY143" fmla="*/ 1331530 h 2884488"/>
              <a:gd name="connsiteX144" fmla="*/ 386710 w 2208433"/>
              <a:gd name="connsiteY144" fmla="*/ 654220 h 2884488"/>
              <a:gd name="connsiteX145" fmla="*/ 720476 w 2208433"/>
              <a:gd name="connsiteY145" fmla="*/ 592646 h 2884488"/>
              <a:gd name="connsiteX146" fmla="*/ 809677 w 2208433"/>
              <a:gd name="connsiteY146" fmla="*/ 525152 h 2884488"/>
              <a:gd name="connsiteX147" fmla="*/ 835670 w 2208433"/>
              <a:gd name="connsiteY147" fmla="*/ 526336 h 2884488"/>
              <a:gd name="connsiteX148" fmla="*/ 860481 w 2208433"/>
              <a:gd name="connsiteY148" fmla="*/ 491997 h 2884488"/>
              <a:gd name="connsiteX149" fmla="*/ 895334 w 2208433"/>
              <a:gd name="connsiteY149" fmla="*/ 487261 h 2884488"/>
              <a:gd name="connsiteX150" fmla="*/ 901832 w 2208433"/>
              <a:gd name="connsiteY150" fmla="*/ 424503 h 2884488"/>
              <a:gd name="connsiteX151" fmla="*/ 905967 w 2208433"/>
              <a:gd name="connsiteY151" fmla="*/ 257544 h 2884488"/>
              <a:gd name="connsiteX152" fmla="*/ 1211378 w 2208433"/>
              <a:gd name="connsiteY152" fmla="*/ 0 h 288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08433" h="2884488">
                <a:moveTo>
                  <a:pt x="865613" y="1682726"/>
                </a:moveTo>
                <a:lnTo>
                  <a:pt x="866321" y="1704565"/>
                </a:lnTo>
                <a:cubicBezTo>
                  <a:pt x="866321" y="1716403"/>
                  <a:pt x="788801" y="1952573"/>
                  <a:pt x="789393" y="1963819"/>
                </a:cubicBezTo>
                <a:cubicBezTo>
                  <a:pt x="814247" y="1968555"/>
                  <a:pt x="847385" y="1978025"/>
                  <a:pt x="876381" y="1971514"/>
                </a:cubicBezTo>
                <a:lnTo>
                  <a:pt x="926215" y="1963293"/>
                </a:lnTo>
                <a:lnTo>
                  <a:pt x="919070" y="1737369"/>
                </a:lnTo>
                <a:lnTo>
                  <a:pt x="905769" y="1736436"/>
                </a:lnTo>
                <a:cubicBezTo>
                  <a:pt x="898083" y="1737026"/>
                  <a:pt x="893354" y="1735845"/>
                  <a:pt x="892172" y="1728167"/>
                </a:cubicBezTo>
                <a:lnTo>
                  <a:pt x="880348" y="1696274"/>
                </a:lnTo>
                <a:cubicBezTo>
                  <a:pt x="877983" y="1686824"/>
                  <a:pt x="876209" y="1686233"/>
                  <a:pt x="867342" y="1683280"/>
                </a:cubicBezTo>
                <a:close/>
                <a:moveTo>
                  <a:pt x="1058756" y="1643194"/>
                </a:moveTo>
                <a:lnTo>
                  <a:pt x="1059247" y="1654350"/>
                </a:lnTo>
                <a:lnTo>
                  <a:pt x="1061428" y="1661003"/>
                </a:lnTo>
                <a:cubicBezTo>
                  <a:pt x="1062195" y="1667002"/>
                  <a:pt x="1062398" y="1674347"/>
                  <a:pt x="1062361" y="1682247"/>
                </a:cubicBezTo>
                <a:lnTo>
                  <a:pt x="1061988" y="1716610"/>
                </a:lnTo>
                <a:lnTo>
                  <a:pt x="1071681" y="1936797"/>
                </a:lnTo>
                <a:lnTo>
                  <a:pt x="1074500" y="1936157"/>
                </a:lnTo>
                <a:cubicBezTo>
                  <a:pt x="1089746" y="1931339"/>
                  <a:pt x="1104651" y="1924902"/>
                  <a:pt x="1119001" y="1915875"/>
                </a:cubicBezTo>
                <a:lnTo>
                  <a:pt x="1106008" y="1829854"/>
                </a:lnTo>
                <a:lnTo>
                  <a:pt x="1160857" y="1837531"/>
                </a:lnTo>
                <a:cubicBezTo>
                  <a:pt x="1211094" y="1856377"/>
                  <a:pt x="1179179" y="1821631"/>
                  <a:pt x="1207548" y="1812208"/>
                </a:cubicBezTo>
                <a:cubicBezTo>
                  <a:pt x="1241237" y="1801019"/>
                  <a:pt x="1300930" y="1799841"/>
                  <a:pt x="1345848" y="1859910"/>
                </a:cubicBezTo>
                <a:cubicBezTo>
                  <a:pt x="1365352" y="1885233"/>
                  <a:pt x="1441004" y="1864032"/>
                  <a:pt x="1479421" y="1882289"/>
                </a:cubicBezTo>
                <a:lnTo>
                  <a:pt x="1547389" y="1892300"/>
                </a:lnTo>
                <a:lnTo>
                  <a:pt x="1706375" y="1823398"/>
                </a:lnTo>
                <a:lnTo>
                  <a:pt x="1200196" y="1766926"/>
                </a:lnTo>
                <a:lnTo>
                  <a:pt x="1203138" y="1774826"/>
                </a:lnTo>
                <a:cubicBezTo>
                  <a:pt x="1188358" y="1774826"/>
                  <a:pt x="1175352" y="1770101"/>
                  <a:pt x="1153478" y="1768920"/>
                </a:cubicBezTo>
                <a:lnTo>
                  <a:pt x="1150427" y="1761374"/>
                </a:lnTo>
                <a:lnTo>
                  <a:pt x="1094725" y="1755159"/>
                </a:lnTo>
                <a:lnTo>
                  <a:pt x="1080538" y="1661239"/>
                </a:lnTo>
                <a:lnTo>
                  <a:pt x="1062435" y="1646071"/>
                </a:lnTo>
                <a:close/>
                <a:moveTo>
                  <a:pt x="1516881" y="1057046"/>
                </a:moveTo>
                <a:lnTo>
                  <a:pt x="1481659" y="1080602"/>
                </a:lnTo>
                <a:lnTo>
                  <a:pt x="1481773" y="1089589"/>
                </a:lnTo>
                <a:lnTo>
                  <a:pt x="1480754" y="1080499"/>
                </a:lnTo>
                <a:close/>
                <a:moveTo>
                  <a:pt x="860404" y="495300"/>
                </a:moveTo>
                <a:lnTo>
                  <a:pt x="836142" y="529631"/>
                </a:lnTo>
                <a:lnTo>
                  <a:pt x="816614" y="529039"/>
                </a:lnTo>
                <a:cubicBezTo>
                  <a:pt x="841024" y="728808"/>
                  <a:pt x="846461" y="1036118"/>
                  <a:pt x="855392" y="1367817"/>
                </a:cubicBezTo>
                <a:lnTo>
                  <a:pt x="860030" y="1510704"/>
                </a:lnTo>
                <a:lnTo>
                  <a:pt x="871480" y="1500188"/>
                </a:lnTo>
                <a:cubicBezTo>
                  <a:pt x="888181" y="1504322"/>
                  <a:pt x="897456" y="1507312"/>
                  <a:pt x="904596" y="1509850"/>
                </a:cubicBezTo>
                <a:lnTo>
                  <a:pt x="911955" y="1512368"/>
                </a:lnTo>
                <a:lnTo>
                  <a:pt x="911627" y="1502004"/>
                </a:lnTo>
                <a:lnTo>
                  <a:pt x="917573" y="943459"/>
                </a:lnTo>
                <a:cubicBezTo>
                  <a:pt x="924708" y="877191"/>
                  <a:pt x="938384" y="825714"/>
                  <a:pt x="906275" y="807964"/>
                </a:cubicBezTo>
                <a:cubicBezTo>
                  <a:pt x="924708" y="796722"/>
                  <a:pt x="945520" y="781930"/>
                  <a:pt x="967520" y="763588"/>
                </a:cubicBezTo>
                <a:cubicBezTo>
                  <a:pt x="978818" y="774238"/>
                  <a:pt x="993683" y="776605"/>
                  <a:pt x="1027576" y="764771"/>
                </a:cubicBezTo>
                <a:lnTo>
                  <a:pt x="1055523" y="785480"/>
                </a:lnTo>
                <a:cubicBezTo>
                  <a:pt x="1032333" y="795539"/>
                  <a:pt x="1016873" y="824531"/>
                  <a:pt x="1000818" y="852340"/>
                </a:cubicBezTo>
                <a:cubicBezTo>
                  <a:pt x="1004386" y="864174"/>
                  <a:pt x="1004386" y="890208"/>
                  <a:pt x="1013900" y="915058"/>
                </a:cubicBezTo>
                <a:cubicBezTo>
                  <a:pt x="1024008" y="942867"/>
                  <a:pt x="1025792" y="981326"/>
                  <a:pt x="1034117" y="1019785"/>
                </a:cubicBezTo>
                <a:lnTo>
                  <a:pt x="1053739" y="1529222"/>
                </a:lnTo>
                <a:lnTo>
                  <a:pt x="1054178" y="1539189"/>
                </a:lnTo>
                <a:lnTo>
                  <a:pt x="1063559" y="1548835"/>
                </a:lnTo>
                <a:lnTo>
                  <a:pt x="1061601" y="1535871"/>
                </a:lnTo>
                <a:lnTo>
                  <a:pt x="1101249" y="1133967"/>
                </a:lnTo>
                <a:lnTo>
                  <a:pt x="1106574" y="762842"/>
                </a:lnTo>
                <a:lnTo>
                  <a:pt x="1107758" y="723776"/>
                </a:lnTo>
                <a:cubicBezTo>
                  <a:pt x="1094147" y="723184"/>
                  <a:pt x="1083496" y="722000"/>
                  <a:pt x="1057459" y="723184"/>
                </a:cubicBezTo>
                <a:lnTo>
                  <a:pt x="1036747" y="735022"/>
                </a:lnTo>
                <a:cubicBezTo>
                  <a:pt x="1029054" y="739757"/>
                  <a:pt x="1018994" y="742717"/>
                  <a:pt x="996508" y="736206"/>
                </a:cubicBezTo>
                <a:cubicBezTo>
                  <a:pt x="958635" y="671688"/>
                  <a:pt x="911887" y="610722"/>
                  <a:pt x="865138" y="549164"/>
                </a:cubicBezTo>
                <a:cubicBezTo>
                  <a:pt x="858037" y="534958"/>
                  <a:pt x="856853" y="517793"/>
                  <a:pt x="862771" y="495892"/>
                </a:cubicBezTo>
                <a:close/>
                <a:moveTo>
                  <a:pt x="1211378" y="0"/>
                </a:moveTo>
                <a:cubicBezTo>
                  <a:pt x="1301170" y="5921"/>
                  <a:pt x="1420499" y="103017"/>
                  <a:pt x="1411638" y="238006"/>
                </a:cubicBezTo>
                <a:cubicBezTo>
                  <a:pt x="1399823" y="279450"/>
                  <a:pt x="1395097" y="320301"/>
                  <a:pt x="1366742" y="364706"/>
                </a:cubicBezTo>
                <a:lnTo>
                  <a:pt x="1324209" y="457658"/>
                </a:lnTo>
                <a:cubicBezTo>
                  <a:pt x="1325981" y="473051"/>
                  <a:pt x="1326572" y="480156"/>
                  <a:pt x="1325981" y="481932"/>
                </a:cubicBezTo>
                <a:lnTo>
                  <a:pt x="1297626" y="509759"/>
                </a:lnTo>
                <a:cubicBezTo>
                  <a:pt x="1293491" y="575477"/>
                  <a:pt x="1288174" y="569556"/>
                  <a:pt x="1258637" y="594423"/>
                </a:cubicBezTo>
                <a:cubicBezTo>
                  <a:pt x="1209015" y="635866"/>
                  <a:pt x="1170617" y="671390"/>
                  <a:pt x="1137536" y="721714"/>
                </a:cubicBezTo>
                <a:lnTo>
                  <a:pt x="1131629" y="724674"/>
                </a:lnTo>
                <a:lnTo>
                  <a:pt x="1131629" y="728227"/>
                </a:lnTo>
                <a:cubicBezTo>
                  <a:pt x="1222012" y="792169"/>
                  <a:pt x="1299398" y="861439"/>
                  <a:pt x="1377375" y="930709"/>
                </a:cubicBezTo>
                <a:lnTo>
                  <a:pt x="1348429" y="1343371"/>
                </a:lnTo>
                <a:lnTo>
                  <a:pt x="1450627" y="1183517"/>
                </a:lnTo>
                <a:cubicBezTo>
                  <a:pt x="1455353" y="1153914"/>
                  <a:pt x="1469530" y="1147401"/>
                  <a:pt x="1481345" y="1134968"/>
                </a:cubicBezTo>
                <a:lnTo>
                  <a:pt x="1482280" y="1123842"/>
                </a:lnTo>
                <a:lnTo>
                  <a:pt x="1483207" y="1143551"/>
                </a:lnTo>
                <a:cubicBezTo>
                  <a:pt x="1484165" y="1153771"/>
                  <a:pt x="1485787" y="1157622"/>
                  <a:pt x="1488736" y="1168287"/>
                </a:cubicBezTo>
                <a:cubicBezTo>
                  <a:pt x="1506428" y="1151698"/>
                  <a:pt x="1521762" y="1143403"/>
                  <a:pt x="1540044" y="1137479"/>
                </a:cubicBezTo>
                <a:cubicBezTo>
                  <a:pt x="1553608" y="1151105"/>
                  <a:pt x="1561275" y="1165324"/>
                  <a:pt x="1564813" y="1178951"/>
                </a:cubicBezTo>
                <a:cubicBezTo>
                  <a:pt x="1442735" y="1253009"/>
                  <a:pt x="1453351" y="1318773"/>
                  <a:pt x="1325375" y="1455632"/>
                </a:cubicBezTo>
                <a:cubicBezTo>
                  <a:pt x="1373145" y="1649960"/>
                  <a:pt x="1403222" y="1628631"/>
                  <a:pt x="1440966" y="1763713"/>
                </a:cubicBezTo>
                <a:cubicBezTo>
                  <a:pt x="1536505" y="1469258"/>
                  <a:pt x="1512326" y="1486440"/>
                  <a:pt x="1830200" y="1031427"/>
                </a:cubicBezTo>
                <a:cubicBezTo>
                  <a:pt x="1817816" y="1029650"/>
                  <a:pt x="1810149" y="1030243"/>
                  <a:pt x="1788918" y="1023725"/>
                </a:cubicBezTo>
                <a:lnTo>
                  <a:pt x="1697507" y="1104301"/>
                </a:lnTo>
                <a:lnTo>
                  <a:pt x="1672737" y="1185468"/>
                </a:lnTo>
                <a:cubicBezTo>
                  <a:pt x="1658583" y="1182506"/>
                  <a:pt x="1652686" y="1188430"/>
                  <a:pt x="1646199" y="1190208"/>
                </a:cubicBezTo>
                <a:lnTo>
                  <a:pt x="1645609" y="1212722"/>
                </a:lnTo>
                <a:cubicBezTo>
                  <a:pt x="1646788" y="1215684"/>
                  <a:pt x="1645609" y="1218646"/>
                  <a:pt x="1645019" y="1221016"/>
                </a:cubicBezTo>
                <a:lnTo>
                  <a:pt x="1591352" y="1297444"/>
                </a:lnTo>
                <a:lnTo>
                  <a:pt x="1610814" y="1217461"/>
                </a:lnTo>
                <a:lnTo>
                  <a:pt x="1614352" y="1057496"/>
                </a:lnTo>
                <a:cubicBezTo>
                  <a:pt x="1613173" y="1055126"/>
                  <a:pt x="1604326" y="1042092"/>
                  <a:pt x="1590172" y="1020763"/>
                </a:cubicBezTo>
                <a:lnTo>
                  <a:pt x="1534598" y="1045544"/>
                </a:lnTo>
                <a:lnTo>
                  <a:pt x="1537982" y="1043348"/>
                </a:lnTo>
                <a:cubicBezTo>
                  <a:pt x="1556369" y="1033135"/>
                  <a:pt x="1574091" y="1024846"/>
                  <a:pt x="1591222" y="1017741"/>
                </a:cubicBezTo>
                <a:lnTo>
                  <a:pt x="1591813" y="996427"/>
                </a:lnTo>
                <a:cubicBezTo>
                  <a:pt x="1554596" y="935446"/>
                  <a:pt x="1526832" y="876240"/>
                  <a:pt x="1533330" y="820587"/>
                </a:cubicBezTo>
                <a:cubicBezTo>
                  <a:pt x="1535102" y="799273"/>
                  <a:pt x="1544554" y="756645"/>
                  <a:pt x="1526241" y="732371"/>
                </a:cubicBezTo>
                <a:lnTo>
                  <a:pt x="1524469" y="716978"/>
                </a:lnTo>
                <a:cubicBezTo>
                  <a:pt x="1503793" y="574885"/>
                  <a:pt x="1543963" y="458842"/>
                  <a:pt x="1762536" y="412662"/>
                </a:cubicBezTo>
                <a:cubicBezTo>
                  <a:pt x="2040773" y="442265"/>
                  <a:pt x="2028958" y="548834"/>
                  <a:pt x="2034865" y="657180"/>
                </a:cubicBezTo>
                <a:cubicBezTo>
                  <a:pt x="2046680" y="678494"/>
                  <a:pt x="2058495" y="698624"/>
                  <a:pt x="2067947" y="722306"/>
                </a:cubicBezTo>
                <a:lnTo>
                  <a:pt x="2072673" y="772631"/>
                </a:lnTo>
                <a:lnTo>
                  <a:pt x="2057313" y="722306"/>
                </a:lnTo>
                <a:lnTo>
                  <a:pt x="2053178" y="768486"/>
                </a:lnTo>
                <a:cubicBezTo>
                  <a:pt x="2072673" y="845454"/>
                  <a:pt x="2072082" y="920052"/>
                  <a:pt x="2031912" y="989323"/>
                </a:cubicBezTo>
                <a:lnTo>
                  <a:pt x="2018325" y="1002348"/>
                </a:lnTo>
                <a:lnTo>
                  <a:pt x="2021278" y="1042016"/>
                </a:lnTo>
                <a:cubicBezTo>
                  <a:pt x="2066765" y="1062145"/>
                  <a:pt x="2081534" y="1062145"/>
                  <a:pt x="2098074" y="1080499"/>
                </a:cubicBezTo>
                <a:cubicBezTo>
                  <a:pt x="2127020" y="1112470"/>
                  <a:pt x="2173688" y="1126679"/>
                  <a:pt x="2202044" y="1191805"/>
                </a:cubicBezTo>
                <a:cubicBezTo>
                  <a:pt x="2223901" y="1260484"/>
                  <a:pt x="2180777" y="1378302"/>
                  <a:pt x="2203816" y="1435140"/>
                </a:cubicBezTo>
                <a:cubicBezTo>
                  <a:pt x="2170144" y="1582561"/>
                  <a:pt x="2201453" y="1573088"/>
                  <a:pt x="2194955" y="1661896"/>
                </a:cubicBezTo>
                <a:cubicBezTo>
                  <a:pt x="2180777" y="1712813"/>
                  <a:pt x="2173688" y="1720510"/>
                  <a:pt x="2178414" y="1764914"/>
                </a:cubicBezTo>
                <a:cubicBezTo>
                  <a:pt x="2163646" y="1864971"/>
                  <a:pt x="2193774" y="1850170"/>
                  <a:pt x="2196727" y="1927729"/>
                </a:cubicBezTo>
                <a:cubicBezTo>
                  <a:pt x="2198499" y="1942530"/>
                  <a:pt x="2197318" y="1951411"/>
                  <a:pt x="2190229" y="1962660"/>
                </a:cubicBezTo>
                <a:cubicBezTo>
                  <a:pt x="2143561" y="2036667"/>
                  <a:pt x="2129974" y="2039627"/>
                  <a:pt x="2113433" y="2049692"/>
                </a:cubicBezTo>
                <a:cubicBezTo>
                  <a:pt x="2105163" y="2056796"/>
                  <a:pt x="2099256" y="2056204"/>
                  <a:pt x="2089804" y="2055612"/>
                </a:cubicBezTo>
                <a:cubicBezTo>
                  <a:pt x="1987016" y="2043771"/>
                  <a:pt x="1960433" y="2044955"/>
                  <a:pt x="1926170" y="2044363"/>
                </a:cubicBezTo>
                <a:lnTo>
                  <a:pt x="1962796" y="2303091"/>
                </a:lnTo>
                <a:lnTo>
                  <a:pt x="1934440" y="2454657"/>
                </a:lnTo>
                <a:lnTo>
                  <a:pt x="1917900" y="2684374"/>
                </a:lnTo>
                <a:lnTo>
                  <a:pt x="1865324" y="2883896"/>
                </a:lnTo>
                <a:lnTo>
                  <a:pt x="1167073" y="2883896"/>
                </a:lnTo>
                <a:cubicBezTo>
                  <a:pt x="1165892" y="2801601"/>
                  <a:pt x="1217876" y="2466498"/>
                  <a:pt x="1240915" y="2271712"/>
                </a:cubicBezTo>
                <a:cubicBezTo>
                  <a:pt x="1242097" y="2260463"/>
                  <a:pt x="1217286" y="2265199"/>
                  <a:pt x="1218467" y="2255135"/>
                </a:cubicBezTo>
                <a:cubicBezTo>
                  <a:pt x="1224374" y="2200666"/>
                  <a:pt x="1239143" y="2221979"/>
                  <a:pt x="1246822" y="2143236"/>
                </a:cubicBezTo>
                <a:cubicBezTo>
                  <a:pt x="1248004" y="2131395"/>
                  <a:pt x="1209015" y="2157446"/>
                  <a:pt x="1207243" y="2156854"/>
                </a:cubicBezTo>
                <a:cubicBezTo>
                  <a:pt x="1196019" y="2149157"/>
                  <a:pt x="1192475" y="2127251"/>
                  <a:pt x="1190702" y="2107121"/>
                </a:cubicBezTo>
                <a:cubicBezTo>
                  <a:pt x="1190112" y="2100016"/>
                  <a:pt x="1174753" y="2101792"/>
                  <a:pt x="1175343" y="2107121"/>
                </a:cubicBezTo>
                <a:cubicBezTo>
                  <a:pt x="1185977" y="2170471"/>
                  <a:pt x="1184204" y="2415581"/>
                  <a:pt x="1164119" y="2600894"/>
                </a:cubicBezTo>
                <a:cubicBezTo>
                  <a:pt x="1162938" y="2621024"/>
                  <a:pt x="1141081" y="2619840"/>
                  <a:pt x="1140490" y="2639378"/>
                </a:cubicBezTo>
                <a:cubicBezTo>
                  <a:pt x="1136945" y="2756012"/>
                  <a:pt x="1120996" y="2797456"/>
                  <a:pt x="1108590" y="2884488"/>
                </a:cubicBezTo>
                <a:lnTo>
                  <a:pt x="220122" y="2882712"/>
                </a:lnTo>
                <a:cubicBezTo>
                  <a:pt x="231346" y="2775550"/>
                  <a:pt x="246705" y="2654179"/>
                  <a:pt x="260292" y="2571884"/>
                </a:cubicBezTo>
                <a:cubicBezTo>
                  <a:pt x="185859" y="2547609"/>
                  <a:pt x="142145" y="2469458"/>
                  <a:pt x="83662" y="2416765"/>
                </a:cubicBezTo>
                <a:cubicBezTo>
                  <a:pt x="191176" y="1980421"/>
                  <a:pt x="200037" y="1868523"/>
                  <a:pt x="331180" y="1677882"/>
                </a:cubicBezTo>
                <a:lnTo>
                  <a:pt x="317003" y="1655976"/>
                </a:lnTo>
                <a:cubicBezTo>
                  <a:pt x="-3177" y="1612164"/>
                  <a:pt x="21044" y="1489016"/>
                  <a:pt x="959" y="1463558"/>
                </a:cubicBezTo>
                <a:cubicBezTo>
                  <a:pt x="-4949" y="1395472"/>
                  <a:pt x="17499" y="1364093"/>
                  <a:pt x="39947" y="1331530"/>
                </a:cubicBezTo>
                <a:cubicBezTo>
                  <a:pt x="119697" y="1081091"/>
                  <a:pt x="249068" y="863215"/>
                  <a:pt x="386710" y="654220"/>
                </a:cubicBezTo>
                <a:cubicBezTo>
                  <a:pt x="419200" y="618697"/>
                  <a:pt x="589923" y="608040"/>
                  <a:pt x="720476" y="592646"/>
                </a:cubicBezTo>
                <a:cubicBezTo>
                  <a:pt x="757692" y="574885"/>
                  <a:pt x="785457" y="550611"/>
                  <a:pt x="809677" y="525152"/>
                </a:cubicBezTo>
                <a:lnTo>
                  <a:pt x="835670" y="526336"/>
                </a:lnTo>
                <a:lnTo>
                  <a:pt x="860481" y="491997"/>
                </a:lnTo>
                <a:cubicBezTo>
                  <a:pt x="871705" y="487853"/>
                  <a:pt x="883519" y="486077"/>
                  <a:pt x="895334" y="487261"/>
                </a:cubicBezTo>
                <a:cubicBezTo>
                  <a:pt x="903014" y="448777"/>
                  <a:pt x="901241" y="441081"/>
                  <a:pt x="901832" y="424503"/>
                </a:cubicBezTo>
                <a:cubicBezTo>
                  <a:pt x="867569" y="369442"/>
                  <a:pt x="878203" y="309644"/>
                  <a:pt x="905967" y="257544"/>
                </a:cubicBezTo>
                <a:cubicBezTo>
                  <a:pt x="937867" y="97689"/>
                  <a:pt x="973311" y="15986"/>
                  <a:pt x="1211378" y="0"/>
                </a:cubicBezTo>
                <a:close/>
              </a:path>
            </a:pathLst>
          </a:custGeom>
          <a:solidFill>
            <a:srgbClr val="00BAD5"/>
          </a:solidFill>
          <a:ln w="6350" cap="flat">
            <a:noFill/>
            <a:prstDash val="solid"/>
            <a:miter lim="800000"/>
            <a:headEnd/>
            <a:tailEnd/>
          </a:ln>
        </p:spPr>
        <p:txBody>
          <a:bodyPr vert="horz" wrap="square" lIns="91775" tIns="45887" rIns="91775" bIns="45887" numCol="1" anchor="t" anchorCtr="0" compatLnSpc="1">
            <a:prstTxWarp prst="textNoShape">
              <a:avLst/>
            </a:prstTxWarp>
            <a:noAutofit/>
          </a:bodyPr>
          <a:lstStyle/>
          <a:p>
            <a:pPr marL="0" marR="0" lvl="0" indent="0" algn="l" defTabSz="917783" rtl="0" eaLnBrk="1" fontAlgn="auto" latinLnBrk="0" hangingPunct="1">
              <a:lnSpc>
                <a:spcPct val="100000"/>
              </a:lnSpc>
              <a:spcBef>
                <a:spcPts val="0"/>
              </a:spcBef>
              <a:spcAft>
                <a:spcPts val="0"/>
              </a:spcAft>
              <a:buClrTx/>
              <a:buSzTx/>
              <a:buFontTx/>
              <a:buNone/>
              <a:tabLst/>
              <a:defRPr/>
            </a:pPr>
            <a:endParaRPr kumimoji="0" lang="en-US" sz="1807" b="0" i="0" u="none" strike="noStrike" kern="1200" cap="none" spc="0" normalizeH="0" baseline="0" noProof="0" dirty="0">
              <a:ln>
                <a:noFill/>
              </a:ln>
              <a:solidFill>
                <a:prstClr val="black"/>
              </a:solidFill>
              <a:effectLst/>
              <a:uLnTx/>
              <a:uFillTx/>
              <a:latin typeface="Calibri"/>
              <a:ea typeface="ヒラギノ角ゴ Pro W3" pitchFamily="1" charset="-128"/>
              <a:cs typeface="+mn-cs"/>
            </a:endParaRPr>
          </a:p>
        </p:txBody>
      </p:sp>
      <p:sp>
        <p:nvSpPr>
          <p:cNvPr id="2" name="Dikdörtgen 1"/>
          <p:cNvSpPr/>
          <p:nvPr/>
        </p:nvSpPr>
        <p:spPr>
          <a:xfrm>
            <a:off x="6232519" y="3640156"/>
            <a:ext cx="1645343" cy="2308324"/>
          </a:xfrm>
          <a:prstGeom prst="rect">
            <a:avLst/>
          </a:prstGeom>
        </p:spPr>
        <p:txBody>
          <a:bodyPr wrap="square">
            <a:spAutoFit/>
          </a:bodyPr>
          <a:lstStyle/>
          <a:p>
            <a:pPr algn="just">
              <a:defRPr/>
            </a:pPr>
            <a:r>
              <a:rPr lang="tr-TR" sz="1200" dirty="0"/>
              <a:t>Üretilecek olan ürünün standartları sağlayıp sağlamadığına dair testlerin yapılması sürecinde, üretilen ürünün muadilleri ile kıyaslanmasında ve analizinde kullanılabilecek referans numune alımına ilişkin giderler için sağlanır.</a:t>
            </a:r>
          </a:p>
        </p:txBody>
      </p:sp>
      <p:sp>
        <p:nvSpPr>
          <p:cNvPr id="4" name="Dikdörtgen 3"/>
          <p:cNvSpPr/>
          <p:nvPr/>
        </p:nvSpPr>
        <p:spPr>
          <a:xfrm>
            <a:off x="7955945" y="3632841"/>
            <a:ext cx="1729631" cy="1754326"/>
          </a:xfrm>
          <a:prstGeom prst="rect">
            <a:avLst/>
          </a:prstGeom>
        </p:spPr>
        <p:txBody>
          <a:bodyPr wrap="square">
            <a:spAutoFit/>
          </a:bodyPr>
          <a:lstStyle/>
          <a:p>
            <a:pPr algn="just">
              <a:defRPr/>
            </a:pPr>
            <a:r>
              <a:rPr lang="tr-TR" sz="1200" dirty="0" smtClean="0"/>
              <a:t>Proje </a:t>
            </a:r>
            <a:r>
              <a:rPr lang="tr-TR" sz="1200" dirty="0"/>
              <a:t>süresince </a:t>
            </a:r>
            <a:r>
              <a:rPr lang="tr-TR" sz="1200" dirty="0" smtClean="0"/>
              <a:t>hizmet alımı desteği kapsamında </a:t>
            </a:r>
            <a:r>
              <a:rPr lang="tr-TR" sz="1200" dirty="0"/>
              <a:t>Eğitim ve danışmanlık giderleri , Tasarım giderleri , Test-analiz ve kalibrasyon giderleri ve  Bilgi transferi giderleri için </a:t>
            </a:r>
            <a:r>
              <a:rPr lang="tr-TR" sz="1200" dirty="0" smtClean="0"/>
              <a:t>destek sağlanır</a:t>
            </a:r>
            <a:r>
              <a:rPr lang="tr-TR" sz="1200" dirty="0"/>
              <a:t>.</a:t>
            </a:r>
          </a:p>
        </p:txBody>
      </p:sp>
    </p:spTree>
    <p:custDataLst>
      <p:tags r:id="rId1"/>
    </p:custDataLst>
    <p:extLst>
      <p:ext uri="{BB962C8B-B14F-4D97-AF65-F5344CB8AC3E}">
        <p14:creationId xmlns:p14="http://schemas.microsoft.com/office/powerpoint/2010/main" val="3789633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left)">
                                      <p:cBhvr>
                                        <p:cTn id="19" dur="500"/>
                                        <p:tgtEl>
                                          <p:spTgt spid="11"/>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wipe(left)">
                                      <p:cBhvr>
                                        <p:cTn id="2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animBg="1"/>
      <p:bldP spid="11" grpId="0" animBg="1"/>
      <p:bldP spid="1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ShapeNameChangedByPowerUser1"/>
          <p:cNvGrpSpPr/>
          <p:nvPr/>
        </p:nvGrpSpPr>
        <p:grpSpPr>
          <a:xfrm>
            <a:off x="1905859" y="2778940"/>
            <a:ext cx="1680786" cy="2585155"/>
            <a:chOff x="1018988" y="1637071"/>
            <a:chExt cx="1680883" cy="2585305"/>
          </a:xfrm>
        </p:grpSpPr>
        <p:sp>
          <p:nvSpPr>
            <p:cNvPr id="8" name="Freeform 7"/>
            <p:cNvSpPr/>
            <p:nvPr/>
          </p:nvSpPr>
          <p:spPr>
            <a:xfrm>
              <a:off x="101898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3" name="Freeform 12"/>
            <p:cNvSpPr/>
            <p:nvPr/>
          </p:nvSpPr>
          <p:spPr>
            <a:xfrm>
              <a:off x="140222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29" name="ShapeNameChangedByPowerUser2"/>
          <p:cNvGrpSpPr/>
          <p:nvPr/>
        </p:nvGrpSpPr>
        <p:grpSpPr>
          <a:xfrm>
            <a:off x="4318573" y="2721982"/>
            <a:ext cx="1680786" cy="2585155"/>
            <a:chOff x="3843368" y="1637071"/>
            <a:chExt cx="1680883" cy="2585305"/>
          </a:xfrm>
        </p:grpSpPr>
        <p:sp>
          <p:nvSpPr>
            <p:cNvPr id="14" name="Freeform 13"/>
            <p:cNvSpPr/>
            <p:nvPr/>
          </p:nvSpPr>
          <p:spPr>
            <a:xfrm>
              <a:off x="384336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5" name="Freeform 14"/>
            <p:cNvSpPr/>
            <p:nvPr/>
          </p:nvSpPr>
          <p:spPr>
            <a:xfrm>
              <a:off x="422660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28" name="ShapeNameChangedByPowerUser3"/>
          <p:cNvGrpSpPr/>
          <p:nvPr/>
        </p:nvGrpSpPr>
        <p:grpSpPr>
          <a:xfrm>
            <a:off x="6429539" y="2774030"/>
            <a:ext cx="1680786" cy="2585155"/>
            <a:chOff x="6667748" y="1637071"/>
            <a:chExt cx="1680883" cy="2585305"/>
          </a:xfrm>
        </p:grpSpPr>
        <p:sp>
          <p:nvSpPr>
            <p:cNvPr id="16" name="Freeform 15"/>
            <p:cNvSpPr/>
            <p:nvPr/>
          </p:nvSpPr>
          <p:spPr>
            <a:xfrm>
              <a:off x="6667748"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7" name="Freeform 16"/>
            <p:cNvSpPr/>
            <p:nvPr/>
          </p:nvSpPr>
          <p:spPr>
            <a:xfrm>
              <a:off x="7050988"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27" name="ShapeNameChangedByPowerUser4"/>
          <p:cNvGrpSpPr/>
          <p:nvPr/>
        </p:nvGrpSpPr>
        <p:grpSpPr>
          <a:xfrm>
            <a:off x="8600352" y="2774032"/>
            <a:ext cx="1680785" cy="2585154"/>
            <a:chOff x="9492129" y="1637071"/>
            <a:chExt cx="1680883" cy="2585305"/>
          </a:xfrm>
        </p:grpSpPr>
        <p:sp>
          <p:nvSpPr>
            <p:cNvPr id="18" name="Freeform 17"/>
            <p:cNvSpPr/>
            <p:nvPr/>
          </p:nvSpPr>
          <p:spPr>
            <a:xfrm>
              <a:off x="9492129" y="1828800"/>
              <a:ext cx="1680883" cy="2393576"/>
            </a:xfrm>
            <a:custGeom>
              <a:avLst/>
              <a:gdLst>
                <a:gd name="connsiteX0" fmla="*/ 0 w 1680883"/>
                <a:gd name="connsiteY0" fmla="*/ 0 h 2393576"/>
                <a:gd name="connsiteX1" fmla="*/ 1680883 w 1680883"/>
                <a:gd name="connsiteY1" fmla="*/ 0 h 2393576"/>
                <a:gd name="connsiteX2" fmla="*/ 1680883 w 1680883"/>
                <a:gd name="connsiteY2" fmla="*/ 2393576 h 2393576"/>
                <a:gd name="connsiteX3" fmla="*/ 840442 w 1680883"/>
                <a:gd name="connsiteY3" fmla="*/ 2191871 h 2393576"/>
                <a:gd name="connsiteX4" fmla="*/ 0 w 1680883"/>
                <a:gd name="connsiteY4" fmla="*/ 2393576 h 2393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883" h="2393576">
                  <a:moveTo>
                    <a:pt x="0" y="0"/>
                  </a:moveTo>
                  <a:lnTo>
                    <a:pt x="1680883" y="0"/>
                  </a:lnTo>
                  <a:lnTo>
                    <a:pt x="1680883" y="2393576"/>
                  </a:lnTo>
                  <a:lnTo>
                    <a:pt x="840442" y="2191871"/>
                  </a:lnTo>
                  <a:lnTo>
                    <a:pt x="0" y="239357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9" name="Freeform 18"/>
            <p:cNvSpPr/>
            <p:nvPr/>
          </p:nvSpPr>
          <p:spPr>
            <a:xfrm>
              <a:off x="9875369" y="1637071"/>
              <a:ext cx="1067307" cy="1240601"/>
            </a:xfrm>
            <a:custGeom>
              <a:avLst/>
              <a:gdLst>
                <a:gd name="connsiteX0" fmla="*/ 912449 w 1067307"/>
                <a:gd name="connsiteY0" fmla="*/ 0 h 1240601"/>
                <a:gd name="connsiteX1" fmla="*/ 1067307 w 1067307"/>
                <a:gd name="connsiteY1" fmla="*/ 199103 h 1240601"/>
                <a:gd name="connsiteX2" fmla="*/ 914401 w 1067307"/>
                <a:gd name="connsiteY2" fmla="*/ 191822 h 1240601"/>
                <a:gd name="connsiteX3" fmla="*/ 914401 w 1067307"/>
                <a:gd name="connsiteY3" fmla="*/ 783401 h 1240601"/>
                <a:gd name="connsiteX4" fmla="*/ 457200 w 1067307"/>
                <a:gd name="connsiteY4" fmla="*/ 1240601 h 1240601"/>
                <a:gd name="connsiteX5" fmla="*/ 0 w 1067307"/>
                <a:gd name="connsiteY5" fmla="*/ 783401 h 1240601"/>
                <a:gd name="connsiteX6" fmla="*/ 0 w 1067307"/>
                <a:gd name="connsiteY6" fmla="*/ 3472 h 1240601"/>
                <a:gd name="connsiteX7" fmla="*/ 912449 w 1067307"/>
                <a:gd name="connsiteY7" fmla="*/ 3472 h 124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07" h="1240601">
                  <a:moveTo>
                    <a:pt x="912449" y="0"/>
                  </a:moveTo>
                  <a:lnTo>
                    <a:pt x="1067307" y="199103"/>
                  </a:lnTo>
                  <a:lnTo>
                    <a:pt x="914401" y="191822"/>
                  </a:lnTo>
                  <a:lnTo>
                    <a:pt x="914401" y="783401"/>
                  </a:lnTo>
                  <a:lnTo>
                    <a:pt x="457200" y="1240601"/>
                  </a:lnTo>
                  <a:lnTo>
                    <a:pt x="0" y="783401"/>
                  </a:lnTo>
                  <a:lnTo>
                    <a:pt x="0" y="3472"/>
                  </a:lnTo>
                  <a:lnTo>
                    <a:pt x="912449" y="34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40" name="POWER_USER_ID_ICONS_Gauge"/>
          <p:cNvGrpSpPr>
            <a:grpSpLocks noChangeAspect="1"/>
          </p:cNvGrpSpPr>
          <p:nvPr>
            <p:custDataLst>
              <p:tags r:id="rId2"/>
            </p:custDataLst>
          </p:nvPr>
        </p:nvGrpSpPr>
        <p:grpSpPr bwMode="auto">
          <a:xfrm>
            <a:off x="4849325" y="2913700"/>
            <a:ext cx="641313" cy="642901"/>
            <a:chOff x="40" y="40"/>
            <a:chExt cx="404" cy="405"/>
          </a:xfrm>
          <a:solidFill>
            <a:schemeClr val="bg1"/>
          </a:solidFill>
        </p:grpSpPr>
        <p:sp>
          <p:nvSpPr>
            <p:cNvPr id="41" name="POWER_USER_ID_ICONS_Gauge"/>
            <p:cNvSpPr>
              <a:spLocks/>
            </p:cNvSpPr>
            <p:nvPr>
              <p:custDataLst>
                <p:tags r:id="rId8"/>
              </p:custDataLst>
            </p:nvPr>
          </p:nvSpPr>
          <p:spPr bwMode="auto">
            <a:xfrm>
              <a:off x="91" y="91"/>
              <a:ext cx="303" cy="264"/>
            </a:xfrm>
            <a:custGeom>
              <a:avLst/>
              <a:gdLst>
                <a:gd name="T0" fmla="*/ 337 w 419"/>
                <a:gd name="T1" fmla="*/ 317 h 364"/>
                <a:gd name="T2" fmla="*/ 376 w 419"/>
                <a:gd name="T3" fmla="*/ 209 h 364"/>
                <a:gd name="T4" fmla="*/ 209 w 419"/>
                <a:gd name="T5" fmla="*/ 43 h 364"/>
                <a:gd name="T6" fmla="*/ 43 w 419"/>
                <a:gd name="T7" fmla="*/ 209 h 364"/>
                <a:gd name="T8" fmla="*/ 82 w 419"/>
                <a:gd name="T9" fmla="*/ 317 h 364"/>
                <a:gd name="T10" fmla="*/ 90 w 419"/>
                <a:gd name="T11" fmla="*/ 326 h 364"/>
                <a:gd name="T12" fmla="*/ 57 w 419"/>
                <a:gd name="T13" fmla="*/ 353 h 364"/>
                <a:gd name="T14" fmla="*/ 66 w 419"/>
                <a:gd name="T15" fmla="*/ 364 h 364"/>
                <a:gd name="T16" fmla="*/ 99 w 419"/>
                <a:gd name="T17" fmla="*/ 337 h 364"/>
                <a:gd name="T18" fmla="*/ 90 w 419"/>
                <a:gd name="T19" fmla="*/ 326 h 364"/>
                <a:gd name="T20" fmla="*/ 71 w 419"/>
                <a:gd name="T21" fmla="*/ 342 h 364"/>
                <a:gd name="T22" fmla="*/ 63 w 419"/>
                <a:gd name="T23" fmla="*/ 332 h 364"/>
                <a:gd name="T24" fmla="*/ 20 w 419"/>
                <a:gd name="T25" fmla="*/ 230 h 364"/>
                <a:gd name="T26" fmla="*/ 1 w 419"/>
                <a:gd name="T27" fmla="*/ 231 h 364"/>
                <a:gd name="T28" fmla="*/ 0 w 419"/>
                <a:gd name="T29" fmla="*/ 217 h 364"/>
                <a:gd name="T30" fmla="*/ 19 w 419"/>
                <a:gd name="T31" fmla="*/ 216 h 364"/>
                <a:gd name="T32" fmla="*/ 18 w 419"/>
                <a:gd name="T33" fmla="*/ 209 h 364"/>
                <a:gd name="T34" fmla="*/ 67 w 419"/>
                <a:gd name="T35" fmla="*/ 82 h 364"/>
                <a:gd name="T36" fmla="*/ 54 w 419"/>
                <a:gd name="T37" fmla="*/ 69 h 364"/>
                <a:gd name="T38" fmla="*/ 64 w 419"/>
                <a:gd name="T39" fmla="*/ 59 h 364"/>
                <a:gd name="T40" fmla="*/ 77 w 419"/>
                <a:gd name="T41" fmla="*/ 72 h 364"/>
                <a:gd name="T42" fmla="*/ 202 w 419"/>
                <a:gd name="T43" fmla="*/ 19 h 364"/>
                <a:gd name="T44" fmla="*/ 202 w 419"/>
                <a:gd name="T45" fmla="*/ 0 h 364"/>
                <a:gd name="T46" fmla="*/ 217 w 419"/>
                <a:gd name="T47" fmla="*/ 0 h 364"/>
                <a:gd name="T48" fmla="*/ 217 w 419"/>
                <a:gd name="T49" fmla="*/ 19 h 364"/>
                <a:gd name="T50" fmla="*/ 342 w 419"/>
                <a:gd name="T51" fmla="*/ 72 h 364"/>
                <a:gd name="T52" fmla="*/ 355 w 419"/>
                <a:gd name="T53" fmla="*/ 59 h 364"/>
                <a:gd name="T54" fmla="*/ 365 w 419"/>
                <a:gd name="T55" fmla="*/ 69 h 364"/>
                <a:gd name="T56" fmla="*/ 352 w 419"/>
                <a:gd name="T57" fmla="*/ 82 h 364"/>
                <a:gd name="T58" fmla="*/ 400 w 419"/>
                <a:gd name="T59" fmla="*/ 209 h 364"/>
                <a:gd name="T60" fmla="*/ 400 w 419"/>
                <a:gd name="T61" fmla="*/ 216 h 364"/>
                <a:gd name="T62" fmla="*/ 419 w 419"/>
                <a:gd name="T63" fmla="*/ 217 h 364"/>
                <a:gd name="T64" fmla="*/ 418 w 419"/>
                <a:gd name="T65" fmla="*/ 231 h 364"/>
                <a:gd name="T66" fmla="*/ 399 w 419"/>
                <a:gd name="T67" fmla="*/ 230 h 364"/>
                <a:gd name="T68" fmla="*/ 356 w 419"/>
                <a:gd name="T69" fmla="*/ 332 h 364"/>
                <a:gd name="T70" fmla="*/ 348 w 419"/>
                <a:gd name="T71" fmla="*/ 342 h 364"/>
                <a:gd name="T72" fmla="*/ 362 w 419"/>
                <a:gd name="T73" fmla="*/ 353 h 364"/>
                <a:gd name="T74" fmla="*/ 353 w 419"/>
                <a:gd name="T75" fmla="*/ 364 h 364"/>
                <a:gd name="T76" fmla="*/ 320 w 419"/>
                <a:gd name="T77" fmla="*/ 337 h 364"/>
                <a:gd name="T78" fmla="*/ 329 w 419"/>
                <a:gd name="T79" fmla="*/ 326 h 364"/>
                <a:gd name="T80" fmla="*/ 337 w 419"/>
                <a:gd name="T81" fmla="*/ 31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9" h="364">
                  <a:moveTo>
                    <a:pt x="337" y="317"/>
                  </a:moveTo>
                  <a:cubicBezTo>
                    <a:pt x="362" y="287"/>
                    <a:pt x="376" y="249"/>
                    <a:pt x="376" y="209"/>
                  </a:cubicBezTo>
                  <a:cubicBezTo>
                    <a:pt x="376" y="117"/>
                    <a:pt x="301" y="43"/>
                    <a:pt x="209" y="43"/>
                  </a:cubicBezTo>
                  <a:cubicBezTo>
                    <a:pt x="117" y="43"/>
                    <a:pt x="43" y="117"/>
                    <a:pt x="43" y="209"/>
                  </a:cubicBezTo>
                  <a:cubicBezTo>
                    <a:pt x="43" y="249"/>
                    <a:pt x="57" y="287"/>
                    <a:pt x="82" y="317"/>
                  </a:cubicBezTo>
                  <a:lnTo>
                    <a:pt x="90" y="326"/>
                  </a:lnTo>
                  <a:lnTo>
                    <a:pt x="57" y="353"/>
                  </a:lnTo>
                  <a:lnTo>
                    <a:pt x="66" y="364"/>
                  </a:lnTo>
                  <a:lnTo>
                    <a:pt x="99" y="337"/>
                  </a:lnTo>
                  <a:lnTo>
                    <a:pt x="90" y="326"/>
                  </a:lnTo>
                  <a:lnTo>
                    <a:pt x="71" y="342"/>
                  </a:lnTo>
                  <a:lnTo>
                    <a:pt x="63" y="332"/>
                  </a:lnTo>
                  <a:cubicBezTo>
                    <a:pt x="39" y="303"/>
                    <a:pt x="24" y="267"/>
                    <a:pt x="20" y="230"/>
                  </a:cubicBezTo>
                  <a:lnTo>
                    <a:pt x="1" y="231"/>
                  </a:lnTo>
                  <a:lnTo>
                    <a:pt x="0" y="217"/>
                  </a:lnTo>
                  <a:lnTo>
                    <a:pt x="19" y="216"/>
                  </a:lnTo>
                  <a:cubicBezTo>
                    <a:pt x="18" y="214"/>
                    <a:pt x="18" y="211"/>
                    <a:pt x="18" y="209"/>
                  </a:cubicBezTo>
                  <a:cubicBezTo>
                    <a:pt x="18" y="160"/>
                    <a:pt x="37" y="116"/>
                    <a:pt x="67" y="82"/>
                  </a:cubicBezTo>
                  <a:lnTo>
                    <a:pt x="54" y="69"/>
                  </a:lnTo>
                  <a:lnTo>
                    <a:pt x="64" y="59"/>
                  </a:lnTo>
                  <a:lnTo>
                    <a:pt x="77" y="72"/>
                  </a:lnTo>
                  <a:cubicBezTo>
                    <a:pt x="110" y="40"/>
                    <a:pt x="154" y="20"/>
                    <a:pt x="202" y="19"/>
                  </a:cubicBezTo>
                  <a:lnTo>
                    <a:pt x="202" y="0"/>
                  </a:lnTo>
                  <a:lnTo>
                    <a:pt x="217" y="0"/>
                  </a:lnTo>
                  <a:lnTo>
                    <a:pt x="217" y="19"/>
                  </a:lnTo>
                  <a:cubicBezTo>
                    <a:pt x="265" y="20"/>
                    <a:pt x="309" y="40"/>
                    <a:pt x="342" y="72"/>
                  </a:cubicBezTo>
                  <a:lnTo>
                    <a:pt x="355" y="59"/>
                  </a:lnTo>
                  <a:lnTo>
                    <a:pt x="365" y="69"/>
                  </a:lnTo>
                  <a:lnTo>
                    <a:pt x="352" y="82"/>
                  </a:lnTo>
                  <a:cubicBezTo>
                    <a:pt x="382" y="116"/>
                    <a:pt x="400" y="160"/>
                    <a:pt x="400" y="209"/>
                  </a:cubicBezTo>
                  <a:cubicBezTo>
                    <a:pt x="400" y="211"/>
                    <a:pt x="400" y="214"/>
                    <a:pt x="400" y="216"/>
                  </a:cubicBezTo>
                  <a:lnTo>
                    <a:pt x="419" y="217"/>
                  </a:lnTo>
                  <a:lnTo>
                    <a:pt x="418" y="231"/>
                  </a:lnTo>
                  <a:lnTo>
                    <a:pt x="399" y="230"/>
                  </a:lnTo>
                  <a:cubicBezTo>
                    <a:pt x="395" y="267"/>
                    <a:pt x="380" y="303"/>
                    <a:pt x="356" y="332"/>
                  </a:cubicBezTo>
                  <a:lnTo>
                    <a:pt x="348" y="342"/>
                  </a:lnTo>
                  <a:lnTo>
                    <a:pt x="362" y="353"/>
                  </a:lnTo>
                  <a:lnTo>
                    <a:pt x="353" y="364"/>
                  </a:lnTo>
                  <a:lnTo>
                    <a:pt x="320" y="337"/>
                  </a:lnTo>
                  <a:lnTo>
                    <a:pt x="329" y="326"/>
                  </a:lnTo>
                  <a:lnTo>
                    <a:pt x="337" y="317"/>
                  </a:ln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42" name="POWER_USER_ID_ICONS_Gauge"/>
            <p:cNvSpPr>
              <a:spLocks/>
            </p:cNvSpPr>
            <p:nvPr>
              <p:custDataLst>
                <p:tags r:id="rId9"/>
              </p:custDataLst>
            </p:nvPr>
          </p:nvSpPr>
          <p:spPr bwMode="auto">
            <a:xfrm>
              <a:off x="202" y="172"/>
              <a:ext cx="114" cy="110"/>
            </a:xfrm>
            <a:custGeom>
              <a:avLst/>
              <a:gdLst>
                <a:gd name="T0" fmla="*/ 0 w 157"/>
                <a:gd name="T1" fmla="*/ 131 h 151"/>
                <a:gd name="T2" fmla="*/ 20 w 157"/>
                <a:gd name="T3" fmla="*/ 151 h 151"/>
                <a:gd name="T4" fmla="*/ 45 w 157"/>
                <a:gd name="T5" fmla="*/ 124 h 151"/>
                <a:gd name="T6" fmla="*/ 57 w 157"/>
                <a:gd name="T7" fmla="*/ 126 h 151"/>
                <a:gd name="T8" fmla="*/ 84 w 157"/>
                <a:gd name="T9" fmla="*/ 96 h 151"/>
                <a:gd name="T10" fmla="*/ 81 w 157"/>
                <a:gd name="T11" fmla="*/ 84 h 151"/>
                <a:gd name="T12" fmla="*/ 157 w 157"/>
                <a:gd name="T13" fmla="*/ 0 h 151"/>
                <a:gd name="T14" fmla="*/ 70 w 157"/>
                <a:gd name="T15" fmla="*/ 73 h 151"/>
                <a:gd name="T16" fmla="*/ 54 w 157"/>
                <a:gd name="T17" fmla="*/ 69 h 151"/>
                <a:gd name="T18" fmla="*/ 27 w 157"/>
                <a:gd name="T19" fmla="*/ 99 h 151"/>
                <a:gd name="T20" fmla="*/ 28 w 157"/>
                <a:gd name="T21" fmla="*/ 107 h 151"/>
                <a:gd name="T22" fmla="*/ 0 w 157"/>
                <a:gd name="T23" fmla="*/ 13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151">
                  <a:moveTo>
                    <a:pt x="0" y="131"/>
                  </a:moveTo>
                  <a:lnTo>
                    <a:pt x="20" y="151"/>
                  </a:lnTo>
                  <a:lnTo>
                    <a:pt x="45" y="124"/>
                  </a:lnTo>
                  <a:cubicBezTo>
                    <a:pt x="49" y="125"/>
                    <a:pt x="53" y="126"/>
                    <a:pt x="57" y="126"/>
                  </a:cubicBezTo>
                  <a:cubicBezTo>
                    <a:pt x="73" y="125"/>
                    <a:pt x="85" y="111"/>
                    <a:pt x="84" y="96"/>
                  </a:cubicBezTo>
                  <a:cubicBezTo>
                    <a:pt x="84" y="91"/>
                    <a:pt x="82" y="88"/>
                    <a:pt x="81" y="84"/>
                  </a:cubicBezTo>
                  <a:lnTo>
                    <a:pt x="157" y="0"/>
                  </a:lnTo>
                  <a:lnTo>
                    <a:pt x="70" y="73"/>
                  </a:lnTo>
                  <a:cubicBezTo>
                    <a:pt x="65" y="70"/>
                    <a:pt x="59" y="69"/>
                    <a:pt x="54" y="69"/>
                  </a:cubicBezTo>
                  <a:cubicBezTo>
                    <a:pt x="38" y="70"/>
                    <a:pt x="26" y="84"/>
                    <a:pt x="27" y="99"/>
                  </a:cubicBezTo>
                  <a:cubicBezTo>
                    <a:pt x="27" y="102"/>
                    <a:pt x="28" y="105"/>
                    <a:pt x="28" y="107"/>
                  </a:cubicBezTo>
                  <a:lnTo>
                    <a:pt x="0" y="131"/>
                  </a:ln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43" name="POWER_USER_ID_ICONS_Gauge"/>
            <p:cNvSpPr>
              <a:spLocks noEditPoints="1"/>
            </p:cNvSpPr>
            <p:nvPr>
              <p:custDataLst>
                <p:tags r:id="rId10"/>
              </p:custDataLst>
            </p:nvPr>
          </p:nvSpPr>
          <p:spPr bwMode="auto">
            <a:xfrm>
              <a:off x="40" y="40"/>
              <a:ext cx="404" cy="405"/>
            </a:xfrm>
            <a:custGeom>
              <a:avLst/>
              <a:gdLst>
                <a:gd name="T0" fmla="*/ 279 w 558"/>
                <a:gd name="T1" fmla="*/ 0 h 558"/>
                <a:gd name="T2" fmla="*/ 0 w 558"/>
                <a:gd name="T3" fmla="*/ 279 h 558"/>
                <a:gd name="T4" fmla="*/ 279 w 558"/>
                <a:gd name="T5" fmla="*/ 558 h 558"/>
                <a:gd name="T6" fmla="*/ 558 w 558"/>
                <a:gd name="T7" fmla="*/ 279 h 558"/>
                <a:gd name="T8" fmla="*/ 279 w 558"/>
                <a:gd name="T9" fmla="*/ 0 h 558"/>
                <a:gd name="T10" fmla="*/ 279 w 558"/>
                <a:gd name="T11" fmla="*/ 43 h 558"/>
                <a:gd name="T12" fmla="*/ 515 w 558"/>
                <a:gd name="T13" fmla="*/ 279 h 558"/>
                <a:gd name="T14" fmla="*/ 279 w 558"/>
                <a:gd name="T15" fmla="*/ 516 h 558"/>
                <a:gd name="T16" fmla="*/ 43 w 558"/>
                <a:gd name="T17" fmla="*/ 279 h 558"/>
                <a:gd name="T18" fmla="*/ 279 w 558"/>
                <a:gd name="T19" fmla="*/ 4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8" h="558">
                  <a:moveTo>
                    <a:pt x="279" y="0"/>
                  </a:moveTo>
                  <a:cubicBezTo>
                    <a:pt x="125" y="0"/>
                    <a:pt x="0" y="125"/>
                    <a:pt x="0" y="279"/>
                  </a:cubicBezTo>
                  <a:cubicBezTo>
                    <a:pt x="0" y="433"/>
                    <a:pt x="125" y="558"/>
                    <a:pt x="279" y="558"/>
                  </a:cubicBezTo>
                  <a:cubicBezTo>
                    <a:pt x="433" y="558"/>
                    <a:pt x="558" y="433"/>
                    <a:pt x="558" y="279"/>
                  </a:cubicBezTo>
                  <a:cubicBezTo>
                    <a:pt x="558" y="125"/>
                    <a:pt x="433" y="0"/>
                    <a:pt x="279" y="0"/>
                  </a:cubicBezTo>
                  <a:close/>
                  <a:moveTo>
                    <a:pt x="279" y="43"/>
                  </a:moveTo>
                  <a:cubicBezTo>
                    <a:pt x="410" y="43"/>
                    <a:pt x="515" y="149"/>
                    <a:pt x="515" y="279"/>
                  </a:cubicBezTo>
                  <a:cubicBezTo>
                    <a:pt x="515" y="410"/>
                    <a:pt x="410" y="516"/>
                    <a:pt x="279" y="516"/>
                  </a:cubicBezTo>
                  <a:cubicBezTo>
                    <a:pt x="149" y="516"/>
                    <a:pt x="43" y="410"/>
                    <a:pt x="43" y="279"/>
                  </a:cubicBezTo>
                  <a:cubicBezTo>
                    <a:pt x="43" y="149"/>
                    <a:pt x="149" y="43"/>
                    <a:pt x="279" y="43"/>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grpSp>
        <p:nvGrpSpPr>
          <p:cNvPr id="44" name="POWER_USER_ID_ICONS_Running"/>
          <p:cNvGrpSpPr>
            <a:grpSpLocks noChangeAspect="1"/>
          </p:cNvGrpSpPr>
          <p:nvPr>
            <p:custDataLst>
              <p:tags r:id="rId3"/>
            </p:custDataLst>
          </p:nvPr>
        </p:nvGrpSpPr>
        <p:grpSpPr bwMode="auto">
          <a:xfrm flipH="1">
            <a:off x="7008009" y="2924017"/>
            <a:ext cx="523845" cy="747670"/>
            <a:chOff x="8" y="8"/>
            <a:chExt cx="330" cy="471"/>
          </a:xfrm>
          <a:solidFill>
            <a:schemeClr val="bg1"/>
          </a:solidFill>
        </p:grpSpPr>
        <p:sp>
          <p:nvSpPr>
            <p:cNvPr id="45" name="POWER_USER_ID_ICONS_Running"/>
            <p:cNvSpPr>
              <a:spLocks noChangeArrowheads="1"/>
            </p:cNvSpPr>
            <p:nvPr>
              <p:custDataLst>
                <p:tags r:id="rId6"/>
              </p:custDataLst>
            </p:nvPr>
          </p:nvSpPr>
          <p:spPr bwMode="auto">
            <a:xfrm>
              <a:off x="26" y="8"/>
              <a:ext cx="109" cy="116"/>
            </a:xfrm>
            <a:prstGeom prst="ellipse">
              <a:avLst/>
            </a:pr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46" name="POWER_USER_ID_ICONS_Running"/>
            <p:cNvSpPr>
              <a:spLocks/>
            </p:cNvSpPr>
            <p:nvPr>
              <p:custDataLst>
                <p:tags r:id="rId7"/>
              </p:custDataLst>
            </p:nvPr>
          </p:nvSpPr>
          <p:spPr bwMode="auto">
            <a:xfrm>
              <a:off x="8" y="99"/>
              <a:ext cx="330" cy="380"/>
            </a:xfrm>
            <a:custGeom>
              <a:avLst/>
              <a:gdLst>
                <a:gd name="T0" fmla="*/ 650 w 879"/>
                <a:gd name="T1" fmla="*/ 681 h 1007"/>
                <a:gd name="T2" fmla="*/ 637 w 879"/>
                <a:gd name="T3" fmla="*/ 422 h 1007"/>
                <a:gd name="T4" fmla="*/ 478 w 879"/>
                <a:gd name="T5" fmla="*/ 150 h 1007"/>
                <a:gd name="T6" fmla="*/ 541 w 879"/>
                <a:gd name="T7" fmla="*/ 123 h 1007"/>
                <a:gd name="T8" fmla="*/ 662 w 879"/>
                <a:gd name="T9" fmla="*/ 300 h 1007"/>
                <a:gd name="T10" fmla="*/ 752 w 879"/>
                <a:gd name="T11" fmla="*/ 232 h 1007"/>
                <a:gd name="T12" fmla="*/ 643 w 879"/>
                <a:gd name="T13" fmla="*/ 14 h 1007"/>
                <a:gd name="T14" fmla="*/ 357 w 879"/>
                <a:gd name="T15" fmla="*/ 0 h 1007"/>
                <a:gd name="T16" fmla="*/ 191 w 879"/>
                <a:gd name="T17" fmla="*/ 109 h 1007"/>
                <a:gd name="T18" fmla="*/ 178 w 879"/>
                <a:gd name="T19" fmla="*/ 327 h 1007"/>
                <a:gd name="T20" fmla="*/ 0 w 879"/>
                <a:gd name="T21" fmla="*/ 334 h 1007"/>
                <a:gd name="T22" fmla="*/ 13 w 879"/>
                <a:gd name="T23" fmla="*/ 476 h 1007"/>
                <a:gd name="T24" fmla="*/ 312 w 879"/>
                <a:gd name="T25" fmla="*/ 449 h 1007"/>
                <a:gd name="T26" fmla="*/ 344 w 879"/>
                <a:gd name="T27" fmla="*/ 340 h 1007"/>
                <a:gd name="T28" fmla="*/ 401 w 879"/>
                <a:gd name="T29" fmla="*/ 463 h 1007"/>
                <a:gd name="T30" fmla="*/ 389 w 879"/>
                <a:gd name="T31" fmla="*/ 510 h 1007"/>
                <a:gd name="T32" fmla="*/ 217 w 879"/>
                <a:gd name="T33" fmla="*/ 619 h 1007"/>
                <a:gd name="T34" fmla="*/ 229 w 879"/>
                <a:gd name="T35" fmla="*/ 1007 h 1007"/>
                <a:gd name="T36" fmla="*/ 357 w 879"/>
                <a:gd name="T37" fmla="*/ 1007 h 1007"/>
                <a:gd name="T38" fmla="*/ 382 w 879"/>
                <a:gd name="T39" fmla="*/ 708 h 1007"/>
                <a:gd name="T40" fmla="*/ 529 w 879"/>
                <a:gd name="T41" fmla="*/ 606 h 1007"/>
                <a:gd name="T42" fmla="*/ 516 w 879"/>
                <a:gd name="T43" fmla="*/ 817 h 1007"/>
                <a:gd name="T44" fmla="*/ 860 w 879"/>
                <a:gd name="T45" fmla="*/ 817 h 1007"/>
                <a:gd name="T46" fmla="*/ 879 w 879"/>
                <a:gd name="T47" fmla="*/ 674 h 1007"/>
                <a:gd name="T48" fmla="*/ 650 w 879"/>
                <a:gd name="T49" fmla="*/ 681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9" h="1007">
                  <a:moveTo>
                    <a:pt x="650" y="681"/>
                  </a:moveTo>
                  <a:cubicBezTo>
                    <a:pt x="662" y="646"/>
                    <a:pt x="637" y="422"/>
                    <a:pt x="637" y="422"/>
                  </a:cubicBezTo>
                  <a:lnTo>
                    <a:pt x="478" y="150"/>
                  </a:lnTo>
                  <a:lnTo>
                    <a:pt x="541" y="123"/>
                  </a:lnTo>
                  <a:lnTo>
                    <a:pt x="662" y="300"/>
                  </a:lnTo>
                  <a:lnTo>
                    <a:pt x="752" y="232"/>
                  </a:lnTo>
                  <a:lnTo>
                    <a:pt x="643" y="14"/>
                  </a:lnTo>
                  <a:lnTo>
                    <a:pt x="357" y="0"/>
                  </a:lnTo>
                  <a:cubicBezTo>
                    <a:pt x="338" y="34"/>
                    <a:pt x="217" y="102"/>
                    <a:pt x="191" y="109"/>
                  </a:cubicBezTo>
                  <a:cubicBezTo>
                    <a:pt x="166" y="116"/>
                    <a:pt x="178" y="327"/>
                    <a:pt x="178" y="327"/>
                  </a:cubicBezTo>
                  <a:lnTo>
                    <a:pt x="0" y="334"/>
                  </a:lnTo>
                  <a:lnTo>
                    <a:pt x="13" y="476"/>
                  </a:lnTo>
                  <a:lnTo>
                    <a:pt x="312" y="449"/>
                  </a:lnTo>
                  <a:lnTo>
                    <a:pt x="344" y="340"/>
                  </a:lnTo>
                  <a:cubicBezTo>
                    <a:pt x="344" y="340"/>
                    <a:pt x="389" y="442"/>
                    <a:pt x="401" y="463"/>
                  </a:cubicBezTo>
                  <a:cubicBezTo>
                    <a:pt x="414" y="483"/>
                    <a:pt x="389" y="510"/>
                    <a:pt x="389" y="510"/>
                  </a:cubicBezTo>
                  <a:lnTo>
                    <a:pt x="217" y="619"/>
                  </a:lnTo>
                  <a:lnTo>
                    <a:pt x="229" y="1007"/>
                  </a:lnTo>
                  <a:lnTo>
                    <a:pt x="357" y="1007"/>
                  </a:lnTo>
                  <a:lnTo>
                    <a:pt x="382" y="708"/>
                  </a:lnTo>
                  <a:lnTo>
                    <a:pt x="529" y="606"/>
                  </a:lnTo>
                  <a:lnTo>
                    <a:pt x="516" y="817"/>
                  </a:lnTo>
                  <a:lnTo>
                    <a:pt x="860" y="817"/>
                  </a:lnTo>
                  <a:lnTo>
                    <a:pt x="879" y="674"/>
                  </a:lnTo>
                  <a:cubicBezTo>
                    <a:pt x="841" y="612"/>
                    <a:pt x="637" y="715"/>
                    <a:pt x="650" y="681"/>
                  </a:cubicBezTo>
                  <a:close/>
                </a:path>
              </a:pathLst>
            </a:custGeom>
            <a:grp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grpSp>
      <p:sp>
        <p:nvSpPr>
          <p:cNvPr id="47" name="POWER_USER_ID_ICONS_Stopwatch5"/>
          <p:cNvSpPr>
            <a:spLocks noChangeAspect="1" noEditPoints="1"/>
          </p:cNvSpPr>
          <p:nvPr>
            <p:custDataLst>
              <p:tags r:id="rId4"/>
            </p:custDataLst>
          </p:nvPr>
        </p:nvSpPr>
        <p:spPr bwMode="auto">
          <a:xfrm>
            <a:off x="9111962" y="2960501"/>
            <a:ext cx="719097" cy="533369"/>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bg1"/>
          </a:solidFill>
          <a:ln>
            <a:noFill/>
          </a:ln>
          <a:extLst/>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48" name="POWER_USER_ID_ICONS_Magnifying_Glass2"/>
          <p:cNvSpPr>
            <a:spLocks noChangeAspect="1" noEditPoints="1"/>
          </p:cNvSpPr>
          <p:nvPr>
            <p:custDataLst>
              <p:tags r:id="rId5"/>
            </p:custDataLst>
          </p:nvPr>
        </p:nvSpPr>
        <p:spPr bwMode="auto">
          <a:xfrm>
            <a:off x="2478774" y="3072810"/>
            <a:ext cx="534957" cy="534957"/>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chemeClr val="bg1"/>
          </a:solidFill>
          <a:ln w="0">
            <a:noFill/>
            <a:prstDash val="solid"/>
            <a:round/>
            <a:headEnd/>
            <a:tailEnd/>
          </a:ln>
        </p:spPr>
        <p:txBody>
          <a:bodyPr vert="horz" wrap="square" lIns="91434" tIns="45718" rIns="91434" bIns="45718" numCol="1" anchor="t" anchorCtr="0" compatLnSpc="1">
            <a:prstTxWarp prst="textNoShape">
              <a:avLst/>
            </a:prstTxWarp>
          </a:bodyPr>
          <a:lstStyle/>
          <a:p>
            <a:pPr marL="0" marR="0" lvl="0" indent="0" algn="l" defTabSz="91438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ヒラギノ角ゴ Pro W3" pitchFamily="1" charset="-128"/>
              <a:cs typeface="+mn-cs"/>
            </a:endParaRPr>
          </a:p>
        </p:txBody>
      </p:sp>
      <p:sp>
        <p:nvSpPr>
          <p:cNvPr id="34" name="Metin kutusu 33"/>
          <p:cNvSpPr txBox="1"/>
          <p:nvPr/>
        </p:nvSpPr>
        <p:spPr>
          <a:xfrm>
            <a:off x="401628" y="233860"/>
            <a:ext cx="4480832" cy="593093"/>
          </a:xfrm>
          <a:prstGeom prst="rect">
            <a:avLst/>
          </a:prstGeom>
          <a:solidFill>
            <a:schemeClr val="bg1"/>
          </a:solidFill>
        </p:spPr>
        <p:txBody>
          <a:bodyPr wrap="square" rtlCol="0">
            <a:spAutoFit/>
          </a:bodyPr>
          <a:lstStyle/>
          <a:p>
            <a:pPr marL="0" marR="0" lvl="0" indent="0" algn="l" defTabSz="917783" rtl="0" eaLnBrk="1" fontAlgn="base" latinLnBrk="0" hangingPunct="1">
              <a:lnSpc>
                <a:spcPct val="90000"/>
              </a:lnSpc>
              <a:spcBef>
                <a:spcPct val="0"/>
              </a:spcBef>
              <a:spcAft>
                <a:spcPct val="0"/>
              </a:spcAft>
              <a:buClrTx/>
              <a:buSzTx/>
              <a:buFontTx/>
              <a:buNone/>
              <a:tabLst/>
              <a:defRPr/>
            </a:pPr>
            <a:r>
              <a:rPr kumimoji="0" lang="tr-TR" sz="3613" b="1" i="0" u="none" strike="noStrike" kern="1200" cap="none" spc="0" normalizeH="0" baseline="0" noProof="0" dirty="0">
                <a:ln>
                  <a:noFill/>
                </a:ln>
                <a:solidFill>
                  <a:srgbClr val="00A3CA"/>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Yatırım Projesi Süresi</a:t>
            </a:r>
          </a:p>
        </p:txBody>
      </p:sp>
      <p:pic>
        <p:nvPicPr>
          <p:cNvPr id="50" name="Picture 3"/>
          <p:cNvPicPr>
            <a:picLocks noChangeAspect="1" noChangeArrowheads="1"/>
          </p:cNvPicPr>
          <p:nvPr/>
        </p:nvPicPr>
        <p:blipFill>
          <a:blip r:embed="rId13" cstate="print"/>
          <a:srcRect/>
          <a:stretch>
            <a:fillRect/>
          </a:stretch>
        </p:blipFill>
        <p:spPr bwMode="auto">
          <a:xfrm>
            <a:off x="11299547" y="130154"/>
            <a:ext cx="722715" cy="509772"/>
          </a:xfrm>
          <a:prstGeom prst="rect">
            <a:avLst/>
          </a:prstGeom>
          <a:noFill/>
          <a:ln w="9525">
            <a:noFill/>
            <a:miter lim="800000"/>
            <a:headEnd/>
            <a:tailEnd/>
          </a:ln>
        </p:spPr>
      </p:pic>
      <p:sp>
        <p:nvSpPr>
          <p:cNvPr id="4" name="Dikdörtgen 3"/>
          <p:cNvSpPr/>
          <p:nvPr/>
        </p:nvSpPr>
        <p:spPr>
          <a:xfrm>
            <a:off x="1729640" y="1056405"/>
            <a:ext cx="3253363" cy="1631216"/>
          </a:xfrm>
          <a:prstGeom prst="rect">
            <a:avLst/>
          </a:prstGeom>
        </p:spPr>
        <p:txBody>
          <a:bodyPr wrap="square">
            <a:spAutoFit/>
          </a:bodyPr>
          <a:lstStyle/>
          <a:p>
            <a:pPr algn="just" defTabSz="917783" fontAlgn="base">
              <a:spcBef>
                <a:spcPct val="0"/>
              </a:spcBef>
              <a:spcAft>
                <a:spcPct val="0"/>
              </a:spcAft>
              <a:defRPr/>
            </a:pPr>
            <a:r>
              <a:rPr lang="tr-TR" sz="2000" dirty="0">
                <a:solidFill>
                  <a:prstClr val="black"/>
                </a:solidFill>
                <a:latin typeface="Calibri" pitchFamily="34" charset="0"/>
                <a:ea typeface="ヒラギノ角ゴ Pro W3" pitchFamily="1" charset="-128"/>
              </a:rPr>
              <a:t>İşletme, yatırım proje süresini 4 ay ve katları şeklinde olmak üzere en az 8 ay en fazla 36 ay olacak şekilde belirler</a:t>
            </a:r>
          </a:p>
          <a:p>
            <a:pPr marL="0" marR="0" lvl="0" indent="0" algn="just" defTabSz="917783" rtl="0" eaLnBrk="1" fontAlgn="base" latinLnBrk="0" hangingPunct="1">
              <a:lnSpc>
                <a:spcPct val="100000"/>
              </a:lnSpc>
              <a:spcBef>
                <a:spcPct val="0"/>
              </a:spcBef>
              <a:spcAft>
                <a:spcPct val="0"/>
              </a:spcAft>
              <a:buClrTx/>
              <a:buSzTx/>
              <a:buFontTx/>
              <a:buNone/>
              <a:tabLst/>
              <a:defRPr/>
            </a:pPr>
            <a:endParaRPr kumimoji="0" lang="tr-TR" sz="2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itchFamily="34" charset="0"/>
              <a:ea typeface="ヒラギノ角ゴ Pro W3" pitchFamily="1" charset="-128"/>
            </a:endParaRPr>
          </a:p>
        </p:txBody>
      </p:sp>
      <p:sp>
        <p:nvSpPr>
          <p:cNvPr id="5" name="Dikdörtgen 4"/>
          <p:cNvSpPr/>
          <p:nvPr/>
        </p:nvSpPr>
        <p:spPr>
          <a:xfrm>
            <a:off x="4205320" y="5635263"/>
            <a:ext cx="4223571" cy="461665"/>
          </a:xfrm>
          <a:prstGeom prst="rect">
            <a:avLst/>
          </a:prstGeom>
        </p:spPr>
        <p:txBody>
          <a:bodyPr wrap="square">
            <a:spAutoFit/>
          </a:bodyPr>
          <a:lstStyle/>
          <a:p>
            <a:pPr marL="0" marR="0" lvl="0" indent="0" algn="just" defTabSz="917783" rtl="0" eaLnBrk="1" fontAlgn="base" latinLnBrk="0" hangingPunct="1">
              <a:lnSpc>
                <a:spcPct val="100000"/>
              </a:lnSpc>
              <a:spcBef>
                <a:spcPct val="0"/>
              </a:spcBef>
              <a:spcAft>
                <a:spcPct val="0"/>
              </a:spcAft>
              <a:buClrTx/>
              <a:buSzTx/>
              <a:buFontTx/>
              <a:buNone/>
              <a:tabLst/>
              <a:defRPr/>
            </a:pPr>
            <a:r>
              <a:rPr kumimoji="0" lang="tr-TR" sz="2400" b="1" i="0" u="none" strike="noStrike" kern="1200" cap="none" spc="0" normalizeH="0" baseline="0" noProof="0" dirty="0" smtClean="0">
                <a:ln>
                  <a:noFill/>
                </a:ln>
                <a:solidFill>
                  <a:prstClr val="black"/>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4’er aylık </a:t>
            </a:r>
            <a:r>
              <a:rPr kumimoji="0" lang="nn-NO" sz="2400" b="1" i="0" u="none" strike="noStrike" kern="1200" cap="none" spc="0" normalizeH="0" baseline="0" noProof="0" dirty="0" smtClean="0">
                <a:ln>
                  <a:noFill/>
                </a:ln>
                <a:solidFill>
                  <a:prstClr val="black"/>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rPr>
              <a:t>Faaliyet-zaman planı</a:t>
            </a:r>
            <a:endParaRPr kumimoji="0" lang="nn-NO" sz="24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itchFamily="34" charset="0"/>
              <a:ea typeface="ヒラギノ角ゴ Pro W3" pitchFamily="1" charset="-128"/>
              <a:cs typeface="+mn-cs"/>
            </a:endParaRPr>
          </a:p>
        </p:txBody>
      </p:sp>
      <p:sp>
        <p:nvSpPr>
          <p:cNvPr id="2" name="Dikdörtgen 1"/>
          <p:cNvSpPr/>
          <p:nvPr/>
        </p:nvSpPr>
        <p:spPr>
          <a:xfrm>
            <a:off x="6416642" y="1005000"/>
            <a:ext cx="4367419" cy="1631216"/>
          </a:xfrm>
          <a:prstGeom prst="rect">
            <a:avLst/>
          </a:prstGeom>
        </p:spPr>
        <p:txBody>
          <a:bodyPr wrap="square">
            <a:spAutoFit/>
          </a:bodyPr>
          <a:lstStyle/>
          <a:p>
            <a:pPr lvl="0" algn="just" defTabSz="917783" fontAlgn="base">
              <a:spcBef>
                <a:spcPct val="0"/>
              </a:spcBef>
              <a:spcAft>
                <a:spcPct val="0"/>
              </a:spcAft>
              <a:defRPr/>
            </a:pPr>
            <a:r>
              <a:rPr lang="tr-TR" sz="2000" dirty="0">
                <a:solidFill>
                  <a:prstClr val="black"/>
                </a:solidFill>
                <a:latin typeface="Calibri" pitchFamily="34" charset="0"/>
                <a:ea typeface="ヒラギノ角ゴ Pro W3" pitchFamily="1" charset="-128"/>
              </a:rPr>
              <a:t>İşletmenin talep etmesi halinde, komite kararı ile bir defaya mahsus olmak üzere 4 ay ek süre verilebilir. Verilen ek süre dâhil olmak üzere yatırım projesi süresi toplam 36 ayı geçemez.</a:t>
            </a:r>
          </a:p>
        </p:txBody>
      </p:sp>
    </p:spTree>
    <p:custDataLst>
      <p:tags r:id="rId1"/>
    </p:custDataLst>
    <p:extLst>
      <p:ext uri="{BB962C8B-B14F-4D97-AF65-F5344CB8AC3E}">
        <p14:creationId xmlns:p14="http://schemas.microsoft.com/office/powerpoint/2010/main" val="30928137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PESTEL_Analysis"/>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100.xml><?xml version="1.0" encoding="utf-8"?>
<p:tagLst xmlns:a="http://schemas.openxmlformats.org/drawingml/2006/main" xmlns:r="http://schemas.openxmlformats.org/officeDocument/2006/relationships" xmlns:p="http://schemas.openxmlformats.org/presentationml/2006/main">
  <p:tag name="POWER_USER_ID_TEMPLATES" val="PESTEL_Analysis"/>
</p:tagLst>
</file>

<file path=ppt/tags/tag101.xml><?xml version="1.0" encoding="utf-8"?>
<p:tagLst xmlns:a="http://schemas.openxmlformats.org/drawingml/2006/main" xmlns:r="http://schemas.openxmlformats.org/officeDocument/2006/relationships" xmlns:p="http://schemas.openxmlformats.org/presentationml/2006/main">
  <p:tag name="POWER_USER_ID_TEMPLATES" val="Project_phases_3"/>
</p:tagLst>
</file>

<file path=ppt/tags/tag102.xml><?xml version="1.0" encoding="utf-8"?>
<p:tagLst xmlns:a="http://schemas.openxmlformats.org/drawingml/2006/main" xmlns:r="http://schemas.openxmlformats.org/officeDocument/2006/relationships" xmlns:p="http://schemas.openxmlformats.org/presentationml/2006/main">
  <p:tag name="POWER_USER_TAGS_ICONS" val="forklift_POWER_USER_SEPARATOR_ICONS_factory_POWER_USER_SEPARATOR_ICONS_industry_POWER_USER_SEPARATOR_ICONS_machine_POWER_USER_SEPARATOR_ICONS_worker"/>
</p:tagLst>
</file>

<file path=ppt/tags/tag103.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04.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05.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106.xml><?xml version="1.0" encoding="utf-8"?>
<p:tagLst xmlns:a="http://schemas.openxmlformats.org/drawingml/2006/main" xmlns:r="http://schemas.openxmlformats.org/officeDocument/2006/relationships" xmlns:p="http://schemas.openxmlformats.org/presentationml/2006/main">
  <p:tag name="POWER_USER_TAGS_ICONS" val="brain_POWER_USER_SEPARATOR_ICONS_doctor_POWER_USER_SEPARATOR_ICONS_health_POWER_USER_SEPARATOR_ICONS_hospital"/>
</p:tagLst>
</file>

<file path=ppt/tags/tag107.xml><?xml version="1.0" encoding="utf-8"?>
<p:tagLst xmlns:a="http://schemas.openxmlformats.org/drawingml/2006/main" xmlns:r="http://schemas.openxmlformats.org/officeDocument/2006/relationships" xmlns:p="http://schemas.openxmlformats.org/presentationml/2006/main">
  <p:tag name="POWER_USER_TAGS_ICONS" val="business people"/>
</p:tagLst>
</file>

<file path=ppt/tags/tag108.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109.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10.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111.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12.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13.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14.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15.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16.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17.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18.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19.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20.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21.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22.xml><?xml version="1.0" encoding="utf-8"?>
<p:tagLst xmlns:a="http://schemas.openxmlformats.org/drawingml/2006/main" xmlns:r="http://schemas.openxmlformats.org/officeDocument/2006/relationships" xmlns:p="http://schemas.openxmlformats.org/presentationml/2006/main">
  <p:tag name="POWER_USER_TAGS_ICONS" val="forklift_POWER_USER_SEPARATOR_ICONS_factory_POWER_USER_SEPARATOR_ICONS_industry_POWER_USER_SEPARATOR_ICONS_machine_POWER_USER_SEPARATOR_ICONS_worker"/>
</p:tagLst>
</file>

<file path=ppt/tags/tag123.xml><?xml version="1.0" encoding="utf-8"?>
<p:tagLst xmlns:a="http://schemas.openxmlformats.org/drawingml/2006/main" xmlns:r="http://schemas.openxmlformats.org/officeDocument/2006/relationships" xmlns:p="http://schemas.openxmlformats.org/presentationml/2006/main">
  <p:tag name="POWER_USER_TAGS_ICONS" val="forklift_POWER_USER_SEPARATOR_ICONS_factory_POWER_USER_SEPARATOR_ICONS_industry_POWER_USER_SEPARATOR_ICONS_machine_POWER_USER_SEPARATOR_ICONS_worker"/>
</p:tagLst>
</file>

<file path=ppt/tags/tag124.xml><?xml version="1.0" encoding="utf-8"?>
<p:tagLst xmlns:a="http://schemas.openxmlformats.org/drawingml/2006/main" xmlns:r="http://schemas.openxmlformats.org/officeDocument/2006/relationships" xmlns:p="http://schemas.openxmlformats.org/presentationml/2006/main">
  <p:tag name="POWER_USER_ID_TEMPLATES" val="SMART_goals"/>
</p:tagLst>
</file>

<file path=ppt/tags/tag12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6.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127.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128.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129.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30.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13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4.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13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3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38.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39.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40.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41.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4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4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44.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4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46.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47.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48.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49.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50.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5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4.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5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7.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15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5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6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7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8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3.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4.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5.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6.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7.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188.xml><?xml version="1.0" encoding="utf-8"?>
<p:tagLst xmlns:a="http://schemas.openxmlformats.org/drawingml/2006/main" xmlns:r="http://schemas.openxmlformats.org/officeDocument/2006/relationships" xmlns:p="http://schemas.openxmlformats.org/presentationml/2006/main">
  <p:tag name="POWER_USER_ID_TEMPLATES" val="Icons_in_circles_1"/>
</p:tagLst>
</file>

<file path=ppt/tags/tag189.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190.xml><?xml version="1.0" encoding="utf-8"?>
<p:tagLst xmlns:a="http://schemas.openxmlformats.org/drawingml/2006/main" xmlns:r="http://schemas.openxmlformats.org/officeDocument/2006/relationships" xmlns:p="http://schemas.openxmlformats.org/presentationml/2006/main">
  <p:tag name="POWER_USER_TAGS_ICONS" val="business people"/>
</p:tagLst>
</file>

<file path=ppt/tags/tag19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2.xml><?xml version="1.0" encoding="utf-8"?>
<p:tagLst xmlns:a="http://schemas.openxmlformats.org/drawingml/2006/main" xmlns:r="http://schemas.openxmlformats.org/officeDocument/2006/relationships" xmlns:p="http://schemas.openxmlformats.org/presentationml/2006/main">
  <p:tag name="POWER_USER_TAGS_ICONS" val="hand-plant_POWER_USER_SEPARATOR_ICONS_plant_POWER_USER_SEPARATOR_ICONS_plant-growth_POWER_USER_SEPARATOR_ICONS_planting_POWER_USER_SEPARATOR_ICONS_sprout"/>
</p:tagLst>
</file>

<file path=ppt/tags/tag193.xml><?xml version="1.0" encoding="utf-8"?>
<p:tagLst xmlns:a="http://schemas.openxmlformats.org/drawingml/2006/main" xmlns:r="http://schemas.openxmlformats.org/officeDocument/2006/relationships" xmlns:p="http://schemas.openxmlformats.org/presentationml/2006/main">
  <p:tag name="POWER_USER_TAGS_ICONS" val="keys_POWER_USER_SEPARATOR_ICONS_key-ring_POWER_USER_SEPARATOR_ICONS_several"/>
</p:tagLst>
</file>

<file path=ppt/tags/tag19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5.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8.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99.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Project_phases_3"/>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00.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201.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02.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203.xml><?xml version="1.0" encoding="utf-8"?>
<p:tagLst xmlns:a="http://schemas.openxmlformats.org/drawingml/2006/main" xmlns:r="http://schemas.openxmlformats.org/officeDocument/2006/relationships" xmlns:p="http://schemas.openxmlformats.org/presentationml/2006/main">
  <p:tag name="POWER_USER_TAGS_ICONS" val="flag_POWER_USER_SEPARATOR_ICONS_issue_POWER_USER_SEPARATOR_ICONS_landmark_POWER_USER_SEPARATOR_ICONS_marker_POWER_USER_SEPARATOR_ICONS_notice_POWER_USER_SEPARATOR_ICONS_problem"/>
</p:tagLst>
</file>

<file path=ppt/tags/tag204.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205.xml><?xml version="1.0" encoding="utf-8"?>
<p:tagLst xmlns:a="http://schemas.openxmlformats.org/drawingml/2006/main" xmlns:r="http://schemas.openxmlformats.org/officeDocument/2006/relationships" xmlns:p="http://schemas.openxmlformats.org/presentationml/2006/main">
  <p:tag name="POWER_USER_TAGS_ICONS" val="brain_POWER_USER_SEPARATOR_ICONS_doctor_POWER_USER_SEPARATOR_ICONS_health_POWER_USER_SEPARATOR_ICONS_hospital"/>
</p:tagLst>
</file>

<file path=ppt/tags/tag206.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207.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208.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209.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210.xml><?xml version="1.0" encoding="utf-8"?>
<p:tagLst xmlns:a="http://schemas.openxmlformats.org/drawingml/2006/main" xmlns:r="http://schemas.openxmlformats.org/officeDocument/2006/relationships" xmlns:p="http://schemas.openxmlformats.org/presentationml/2006/main">
  <p:tag name="POWER_USER_TAGS_ICONS" val="flag_POWER_USER_SEPARATOR_ICONS_issue_POWER_USER_SEPARATOR_ICONS_landmark_POWER_USER_SEPARATOR_ICONS_marker_POWER_USER_SEPARATOR_ICONS_notice_POWER_USER_SEPARATOR_ICONS_problem"/>
</p:tagLst>
</file>

<file path=ppt/tags/tag211.xml><?xml version="1.0" encoding="utf-8"?>
<p:tagLst xmlns:a="http://schemas.openxmlformats.org/drawingml/2006/main" xmlns:r="http://schemas.openxmlformats.org/officeDocument/2006/relationships" xmlns:p="http://schemas.openxmlformats.org/presentationml/2006/main">
  <p:tag name="POWER_USER_TAGS_ICONS" val="flag_POWER_USER_SEPARATOR_ICONS_issue_POWER_USER_SEPARATOR_ICONS_landmark_POWER_USER_SEPARATOR_ICONS_marker_POWER_USER_SEPARATOR_ICONS_notice_POWER_USER_SEPARATOR_ICONS_problem"/>
</p:tagLst>
</file>

<file path=ppt/tags/tag212.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213.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214.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215.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216.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17.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18.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19.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forklift_POWER_USER_SEPARATOR_ICONS_factory_POWER_USER_SEPARATOR_ICONS_industry_POWER_USER_SEPARATOR_ICONS_machine_POWER_USER_SEPARATOR_ICONS_worker"/>
</p:tagLst>
</file>

<file path=ppt/tags/tag220.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21.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22.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223.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rchery_POWER_USER_SEPARATOR_ICONS_on-target_POWER_USER_SEPARATOR_ICONS_relevant_POWER_USER_SEPARATOR_ICONS_target-shooting"/>
</p:tagLst>
</file>

<file path=ppt/tags/tag224.xml><?xml version="1.0" encoding="utf-8"?>
<p:tagLst xmlns:a="http://schemas.openxmlformats.org/drawingml/2006/main" xmlns:r="http://schemas.openxmlformats.org/officeDocument/2006/relationships" xmlns:p="http://schemas.openxmlformats.org/presentationml/2006/main">
  <p:tag name="POWER_USER_TAGS_ICONS" val="crowdsourcing_POWER_USER_SEPARATOR_ICONS_community_POWER_USER_SEPARATOR_ICONS_crowd_POWER_USER_SEPARATOR_ICONS_group_POWER_USER_SEPARATOR_ICONS_internet_POWER_USER_SEPARATOR_ICONS_online_POWER_USER_SEPARATOR_ICONS_people_POWER_USER_SEPARATOR_ICONS_question_POWER_USER_SEPARATOR_ICONS_solution"/>
</p:tagLst>
</file>

<file path=ppt/tags/tag225.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26.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227.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228.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229.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forklift_POWER_USER_SEPARATOR_ICONS_factory_POWER_USER_SEPARATOR_ICONS_industry_POWER_USER_SEPARATOR_ICONS_machine_POWER_USER_SEPARATOR_ICONS_worker"/>
</p:tagLst>
</file>

<file path=ppt/tags/tag230.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231.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232.xml><?xml version="1.0" encoding="utf-8"?>
<p:tagLst xmlns:a="http://schemas.openxmlformats.org/drawingml/2006/main" xmlns:r="http://schemas.openxmlformats.org/officeDocument/2006/relationships" xmlns:p="http://schemas.openxmlformats.org/presentationml/2006/main">
  <p:tag name="POWER_USER_TAGS_ICONS" val="commerce_POWER_USER_SEPARATOR_ICONS_architecture_POWER_USER_SEPARATOR_ICONS_business_POWER_USER_SEPARATOR_ICONS_city_POWER_USER_SEPARATOR_ICONS_industry_POWER_USER_SEPARATOR_ICONS_urban"/>
</p:tagLst>
</file>

<file path=ppt/tags/tag233.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34.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35.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36.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37.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38.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39.xml><?xml version="1.0" encoding="utf-8"?>
<p:tagLst xmlns:a="http://schemas.openxmlformats.org/drawingml/2006/main" xmlns:r="http://schemas.openxmlformats.org/officeDocument/2006/relationships" xmlns:p="http://schemas.openxmlformats.org/presentationml/2006/main">
  <p:tag name="POWER_USER_TAGS_ICONS" val="date-time_POWER_USER_SEPARATOR_ICONS_calendar_POWER_USER_SEPARATOR_ICONS_clock_POWER_USER_SEPARATOR_ICONS_date_POWER_USER_SEPARATOR_ICONS_ios_POWER_USER_SEPARATOR_ICONS_time"/>
</p:tagLst>
</file>

<file path=ppt/tags/tag24.xml><?xml version="1.0" encoding="utf-8"?>
<p:tagLst xmlns:a="http://schemas.openxmlformats.org/drawingml/2006/main" xmlns:r="http://schemas.openxmlformats.org/officeDocument/2006/relationships" xmlns:p="http://schemas.openxmlformats.org/presentationml/2006/main">
  <p:tag name="POWER_USER_ID_TEMPLATES" val="SMART_goals"/>
</p:tagLst>
</file>

<file path=ppt/tags/tag24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7.xml><?xml version="1.0" encoding="utf-8"?>
<p:tagLst xmlns:a="http://schemas.openxmlformats.org/drawingml/2006/main" xmlns:r="http://schemas.openxmlformats.org/officeDocument/2006/relationships" xmlns:p="http://schemas.openxmlformats.org/presentationml/2006/main">
  <p:tag name="POWER_USER_TAGS_ICONS" val="tools_POWER_USER_SEPARATOR_ICONS_fix_POWER_USER_SEPARATOR_ICONS_garage_POWER_USER_SEPARATOR_ICONS_mechanic_POWER_USER_SEPARATOR_ICONS_screwdriver_POWER_USER_SEPARATOR_ICONS_settings_POWER_USER_SEPARATOR_ICONS_tool_POWER_USER_SEPARATOR_ICONS_tool-kit_POWER_USER_SEPARATOR_ICONS_wrench"/>
</p:tagLst>
</file>

<file path=ppt/tags/tag248.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249.xml><?xml version="1.0" encoding="utf-8"?>
<p:tagLst xmlns:a="http://schemas.openxmlformats.org/drawingml/2006/main" xmlns:r="http://schemas.openxmlformats.org/officeDocument/2006/relationships" xmlns:p="http://schemas.openxmlformats.org/presentationml/2006/main">
  <p:tag name="POWER_USER_TAGS_ICONS" val="desk_POWER_USER_SEPARATOR_ICONS_business_POWER_USER_SEPARATOR_ICONS_chair_POWER_USER_SEPARATOR_ICONS_office_POWER_USER_SEPARATOR_ICONS_table_POWER_USER_SEPARATOR_ICONS_work_POWER_USER_SEPARATOR_ICONS_worker_POWER_USER_SEPARATOR_ICONS_work-table-busines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50.xml><?xml version="1.0" encoding="utf-8"?>
<p:tagLst xmlns:a="http://schemas.openxmlformats.org/drawingml/2006/main" xmlns:r="http://schemas.openxmlformats.org/officeDocument/2006/relationships" xmlns:p="http://schemas.openxmlformats.org/presentationml/2006/main">
  <p:tag name="POWER_USER_TAGS_ICONS" val="network*connect*connection*connectivity*networking*networked*linking*linked*decentralized*decentralization*connections*connected*organization*port*technology*people"/>
</p:tagLst>
</file>

<file path=ppt/tags/tag251.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252.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253.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254.xml><?xml version="1.0" encoding="utf-8"?>
<p:tagLst xmlns:a="http://schemas.openxmlformats.org/drawingml/2006/main" xmlns:r="http://schemas.openxmlformats.org/officeDocument/2006/relationships" xmlns:p="http://schemas.openxmlformats.org/presentationml/2006/main">
  <p:tag name="POWER_USER_TAGS_ICONS" val="tools_POWER_USER_SEPARATOR_ICONS_fix_POWER_USER_SEPARATOR_ICONS_garage_POWER_USER_SEPARATOR_ICONS_mechanic_POWER_USER_SEPARATOR_ICONS_screwdriver_POWER_USER_SEPARATOR_ICONS_settings_POWER_USER_SEPARATOR_ICONS_tool_POWER_USER_SEPARATOR_ICONS_tool-kit_POWER_USER_SEPARATOR_ICONS_wrench"/>
</p:tagLst>
</file>

<file path=ppt/tags/tag255.xml><?xml version="1.0" encoding="utf-8"?>
<p:tagLst xmlns:a="http://schemas.openxmlformats.org/drawingml/2006/main" xmlns:r="http://schemas.openxmlformats.org/officeDocument/2006/relationships" xmlns:p="http://schemas.openxmlformats.org/presentationml/2006/main">
  <p:tag name="POWER_USER_TAGS_ICONS" val="tools_POWER_USER_SEPARATOR_ICONS_fix_POWER_USER_SEPARATOR_ICONS_garage_POWER_USER_SEPARATOR_ICONS_mechanic_POWER_USER_SEPARATOR_ICONS_screwdriver_POWER_USER_SEPARATOR_ICONS_settings_POWER_USER_SEPARATOR_ICONS_tool_POWER_USER_SEPARATOR_ICONS_tool-kit_POWER_USER_SEPARATOR_ICONS_wrench"/>
</p:tagLst>
</file>

<file path=ppt/tags/tag256.xml><?xml version="1.0" encoding="utf-8"?>
<p:tagLst xmlns:a="http://schemas.openxmlformats.org/drawingml/2006/main" xmlns:r="http://schemas.openxmlformats.org/officeDocument/2006/relationships" xmlns:p="http://schemas.openxmlformats.org/presentationml/2006/main">
  <p:tag name="POWER_USER_TAGS_ICONS" val="tools_POWER_USER_SEPARATOR_ICONS_fix_POWER_USER_SEPARATOR_ICONS_garage_POWER_USER_SEPARATOR_ICONS_mechanic_POWER_USER_SEPARATOR_ICONS_screwdriver_POWER_USER_SEPARATOR_ICONS_settings_POWER_USER_SEPARATOR_ICONS_tool_POWER_USER_SEPARATOR_ICONS_tool-kit_POWER_USER_SEPARATOR_ICONS_wrench"/>
</p:tagLst>
</file>

<file path=ppt/tags/tag257.xml><?xml version="1.0" encoding="utf-8"?>
<p:tagLst xmlns:a="http://schemas.openxmlformats.org/drawingml/2006/main" xmlns:r="http://schemas.openxmlformats.org/officeDocument/2006/relationships" xmlns:p="http://schemas.openxmlformats.org/presentationml/2006/main">
  <p:tag name="POWER_USER_TAGS_ICONS" val="tools_POWER_USER_SEPARATOR_ICONS_fix_POWER_USER_SEPARATOR_ICONS_garage_POWER_USER_SEPARATOR_ICONS_mechanic_POWER_USER_SEPARATOR_ICONS_screwdriver_POWER_USER_SEPARATOR_ICONS_settings_POWER_USER_SEPARATOR_ICONS_tool_POWER_USER_SEPARATOR_ICONS_tool-kit_POWER_USER_SEPARATOR_ICONS_wrench"/>
</p:tagLst>
</file>

<file path=ppt/tags/tag258.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25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260.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61.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6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63.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264.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265.xml><?xml version="1.0" encoding="utf-8"?>
<p:tagLst xmlns:a="http://schemas.openxmlformats.org/drawingml/2006/main" xmlns:r="http://schemas.openxmlformats.org/officeDocument/2006/relationships" xmlns:p="http://schemas.openxmlformats.org/presentationml/2006/main">
  <p:tag name="POWER_USER_TAGS_ICONS" val="monitor_POWER_USER_SEPARATOR_ICONS_computer_POWER_USER_SEPARATOR_ICONS_computer-monitor_POWER_USER_SEPARATOR_ICONS_computer-screen_POWER_USER_SEPARATOR_ICONS_display_POWER_USER_SEPARATOR_ICONS_screen_POWER_USER_SEPARATOR_ICONS_tech_POWER_USER_SEPARATOR_ICONS_technology"/>
</p:tagLst>
</file>

<file path=ppt/tags/tag266.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67.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68.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69.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270.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1.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2.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3.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4.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5.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6.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7.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8.xml><?xml version="1.0" encoding="utf-8"?>
<p:tagLst xmlns:a="http://schemas.openxmlformats.org/drawingml/2006/main" xmlns:r="http://schemas.openxmlformats.org/officeDocument/2006/relationships" xmlns:p="http://schemas.openxmlformats.org/presentationml/2006/main">
  <p:tag name="POWER_USER_TAGS_ICONS" val="checklist_POWER_USER_SEPARATOR_ICONS_check-paper_POWER_USER_SEPARATOR_ICONS_office_POWER_USER_SEPARATOR_ICONS_paper"/>
</p:tagLst>
</file>

<file path=ppt/tags/tag279.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280.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8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8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83.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28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5.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28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8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8.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289.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290.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291.xml><?xml version="1.0" encoding="utf-8"?>
<p:tagLst xmlns:a="http://schemas.openxmlformats.org/drawingml/2006/main" xmlns:r="http://schemas.openxmlformats.org/officeDocument/2006/relationships" xmlns:p="http://schemas.openxmlformats.org/presentationml/2006/main">
  <p:tag name="POWER_USER_TAGS_ICONS" val="government_POWER_USER_SEPARATOR_ICONS_bank_POWER_USER_SEPARATOR_ICONS_building_POWER_USER_SEPARATOR_ICONS_pillars_POWER_USER_SEPARATOR_ICONS_politics"/>
</p:tagLst>
</file>

<file path=ppt/tags/tag29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forklift_POWER_USER_SEPARATOR_ICONS_factory_POWER_USER_SEPARATOR_ICONS_industry_POWER_USER_SEPARATOR_ICONS_machine_POWER_USER_SEPARATOR_ICONS_worker"/>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running"/>
</p:tagLst>
</file>

<file path=ppt/tags/tag30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06.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07.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08.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0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11.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312.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313.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31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315.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31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4.xml><?xml version="1.0" encoding="utf-8"?>
<p:tagLst xmlns:a="http://schemas.openxmlformats.org/drawingml/2006/main" xmlns:r="http://schemas.openxmlformats.org/officeDocument/2006/relationships" xmlns:p="http://schemas.openxmlformats.org/presentationml/2006/main">
  <p:tag name="POWER_USER_ID_TEMPLATES" val="Customer_journey_2"/>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56.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58.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59.xml><?xml version="1.0" encoding="utf-8"?>
<p:tagLst xmlns:a="http://schemas.openxmlformats.org/drawingml/2006/main" xmlns:r="http://schemas.openxmlformats.org/officeDocument/2006/relationships" xmlns:p="http://schemas.openxmlformats.org/presentationml/2006/main">
  <p:tag name="POWER_USER_TAGS_ICONS" val="flag_POWER_USER_SEPARATOR_ICONS_issue_POWER_USER_SEPARATOR_ICONS_landmark_POWER_USER_SEPARATOR_ICONS_marker_POWER_USER_SEPARATOR_ICONS_notice_POWER_USER_SEPARATOR_ICONS_problem"/>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61.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62.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63.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64.xml><?xml version="1.0" encoding="utf-8"?>
<p:tagLst xmlns:a="http://schemas.openxmlformats.org/drawingml/2006/main" xmlns:r="http://schemas.openxmlformats.org/officeDocument/2006/relationships" xmlns:p="http://schemas.openxmlformats.org/presentationml/2006/main">
  <p:tag name="POWER_USER_TAGS_ICONS" val="fossil-fuel_POWER_USER_SEPARATOR_ICONS_fossil-fuels_POWER_USER_SEPARATOR_ICONS_greenhouse-gas_POWER_USER_SEPARATOR_ICONS_industry_POWER_USER_SEPARATOR_ICONS_manufacturing_POWER_USER_SEPARATOR_ICONS_oil_POWER_USER_SEPARATOR_ICONS_petroleum_POWER_USER_SEPARATOR_ICONS_pollution_POWER_USER_SEPARATOR_ICONS_smoke_POWER_USER_SEPARATOR_ICONS_co2-emissions_POWER_USER_SEPARATOR_ICONS_carbon-dioxide-emissions_POWER_USER_SEPARATOR_ICONS_flame_POWER_USER_SEPARATOR_ICONS_fire_POWER_USER_SEPARATOR_ICONS_air-pollution_POWER_USER_SEPARATOR_ICONS_burning_POWER_USER_SEPARATOR_ICONS_carbon-dioxide_POWER_USER_SEPARATOR_ICONS_climate-change_POWER_USER_SEPARATOR_ICONS_co2_POWER_USER_SEPARATOR_ICONS_coal_POWER_USER_SEPARATOR_ICONS_combustion_POWER_USER_SEPARATOR_ICONS_corporation_POWER_USER_SEPARATOR_ICONS_emissions_POWER_USER_SEPARATOR_ICONS_factory_POWER_USER_SEPARATOR_ICONS_greenhouse-gases"/>
</p:tagLst>
</file>

<file path=ppt/tags/tag65.xml><?xml version="1.0" encoding="utf-8"?>
<p:tagLst xmlns:a="http://schemas.openxmlformats.org/drawingml/2006/main" xmlns:r="http://schemas.openxmlformats.org/officeDocument/2006/relationships" xmlns:p="http://schemas.openxmlformats.org/presentationml/2006/main">
  <p:tag name="POWER_USER_TAGS_ICONS" val="flag_POWER_USER_SEPARATOR_ICONS_issue_POWER_USER_SEPARATOR_ICONS_landmark_POWER_USER_SEPARATOR_ICONS_marker_POWER_USER_SEPARATOR_ICONS_notice_POWER_USER_SEPARATOR_ICONS_problem"/>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flag_POWER_USER_SEPARATOR_ICONS_issue_POWER_USER_SEPARATOR_ICONS_landmark_POWER_USER_SEPARATOR_ICONS_marker_POWER_USER_SEPARATOR_ICONS_notice_POWER_USER_SEPARATOR_ICONS_problem"/>
</p:tagLst>
</file>

<file path=ppt/tags/tag67.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business people"/>
</p:tagLst>
</file>

<file path=ppt/tags/tag70.xml><?xml version="1.0" encoding="utf-8"?>
<p:tagLst xmlns:a="http://schemas.openxmlformats.org/drawingml/2006/main" xmlns:r="http://schemas.openxmlformats.org/officeDocument/2006/relationships" xmlns:p="http://schemas.openxmlformats.org/presentationml/2006/main">
  <p:tag name="POWER_USER_TAGS_ICONS" val="equality_POWER_USER_SEPARATOR_ICONS_handshake_POWER_USER_SEPARATOR_ICONS_partnership_POWER_USER_SEPARATOR_ICONS_agreement_POWER_USER_SEPARATOR_ICONS_greeting_POWER_USER_SEPARATOR_ICONS_peace_POWER_USER_SEPARATOR_ICONS_neighborly"/>
</p:tagLst>
</file>

<file path=ppt/tags/tag71.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72.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73.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74.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certificate_POWER_USER_SEPARATOR_ICONS_award_POWER_USER_SEPARATOR_ICONS_certified_POWER_USER_SEPARATOR_ICONS_diploma"/>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pac_POWER_USER_SEPARATOR_ICONS_corruption_POWER_USER_SEPARATOR_ICONS_election_POWER_USER_SEPARATOR_ICONS_government_POWER_USER_SEPARATOR_ICONS_money_POWER_USER_SEPARATOR_ICONS_politics_POWER_USER_SEPARATOR_ICONS_price-tag"/>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main-office"/>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92.xml><?xml version="1.0" encoding="utf-8"?>
<p:tagLst xmlns:a="http://schemas.openxmlformats.org/drawingml/2006/main" xmlns:r="http://schemas.openxmlformats.org/officeDocument/2006/relationships" xmlns:p="http://schemas.openxmlformats.org/presentationml/2006/main">
  <p:tag name="POWER_USER_ID_TEMPLATES" val="Staircase_with_boxes"/>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meeting_POWER_USER_SEPARATOR_ICONS_business_POWER_USER_SEPARATOR_ICONS_friends_POWER_USER_SEPARATOR_ICONS_greeting_POWER_USER_SEPARATOR_ICONS_handshake"/>
</p:tagLst>
</file>

<file path=ppt/tags/tag97.xml><?xml version="1.0" encoding="utf-8"?>
<p:tagLst xmlns:a="http://schemas.openxmlformats.org/drawingml/2006/main" xmlns:r="http://schemas.openxmlformats.org/officeDocument/2006/relationships" xmlns:p="http://schemas.openxmlformats.org/presentationml/2006/main">
  <p:tag name="POWER_USER_ID_TEMPLATES" val="Steps_5"/>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crown*king*queen*monarchy*royal"/>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custom*police*border*control*search"/>
</p:tagLst>
</file>

<file path=ppt/theme/theme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5</TotalTime>
  <Words>2620</Words>
  <Application>Microsoft Office PowerPoint</Application>
  <PresentationFormat>Geniş ekran</PresentationFormat>
  <Paragraphs>368</Paragraphs>
  <Slides>36</Slides>
  <Notes>21</Notes>
  <HiddenSlides>0</HiddenSlides>
  <MMClips>0</MMClips>
  <ScaleCrop>false</ScaleCrop>
  <HeadingPairs>
    <vt:vector size="6" baseType="variant">
      <vt:variant>
        <vt:lpstr>Kullanılan Yazı Tipleri</vt:lpstr>
      </vt:variant>
      <vt:variant>
        <vt:i4>6</vt:i4>
      </vt:variant>
      <vt:variant>
        <vt:lpstr>Tema</vt:lpstr>
      </vt:variant>
      <vt:variant>
        <vt:i4>2</vt:i4>
      </vt:variant>
      <vt:variant>
        <vt:lpstr>Slayt Başlıkları</vt:lpstr>
      </vt:variant>
      <vt:variant>
        <vt:i4>36</vt:i4>
      </vt:variant>
    </vt:vector>
  </HeadingPairs>
  <TitlesOfParts>
    <vt:vector size="44" baseType="lpstr">
      <vt:lpstr>Arial</vt:lpstr>
      <vt:lpstr>Calibri</vt:lpstr>
      <vt:lpstr>Calibri Light</vt:lpstr>
      <vt:lpstr>Times New Roman</vt:lpstr>
      <vt:lpstr>Wingdings</vt:lpstr>
      <vt:lpstr>ヒラギノ角ゴ Pro W3</vt:lpstr>
      <vt:lpstr>Office Teması</vt:lpstr>
      <vt:lpstr>8_Ofis Teması</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DESTEK ÜST LİMİT VE ORANLARI</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Kamil Akpınar</dc:creator>
  <cp:lastModifiedBy>Cemil Arda TAŞKIRAN</cp:lastModifiedBy>
  <cp:revision>181</cp:revision>
  <cp:lastPrinted>2019-11-28T05:56:27Z</cp:lastPrinted>
  <dcterms:created xsi:type="dcterms:W3CDTF">2019-07-08T06:23:03Z</dcterms:created>
  <dcterms:modified xsi:type="dcterms:W3CDTF">2020-06-11T19:42:14Z</dcterms:modified>
</cp:coreProperties>
</file>